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7.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0.xml" ContentType="application/vnd.openxmlformats-officedocument.theme+xml"/>
  <Override PartName="/ppt/tags/tag33.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1.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662" r:id="rId5"/>
    <p:sldMasterId id="2147483700" r:id="rId6"/>
    <p:sldMasterId id="2147483711" r:id="rId7"/>
    <p:sldMasterId id="2147483722" r:id="rId8"/>
    <p:sldMasterId id="2147483759" r:id="rId9"/>
    <p:sldMasterId id="2147483834" r:id="rId10"/>
    <p:sldMasterId id="2147483871" r:id="rId11"/>
    <p:sldMasterId id="2147483878" r:id="rId12"/>
    <p:sldMasterId id="2147483917" r:id="rId13"/>
    <p:sldMasterId id="2147483954" r:id="rId14"/>
    <p:sldMasterId id="2147483995" r:id="rId15"/>
  </p:sldMasterIdLst>
  <p:notesMasterIdLst>
    <p:notesMasterId r:id="rId38"/>
  </p:notesMasterIdLst>
  <p:sldIdLst>
    <p:sldId id="2147138072" r:id="rId16"/>
    <p:sldId id="2147138073" r:id="rId17"/>
    <p:sldId id="2147138074" r:id="rId18"/>
    <p:sldId id="2147138075" r:id="rId19"/>
    <p:sldId id="2147138076" r:id="rId20"/>
    <p:sldId id="2147138077" r:id="rId21"/>
    <p:sldId id="2147138078" r:id="rId22"/>
    <p:sldId id="2147138079" r:id="rId23"/>
    <p:sldId id="2147138080" r:id="rId24"/>
    <p:sldId id="2147138081" r:id="rId25"/>
    <p:sldId id="2147138082" r:id="rId26"/>
    <p:sldId id="2147138083" r:id="rId27"/>
    <p:sldId id="2147138084" r:id="rId28"/>
    <p:sldId id="2134807473" r:id="rId29"/>
    <p:sldId id="434" r:id="rId30"/>
    <p:sldId id="2134807474" r:id="rId31"/>
    <p:sldId id="2134807471" r:id="rId32"/>
    <p:sldId id="2147138069" r:id="rId33"/>
    <p:sldId id="2134807476" r:id="rId34"/>
    <p:sldId id="2134807472" r:id="rId35"/>
    <p:sldId id="2147138066" r:id="rId36"/>
    <p:sldId id="365" r:id="rId37"/>
  </p:sldIdLst>
  <p:sldSz cx="12192000" cy="6858000"/>
  <p:notesSz cx="6858000" cy="1152525"/>
  <p:embeddedFontLst>
    <p:embeddedFont>
      <p:font typeface="AdiHaus" panose="020F0502020204030204" pitchFamily="34" charset="0"/>
      <p:regular r:id="rId39"/>
      <p:bold r:id="rId40"/>
      <p:italic r:id="rId41"/>
      <p:boldItalic r:id="rId42"/>
    </p:embeddedFont>
    <p:embeddedFont>
      <p:font typeface="adineue PRO" panose="020B0503020201060004" pitchFamily="34" charset="77"/>
      <p:regular r:id="rId43"/>
      <p:bold r:id="rId44"/>
      <p:italic r:id="rId45"/>
      <p:boldItalic r:id="rId46"/>
    </p:embeddedFont>
    <p:embeddedFont>
      <p:font typeface="adineue PRO Black" panose="020B0A03020201060004" pitchFamily="34" charset="77"/>
      <p:bold r:id="rId47"/>
      <p:italic r:id="rId48"/>
      <p:boldItalic r:id="rId49"/>
    </p:embeddedFont>
    <p:embeddedFont>
      <p:font typeface="adineue PRO Cond" panose="020B0503020201060004" pitchFamily="34" charset="77"/>
      <p:regular r:id="rId50"/>
      <p:bold r:id="rId51"/>
    </p:embeddedFont>
    <p:embeddedFont>
      <p:font typeface="adineue PRO Light" panose="020B0303020201060004" pitchFamily="34" charset="77"/>
      <p:regular r:id="rId52"/>
      <p:italic r:id="rId53"/>
    </p:embeddedFont>
    <p:embeddedFont>
      <p:font typeface="adineue PRO TT Black" panose="020B0A03020201060004" pitchFamily="34" charset="77"/>
      <p:bold r:id="rId54"/>
      <p:italic r:id="rId55"/>
      <p:boldItalic r:id="rId56"/>
    </p:embeddedFont>
    <p:embeddedFont>
      <p:font typeface="adineue TEXT Black" panose="020B0A03020201060004" pitchFamily="34" charset="77"/>
      <p:bold r:id="rId57"/>
      <p:italic r:id="rId58"/>
      <p:boldItalic r:id="rId59"/>
    </p:embeddedFont>
    <p:embeddedFont>
      <p:font typeface="adineue TEXT Light" panose="020B0303020201060004" pitchFamily="34" charset="77"/>
      <p:regular r:id="rId60"/>
      <p:italic r:id="rId61"/>
    </p:embeddedFont>
    <p:embeddedFont>
      <p:font typeface="Calibri" panose="020F0502020204030204" pitchFamily="34" charset="0"/>
      <p:regular r:id="rId62"/>
      <p:bold r:id="rId63"/>
      <p:italic r:id="rId64"/>
      <p:boldItalic r:id="rId65"/>
    </p:embeddedFont>
    <p:embeddedFont>
      <p:font typeface="Calibri Light" panose="020F0302020204030204" pitchFamily="34" charset="0"/>
      <p:regular r:id="rId66"/>
      <p:italic r:id="rId6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rnago, Fernando" initials="CF" lastIdx="1" clrIdx="0">
    <p:extLst>
      <p:ext uri="{19B8F6BF-5375-455C-9EA6-DF929625EA0E}">
        <p15:presenceInfo xmlns:p15="http://schemas.microsoft.com/office/powerpoint/2012/main" userId="S::fernando.cornago@adidas.com::048a41c0-cb7a-447c-b2ac-f7c7348706e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A5FD3D"/>
    <a:srgbClr val="FF0000"/>
    <a:srgbClr val="000000"/>
    <a:srgbClr val="31B8D6"/>
    <a:srgbClr val="2A3F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53343F-C54C-4837-A42D-0B88502F8A84}" v="66" dt="2021-05-04T11:29:56.488"/>
    <p1510:client id="{11B013F3-8B66-5342-917B-C481304E5DF8}" v="583" dt="2021-05-04T09:47:31.038"/>
    <p1510:client id="{9A5DB92F-12BF-B84C-BF79-2D8D18E29C35}" v="2236" dt="2021-05-04T11:48:59.9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568" autoAdjust="0"/>
    <p:restoredTop sz="45493"/>
  </p:normalViewPr>
  <p:slideViewPr>
    <p:cSldViewPr snapToGrid="0">
      <p:cViewPr varScale="1">
        <p:scale>
          <a:sx n="52" d="100"/>
          <a:sy n="52" d="100"/>
        </p:scale>
        <p:origin x="2528" y="176"/>
      </p:cViewPr>
      <p:guideLst>
        <p:guide orient="horz" pos="2160"/>
        <p:guide pos="3840"/>
      </p:guideLst>
    </p:cSldViewPr>
  </p:slideViewPr>
  <p:outlineViewPr>
    <p:cViewPr>
      <p:scale>
        <a:sx n="33" d="100"/>
        <a:sy n="33" d="100"/>
      </p:scale>
      <p:origin x="0" y="0"/>
    </p:cViewPr>
  </p:outlineViewPr>
  <p:notesTextViewPr>
    <p:cViewPr>
      <p:scale>
        <a:sx n="110" d="100"/>
        <a:sy n="11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font" Target="fonts/font4.fntdata"/><Relationship Id="rId47" Type="http://schemas.openxmlformats.org/officeDocument/2006/relationships/font" Target="fonts/font9.fntdata"/><Relationship Id="rId63" Type="http://schemas.openxmlformats.org/officeDocument/2006/relationships/font" Target="fonts/font25.fntdata"/><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font" Target="fonts/font20.fntdata"/><Relationship Id="rId66" Type="http://schemas.openxmlformats.org/officeDocument/2006/relationships/font" Target="fonts/font28.fntdata"/><Relationship Id="rId74"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font" Target="fonts/font23.fntdata"/><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font" Target="fonts/font18.fntdata"/><Relationship Id="rId64" Type="http://schemas.openxmlformats.org/officeDocument/2006/relationships/font" Target="fonts/font26.fntdata"/><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font" Target="fonts/font13.fntdata"/><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notesMaster" Target="notesMasters/notesMaster1.xml"/><Relationship Id="rId46" Type="http://schemas.openxmlformats.org/officeDocument/2006/relationships/font" Target="fonts/font8.fntdata"/><Relationship Id="rId59" Type="http://schemas.openxmlformats.org/officeDocument/2006/relationships/font" Target="fonts/font21.fntdata"/><Relationship Id="rId67" Type="http://schemas.openxmlformats.org/officeDocument/2006/relationships/font" Target="fonts/font29.fntdata"/><Relationship Id="rId20" Type="http://schemas.openxmlformats.org/officeDocument/2006/relationships/slide" Target="slides/slide5.xml"/><Relationship Id="rId41" Type="http://schemas.openxmlformats.org/officeDocument/2006/relationships/font" Target="fonts/font3.fntdata"/><Relationship Id="rId54" Type="http://schemas.openxmlformats.org/officeDocument/2006/relationships/font" Target="fonts/font16.fntdata"/><Relationship Id="rId62" Type="http://schemas.openxmlformats.org/officeDocument/2006/relationships/font" Target="fonts/font24.fntdata"/><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font" Target="fonts/font11.fntdata"/><Relationship Id="rId57" Type="http://schemas.openxmlformats.org/officeDocument/2006/relationships/font" Target="fonts/font19.fntdata"/><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font" Target="fonts/font6.fntdata"/><Relationship Id="rId52" Type="http://schemas.openxmlformats.org/officeDocument/2006/relationships/font" Target="fonts/font14.fntdata"/><Relationship Id="rId60" Type="http://schemas.openxmlformats.org/officeDocument/2006/relationships/font" Target="fonts/font22.fntdata"/><Relationship Id="rId65" Type="http://schemas.openxmlformats.org/officeDocument/2006/relationships/font" Target="fonts/font27.fntdata"/><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font" Target="fonts/font1.fntdata"/><Relationship Id="rId34" Type="http://schemas.openxmlformats.org/officeDocument/2006/relationships/slide" Target="slides/slide19.xml"/><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Master" Target="slideMasters/slideMaster4.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rnago, Fernando" userId="048a41c0-cb7a-447c-b2ac-f7c7348706e9" providerId="ADAL" clId="{9A5DB92F-12BF-B84C-BF79-2D8D18E29C35}"/>
    <pc:docChg chg="undo custSel addSld delSld modSld sldOrd">
      <pc:chgData name="Cornago, Fernando" userId="048a41c0-cb7a-447c-b2ac-f7c7348706e9" providerId="ADAL" clId="{9A5DB92F-12BF-B84C-BF79-2D8D18E29C35}" dt="2021-05-04T11:48:59.935" v="5428" actId="20577"/>
      <pc:docMkLst>
        <pc:docMk/>
      </pc:docMkLst>
      <pc:sldChg chg="del">
        <pc:chgData name="Cornago, Fernando" userId="048a41c0-cb7a-447c-b2ac-f7c7348706e9" providerId="ADAL" clId="{9A5DB92F-12BF-B84C-BF79-2D8D18E29C35}" dt="2021-05-04T07:12:55.059" v="3030" actId="2696"/>
        <pc:sldMkLst>
          <pc:docMk/>
          <pc:sldMk cId="1014956264" sldId="260"/>
        </pc:sldMkLst>
      </pc:sldChg>
      <pc:sldChg chg="del">
        <pc:chgData name="Cornago, Fernando" userId="048a41c0-cb7a-447c-b2ac-f7c7348706e9" providerId="ADAL" clId="{9A5DB92F-12BF-B84C-BF79-2D8D18E29C35}" dt="2021-05-02T09:42:01.048" v="1988" actId="2696"/>
        <pc:sldMkLst>
          <pc:docMk/>
          <pc:sldMk cId="718676876" sldId="337"/>
        </pc:sldMkLst>
      </pc:sldChg>
      <pc:sldChg chg="del">
        <pc:chgData name="Cornago, Fernando" userId="048a41c0-cb7a-447c-b2ac-f7c7348706e9" providerId="ADAL" clId="{9A5DB92F-12BF-B84C-BF79-2D8D18E29C35}" dt="2021-05-02T09:42:01.048" v="1988" actId="2696"/>
        <pc:sldMkLst>
          <pc:docMk/>
          <pc:sldMk cId="510418771" sldId="339"/>
        </pc:sldMkLst>
      </pc:sldChg>
      <pc:sldChg chg="del">
        <pc:chgData name="Cornago, Fernando" userId="048a41c0-cb7a-447c-b2ac-f7c7348706e9" providerId="ADAL" clId="{9A5DB92F-12BF-B84C-BF79-2D8D18E29C35}" dt="2021-05-02T09:42:01.048" v="1988" actId="2696"/>
        <pc:sldMkLst>
          <pc:docMk/>
          <pc:sldMk cId="948930736" sldId="340"/>
        </pc:sldMkLst>
      </pc:sldChg>
      <pc:sldChg chg="del">
        <pc:chgData name="Cornago, Fernando" userId="048a41c0-cb7a-447c-b2ac-f7c7348706e9" providerId="ADAL" clId="{9A5DB92F-12BF-B84C-BF79-2D8D18E29C35}" dt="2021-05-02T09:42:01.048" v="1988" actId="2696"/>
        <pc:sldMkLst>
          <pc:docMk/>
          <pc:sldMk cId="1960794730" sldId="341"/>
        </pc:sldMkLst>
      </pc:sldChg>
      <pc:sldChg chg="del">
        <pc:chgData name="Cornago, Fernando" userId="048a41c0-cb7a-447c-b2ac-f7c7348706e9" providerId="ADAL" clId="{9A5DB92F-12BF-B84C-BF79-2D8D18E29C35}" dt="2021-05-02T09:42:01.048" v="1988" actId="2696"/>
        <pc:sldMkLst>
          <pc:docMk/>
          <pc:sldMk cId="1264826692" sldId="342"/>
        </pc:sldMkLst>
      </pc:sldChg>
      <pc:sldChg chg="del">
        <pc:chgData name="Cornago, Fernando" userId="048a41c0-cb7a-447c-b2ac-f7c7348706e9" providerId="ADAL" clId="{9A5DB92F-12BF-B84C-BF79-2D8D18E29C35}" dt="2021-05-02T09:42:01.048" v="1988" actId="2696"/>
        <pc:sldMkLst>
          <pc:docMk/>
          <pc:sldMk cId="3397083793" sldId="343"/>
        </pc:sldMkLst>
      </pc:sldChg>
      <pc:sldChg chg="del">
        <pc:chgData name="Cornago, Fernando" userId="048a41c0-cb7a-447c-b2ac-f7c7348706e9" providerId="ADAL" clId="{9A5DB92F-12BF-B84C-BF79-2D8D18E29C35}" dt="2021-05-02T09:42:01.048" v="1988" actId="2696"/>
        <pc:sldMkLst>
          <pc:docMk/>
          <pc:sldMk cId="2056305136" sldId="344"/>
        </pc:sldMkLst>
      </pc:sldChg>
      <pc:sldChg chg="del">
        <pc:chgData name="Cornago, Fernando" userId="048a41c0-cb7a-447c-b2ac-f7c7348706e9" providerId="ADAL" clId="{9A5DB92F-12BF-B84C-BF79-2D8D18E29C35}" dt="2021-05-02T09:42:01.048" v="1988" actId="2696"/>
        <pc:sldMkLst>
          <pc:docMk/>
          <pc:sldMk cId="276579332" sldId="345"/>
        </pc:sldMkLst>
      </pc:sldChg>
      <pc:sldChg chg="del">
        <pc:chgData name="Cornago, Fernando" userId="048a41c0-cb7a-447c-b2ac-f7c7348706e9" providerId="ADAL" clId="{9A5DB92F-12BF-B84C-BF79-2D8D18E29C35}" dt="2021-05-02T09:42:01.048" v="1988" actId="2696"/>
        <pc:sldMkLst>
          <pc:docMk/>
          <pc:sldMk cId="2936203649" sldId="346"/>
        </pc:sldMkLst>
      </pc:sldChg>
      <pc:sldChg chg="del">
        <pc:chgData name="Cornago, Fernando" userId="048a41c0-cb7a-447c-b2ac-f7c7348706e9" providerId="ADAL" clId="{9A5DB92F-12BF-B84C-BF79-2D8D18E29C35}" dt="2021-05-02T09:42:01.048" v="1988" actId="2696"/>
        <pc:sldMkLst>
          <pc:docMk/>
          <pc:sldMk cId="2369710204" sldId="347"/>
        </pc:sldMkLst>
      </pc:sldChg>
      <pc:sldChg chg="del">
        <pc:chgData name="Cornago, Fernando" userId="048a41c0-cb7a-447c-b2ac-f7c7348706e9" providerId="ADAL" clId="{9A5DB92F-12BF-B84C-BF79-2D8D18E29C35}" dt="2021-05-02T09:42:01.048" v="1988" actId="2696"/>
        <pc:sldMkLst>
          <pc:docMk/>
          <pc:sldMk cId="3160764109" sldId="348"/>
        </pc:sldMkLst>
      </pc:sldChg>
      <pc:sldChg chg="del">
        <pc:chgData name="Cornago, Fernando" userId="048a41c0-cb7a-447c-b2ac-f7c7348706e9" providerId="ADAL" clId="{9A5DB92F-12BF-B84C-BF79-2D8D18E29C35}" dt="2021-05-02T09:42:01.048" v="1988" actId="2696"/>
        <pc:sldMkLst>
          <pc:docMk/>
          <pc:sldMk cId="1495075936" sldId="349"/>
        </pc:sldMkLst>
      </pc:sldChg>
      <pc:sldChg chg="del">
        <pc:chgData name="Cornago, Fernando" userId="048a41c0-cb7a-447c-b2ac-f7c7348706e9" providerId="ADAL" clId="{9A5DB92F-12BF-B84C-BF79-2D8D18E29C35}" dt="2021-05-02T09:42:01.048" v="1988" actId="2696"/>
        <pc:sldMkLst>
          <pc:docMk/>
          <pc:sldMk cId="4092422131" sldId="350"/>
        </pc:sldMkLst>
      </pc:sldChg>
      <pc:sldChg chg="del">
        <pc:chgData name="Cornago, Fernando" userId="048a41c0-cb7a-447c-b2ac-f7c7348706e9" providerId="ADAL" clId="{9A5DB92F-12BF-B84C-BF79-2D8D18E29C35}" dt="2021-05-02T09:42:01.048" v="1988" actId="2696"/>
        <pc:sldMkLst>
          <pc:docMk/>
          <pc:sldMk cId="3433865216" sldId="351"/>
        </pc:sldMkLst>
      </pc:sldChg>
      <pc:sldChg chg="del">
        <pc:chgData name="Cornago, Fernando" userId="048a41c0-cb7a-447c-b2ac-f7c7348706e9" providerId="ADAL" clId="{9A5DB92F-12BF-B84C-BF79-2D8D18E29C35}" dt="2021-05-02T09:42:01.048" v="1988" actId="2696"/>
        <pc:sldMkLst>
          <pc:docMk/>
          <pc:sldMk cId="1710370991" sldId="352"/>
        </pc:sldMkLst>
      </pc:sldChg>
      <pc:sldChg chg="del">
        <pc:chgData name="Cornago, Fernando" userId="048a41c0-cb7a-447c-b2ac-f7c7348706e9" providerId="ADAL" clId="{9A5DB92F-12BF-B84C-BF79-2D8D18E29C35}" dt="2021-05-02T09:42:01.048" v="1988" actId="2696"/>
        <pc:sldMkLst>
          <pc:docMk/>
          <pc:sldMk cId="1700548313" sldId="355"/>
        </pc:sldMkLst>
      </pc:sldChg>
      <pc:sldChg chg="addSp delSp modSp add mod">
        <pc:chgData name="Cornago, Fernando" userId="048a41c0-cb7a-447c-b2ac-f7c7348706e9" providerId="ADAL" clId="{9A5DB92F-12BF-B84C-BF79-2D8D18E29C35}" dt="2021-05-04T07:12:53.611" v="3029" actId="1076"/>
        <pc:sldMkLst>
          <pc:docMk/>
          <pc:sldMk cId="736462230" sldId="365"/>
        </pc:sldMkLst>
        <pc:spChg chg="mod">
          <ac:chgData name="Cornago, Fernando" userId="048a41c0-cb7a-447c-b2ac-f7c7348706e9" providerId="ADAL" clId="{9A5DB92F-12BF-B84C-BF79-2D8D18E29C35}" dt="2021-05-02T14:01:14.370" v="2951" actId="27636"/>
          <ac:spMkLst>
            <pc:docMk/>
            <pc:sldMk cId="736462230" sldId="365"/>
            <ac:spMk id="7" creationId="{903A0A31-C6DE-094F-80C9-268255AAB4E4}"/>
          </ac:spMkLst>
        </pc:spChg>
        <pc:spChg chg="add del mod">
          <ac:chgData name="Cornago, Fernando" userId="048a41c0-cb7a-447c-b2ac-f7c7348706e9" providerId="ADAL" clId="{9A5DB92F-12BF-B84C-BF79-2D8D18E29C35}" dt="2021-05-04T07:12:51.329" v="3027"/>
          <ac:spMkLst>
            <pc:docMk/>
            <pc:sldMk cId="736462230" sldId="365"/>
            <ac:spMk id="9" creationId="{60447122-962F-1B46-9304-BDE5B4C8CA81}"/>
          </ac:spMkLst>
        </pc:spChg>
        <pc:spChg chg="add mod">
          <ac:chgData name="Cornago, Fernando" userId="048a41c0-cb7a-447c-b2ac-f7c7348706e9" providerId="ADAL" clId="{9A5DB92F-12BF-B84C-BF79-2D8D18E29C35}" dt="2021-05-04T07:12:53.611" v="3029" actId="1076"/>
          <ac:spMkLst>
            <pc:docMk/>
            <pc:sldMk cId="736462230" sldId="365"/>
            <ac:spMk id="10" creationId="{C614DA4E-52B5-5840-BFD1-6A3B24C92C6D}"/>
          </ac:spMkLst>
        </pc:spChg>
      </pc:sldChg>
      <pc:sldChg chg="addSp delSp modSp add del mod">
        <pc:chgData name="Cornago, Fernando" userId="048a41c0-cb7a-447c-b2ac-f7c7348706e9" providerId="ADAL" clId="{9A5DB92F-12BF-B84C-BF79-2D8D18E29C35}" dt="2021-05-04T07:24:40.658" v="4119" actId="2696"/>
        <pc:sldMkLst>
          <pc:docMk/>
          <pc:sldMk cId="3719256506" sldId="367"/>
        </pc:sldMkLst>
        <pc:spChg chg="del">
          <ac:chgData name="Cornago, Fernando" userId="048a41c0-cb7a-447c-b2ac-f7c7348706e9" providerId="ADAL" clId="{9A5DB92F-12BF-B84C-BF79-2D8D18E29C35}" dt="2021-05-02T09:32:28.177" v="1920" actId="478"/>
          <ac:spMkLst>
            <pc:docMk/>
            <pc:sldMk cId="3719256506" sldId="367"/>
            <ac:spMk id="6" creationId="{81863BA5-C025-6646-B4FF-69F95842CEBA}"/>
          </ac:spMkLst>
        </pc:spChg>
        <pc:spChg chg="del">
          <ac:chgData name="Cornago, Fernando" userId="048a41c0-cb7a-447c-b2ac-f7c7348706e9" providerId="ADAL" clId="{9A5DB92F-12BF-B84C-BF79-2D8D18E29C35}" dt="2021-05-02T09:32:28.177" v="1920" actId="478"/>
          <ac:spMkLst>
            <pc:docMk/>
            <pc:sldMk cId="3719256506" sldId="367"/>
            <ac:spMk id="192" creationId="{46CEEB66-EC0F-624A-AE40-8A5F536E3FA2}"/>
          </ac:spMkLst>
        </pc:spChg>
        <pc:spChg chg="del">
          <ac:chgData name="Cornago, Fernando" userId="048a41c0-cb7a-447c-b2ac-f7c7348706e9" providerId="ADAL" clId="{9A5DB92F-12BF-B84C-BF79-2D8D18E29C35}" dt="2021-05-02T09:32:28.177" v="1920" actId="478"/>
          <ac:spMkLst>
            <pc:docMk/>
            <pc:sldMk cId="3719256506" sldId="367"/>
            <ac:spMk id="193" creationId="{6BC3EFC6-54B4-684F-A061-62018DB474F5}"/>
          </ac:spMkLst>
        </pc:spChg>
        <pc:spChg chg="mod">
          <ac:chgData name="Cornago, Fernando" userId="048a41c0-cb7a-447c-b2ac-f7c7348706e9" providerId="ADAL" clId="{9A5DB92F-12BF-B84C-BF79-2D8D18E29C35}" dt="2021-05-02T09:32:20.261" v="1918"/>
          <ac:spMkLst>
            <pc:docMk/>
            <pc:sldMk cId="3719256506" sldId="367"/>
            <ac:spMk id="194" creationId="{3A6AA1CC-DDC4-9F46-B0AB-DD9A02F4B216}"/>
          </ac:spMkLst>
        </pc:spChg>
        <pc:spChg chg="del">
          <ac:chgData name="Cornago, Fernando" userId="048a41c0-cb7a-447c-b2ac-f7c7348706e9" providerId="ADAL" clId="{9A5DB92F-12BF-B84C-BF79-2D8D18E29C35}" dt="2021-05-02T09:32:28.177" v="1920" actId="478"/>
          <ac:spMkLst>
            <pc:docMk/>
            <pc:sldMk cId="3719256506" sldId="367"/>
            <ac:spMk id="196" creationId="{1993252C-D463-7B48-A7D8-4B2ABE6D32A3}"/>
          </ac:spMkLst>
        </pc:spChg>
        <pc:spChg chg="add del mod">
          <ac:chgData name="Cornago, Fernando" userId="048a41c0-cb7a-447c-b2ac-f7c7348706e9" providerId="ADAL" clId="{9A5DB92F-12BF-B84C-BF79-2D8D18E29C35}" dt="2021-05-02T09:32:50.472" v="1922"/>
          <ac:spMkLst>
            <pc:docMk/>
            <pc:sldMk cId="3719256506" sldId="367"/>
            <ac:spMk id="233" creationId="{3E35DEC8-03EE-6944-8B45-89B67F8B251A}"/>
          </ac:spMkLst>
        </pc:spChg>
        <pc:spChg chg="add del mod">
          <ac:chgData name="Cornago, Fernando" userId="048a41c0-cb7a-447c-b2ac-f7c7348706e9" providerId="ADAL" clId="{9A5DB92F-12BF-B84C-BF79-2D8D18E29C35}" dt="2021-05-02T09:32:50.472" v="1922"/>
          <ac:spMkLst>
            <pc:docMk/>
            <pc:sldMk cId="3719256506" sldId="367"/>
            <ac:spMk id="234" creationId="{45EC77D1-9698-5943-8EED-689BDE607C85}"/>
          </ac:spMkLst>
        </pc:spChg>
        <pc:spChg chg="mod">
          <ac:chgData name="Cornago, Fernando" userId="048a41c0-cb7a-447c-b2ac-f7c7348706e9" providerId="ADAL" clId="{9A5DB92F-12BF-B84C-BF79-2D8D18E29C35}" dt="2021-05-02T09:32:47.155" v="1921"/>
          <ac:spMkLst>
            <pc:docMk/>
            <pc:sldMk cId="3719256506" sldId="367"/>
            <ac:spMk id="238" creationId="{00E5FB8F-2A92-2741-AB35-F72A00A017B4}"/>
          </ac:spMkLst>
        </pc:spChg>
        <pc:spChg chg="mod">
          <ac:chgData name="Cornago, Fernando" userId="048a41c0-cb7a-447c-b2ac-f7c7348706e9" providerId="ADAL" clId="{9A5DB92F-12BF-B84C-BF79-2D8D18E29C35}" dt="2021-05-02T09:32:47.155" v="1921"/>
          <ac:spMkLst>
            <pc:docMk/>
            <pc:sldMk cId="3719256506" sldId="367"/>
            <ac:spMk id="239" creationId="{543F92D5-4A9B-B74E-91CF-0D7888753EF0}"/>
          </ac:spMkLst>
        </pc:spChg>
        <pc:spChg chg="mod">
          <ac:chgData name="Cornago, Fernando" userId="048a41c0-cb7a-447c-b2ac-f7c7348706e9" providerId="ADAL" clId="{9A5DB92F-12BF-B84C-BF79-2D8D18E29C35}" dt="2021-05-02T09:32:47.155" v="1921"/>
          <ac:spMkLst>
            <pc:docMk/>
            <pc:sldMk cId="3719256506" sldId="367"/>
            <ac:spMk id="241" creationId="{163E9511-FC78-9442-9538-BFD70C212CD8}"/>
          </ac:spMkLst>
        </pc:spChg>
        <pc:spChg chg="mod">
          <ac:chgData name="Cornago, Fernando" userId="048a41c0-cb7a-447c-b2ac-f7c7348706e9" providerId="ADAL" clId="{9A5DB92F-12BF-B84C-BF79-2D8D18E29C35}" dt="2021-05-02T09:32:47.155" v="1921"/>
          <ac:spMkLst>
            <pc:docMk/>
            <pc:sldMk cId="3719256506" sldId="367"/>
            <ac:spMk id="242" creationId="{4C4F590C-979B-4745-9F67-CD0C75F66622}"/>
          </ac:spMkLst>
        </pc:spChg>
        <pc:spChg chg="del">
          <ac:chgData name="Cornago, Fernando" userId="048a41c0-cb7a-447c-b2ac-f7c7348706e9" providerId="ADAL" clId="{9A5DB92F-12BF-B84C-BF79-2D8D18E29C35}" dt="2021-05-02T09:32:28.177" v="1920" actId="478"/>
          <ac:spMkLst>
            <pc:docMk/>
            <pc:sldMk cId="3719256506" sldId="367"/>
            <ac:spMk id="280" creationId="{C8BAB9FE-8807-5D49-ABBA-EDEAE7DBECD7}"/>
          </ac:spMkLst>
        </pc:spChg>
        <pc:spChg chg="del">
          <ac:chgData name="Cornago, Fernando" userId="048a41c0-cb7a-447c-b2ac-f7c7348706e9" providerId="ADAL" clId="{9A5DB92F-12BF-B84C-BF79-2D8D18E29C35}" dt="2021-05-02T09:32:28.177" v="1920" actId="478"/>
          <ac:spMkLst>
            <pc:docMk/>
            <pc:sldMk cId="3719256506" sldId="367"/>
            <ac:spMk id="281" creationId="{DCFBCD31-650F-A349-8C82-70438DCAA4C1}"/>
          </ac:spMkLst>
        </pc:spChg>
        <pc:spChg chg="mod">
          <ac:chgData name="Cornago, Fernando" userId="048a41c0-cb7a-447c-b2ac-f7c7348706e9" providerId="ADAL" clId="{9A5DB92F-12BF-B84C-BF79-2D8D18E29C35}" dt="2021-05-02T09:32:47.155" v="1921"/>
          <ac:spMkLst>
            <pc:docMk/>
            <pc:sldMk cId="3719256506" sldId="367"/>
            <ac:spMk id="282" creationId="{288BF719-7C5A-8346-9A2D-A50BD2570155}"/>
          </ac:spMkLst>
        </pc:spChg>
        <pc:spChg chg="mod">
          <ac:chgData name="Cornago, Fernando" userId="048a41c0-cb7a-447c-b2ac-f7c7348706e9" providerId="ADAL" clId="{9A5DB92F-12BF-B84C-BF79-2D8D18E29C35}" dt="2021-05-02T09:32:47.155" v="1921"/>
          <ac:spMkLst>
            <pc:docMk/>
            <pc:sldMk cId="3719256506" sldId="367"/>
            <ac:spMk id="283" creationId="{FA20F2C4-23F3-2040-A8B1-7266FB784BA0}"/>
          </ac:spMkLst>
        </pc:spChg>
        <pc:spChg chg="mod">
          <ac:chgData name="Cornago, Fernando" userId="048a41c0-cb7a-447c-b2ac-f7c7348706e9" providerId="ADAL" clId="{9A5DB92F-12BF-B84C-BF79-2D8D18E29C35}" dt="2021-05-02T09:32:47.155" v="1921"/>
          <ac:spMkLst>
            <pc:docMk/>
            <pc:sldMk cId="3719256506" sldId="367"/>
            <ac:spMk id="284" creationId="{999C1012-6A11-E84C-9C53-A2635740DDB9}"/>
          </ac:spMkLst>
        </pc:spChg>
        <pc:spChg chg="mod">
          <ac:chgData name="Cornago, Fernando" userId="048a41c0-cb7a-447c-b2ac-f7c7348706e9" providerId="ADAL" clId="{9A5DB92F-12BF-B84C-BF79-2D8D18E29C35}" dt="2021-05-02T09:32:47.155" v="1921"/>
          <ac:spMkLst>
            <pc:docMk/>
            <pc:sldMk cId="3719256506" sldId="367"/>
            <ac:spMk id="285" creationId="{30AA4617-4EF8-7D4A-87B5-6E702B0665BC}"/>
          </ac:spMkLst>
        </pc:spChg>
        <pc:spChg chg="mod">
          <ac:chgData name="Cornago, Fernando" userId="048a41c0-cb7a-447c-b2ac-f7c7348706e9" providerId="ADAL" clId="{9A5DB92F-12BF-B84C-BF79-2D8D18E29C35}" dt="2021-05-02T09:32:47.155" v="1921"/>
          <ac:spMkLst>
            <pc:docMk/>
            <pc:sldMk cId="3719256506" sldId="367"/>
            <ac:spMk id="286" creationId="{84A13226-3785-8D40-A328-7EA7180CE8E7}"/>
          </ac:spMkLst>
        </pc:spChg>
        <pc:spChg chg="mod">
          <ac:chgData name="Cornago, Fernando" userId="048a41c0-cb7a-447c-b2ac-f7c7348706e9" providerId="ADAL" clId="{9A5DB92F-12BF-B84C-BF79-2D8D18E29C35}" dt="2021-05-02T09:32:47.155" v="1921"/>
          <ac:spMkLst>
            <pc:docMk/>
            <pc:sldMk cId="3719256506" sldId="367"/>
            <ac:spMk id="287" creationId="{A9568377-973B-4E41-B9AB-80F340552647}"/>
          </ac:spMkLst>
        </pc:spChg>
        <pc:spChg chg="mod">
          <ac:chgData name="Cornago, Fernando" userId="048a41c0-cb7a-447c-b2ac-f7c7348706e9" providerId="ADAL" clId="{9A5DB92F-12BF-B84C-BF79-2D8D18E29C35}" dt="2021-05-02T09:32:47.155" v="1921"/>
          <ac:spMkLst>
            <pc:docMk/>
            <pc:sldMk cId="3719256506" sldId="367"/>
            <ac:spMk id="288" creationId="{0C62C8D0-5F50-3047-819E-87E8E22B6BF1}"/>
          </ac:spMkLst>
        </pc:spChg>
        <pc:spChg chg="mod">
          <ac:chgData name="Cornago, Fernando" userId="048a41c0-cb7a-447c-b2ac-f7c7348706e9" providerId="ADAL" clId="{9A5DB92F-12BF-B84C-BF79-2D8D18E29C35}" dt="2021-05-02T09:32:47.155" v="1921"/>
          <ac:spMkLst>
            <pc:docMk/>
            <pc:sldMk cId="3719256506" sldId="367"/>
            <ac:spMk id="289" creationId="{4DDC582E-3719-CA48-A6E3-84D54B09DD50}"/>
          </ac:spMkLst>
        </pc:spChg>
        <pc:spChg chg="mod">
          <ac:chgData name="Cornago, Fernando" userId="048a41c0-cb7a-447c-b2ac-f7c7348706e9" providerId="ADAL" clId="{9A5DB92F-12BF-B84C-BF79-2D8D18E29C35}" dt="2021-05-02T09:32:47.155" v="1921"/>
          <ac:spMkLst>
            <pc:docMk/>
            <pc:sldMk cId="3719256506" sldId="367"/>
            <ac:spMk id="290" creationId="{7BE8610E-CFA0-1A4E-B056-DBB8B51477E8}"/>
          </ac:spMkLst>
        </pc:spChg>
        <pc:spChg chg="mod">
          <ac:chgData name="Cornago, Fernando" userId="048a41c0-cb7a-447c-b2ac-f7c7348706e9" providerId="ADAL" clId="{9A5DB92F-12BF-B84C-BF79-2D8D18E29C35}" dt="2021-05-02T09:32:47.155" v="1921"/>
          <ac:spMkLst>
            <pc:docMk/>
            <pc:sldMk cId="3719256506" sldId="367"/>
            <ac:spMk id="291" creationId="{74F2022F-77C4-E442-8CE8-CE4FAAA46323}"/>
          </ac:spMkLst>
        </pc:spChg>
        <pc:spChg chg="mod">
          <ac:chgData name="Cornago, Fernando" userId="048a41c0-cb7a-447c-b2ac-f7c7348706e9" providerId="ADAL" clId="{9A5DB92F-12BF-B84C-BF79-2D8D18E29C35}" dt="2021-05-02T09:32:47.155" v="1921"/>
          <ac:spMkLst>
            <pc:docMk/>
            <pc:sldMk cId="3719256506" sldId="367"/>
            <ac:spMk id="292" creationId="{593DF9CF-D647-2A46-B7C1-9022D3022E69}"/>
          </ac:spMkLst>
        </pc:spChg>
        <pc:spChg chg="mod">
          <ac:chgData name="Cornago, Fernando" userId="048a41c0-cb7a-447c-b2ac-f7c7348706e9" providerId="ADAL" clId="{9A5DB92F-12BF-B84C-BF79-2D8D18E29C35}" dt="2021-05-02T09:32:47.155" v="1921"/>
          <ac:spMkLst>
            <pc:docMk/>
            <pc:sldMk cId="3719256506" sldId="367"/>
            <ac:spMk id="293" creationId="{26DB4C43-8159-A64D-9C54-D43CD816EAB2}"/>
          </ac:spMkLst>
        </pc:spChg>
        <pc:spChg chg="mod">
          <ac:chgData name="Cornago, Fernando" userId="048a41c0-cb7a-447c-b2ac-f7c7348706e9" providerId="ADAL" clId="{9A5DB92F-12BF-B84C-BF79-2D8D18E29C35}" dt="2021-05-02T09:32:47.155" v="1921"/>
          <ac:spMkLst>
            <pc:docMk/>
            <pc:sldMk cId="3719256506" sldId="367"/>
            <ac:spMk id="294" creationId="{627B7409-01C8-A34B-BEFC-8E0DD86F8D00}"/>
          </ac:spMkLst>
        </pc:spChg>
        <pc:spChg chg="mod">
          <ac:chgData name="Cornago, Fernando" userId="048a41c0-cb7a-447c-b2ac-f7c7348706e9" providerId="ADAL" clId="{9A5DB92F-12BF-B84C-BF79-2D8D18E29C35}" dt="2021-05-02T09:32:47.155" v="1921"/>
          <ac:spMkLst>
            <pc:docMk/>
            <pc:sldMk cId="3719256506" sldId="367"/>
            <ac:spMk id="295" creationId="{64BAFA96-CE10-EF4D-B7EF-E0E4778D45E7}"/>
          </ac:spMkLst>
        </pc:spChg>
        <pc:spChg chg="mod">
          <ac:chgData name="Cornago, Fernando" userId="048a41c0-cb7a-447c-b2ac-f7c7348706e9" providerId="ADAL" clId="{9A5DB92F-12BF-B84C-BF79-2D8D18E29C35}" dt="2021-05-02T09:32:47.155" v="1921"/>
          <ac:spMkLst>
            <pc:docMk/>
            <pc:sldMk cId="3719256506" sldId="367"/>
            <ac:spMk id="296" creationId="{A0FCDE12-7EC6-6D47-A919-369EFBF354B7}"/>
          </ac:spMkLst>
        </pc:spChg>
        <pc:spChg chg="mod">
          <ac:chgData name="Cornago, Fernando" userId="048a41c0-cb7a-447c-b2ac-f7c7348706e9" providerId="ADAL" clId="{9A5DB92F-12BF-B84C-BF79-2D8D18E29C35}" dt="2021-05-02T09:32:47.155" v="1921"/>
          <ac:spMkLst>
            <pc:docMk/>
            <pc:sldMk cId="3719256506" sldId="367"/>
            <ac:spMk id="297" creationId="{9FD83EB3-B28C-DC4D-96E2-7D5E714B5DBA}"/>
          </ac:spMkLst>
        </pc:spChg>
        <pc:spChg chg="mod">
          <ac:chgData name="Cornago, Fernando" userId="048a41c0-cb7a-447c-b2ac-f7c7348706e9" providerId="ADAL" clId="{9A5DB92F-12BF-B84C-BF79-2D8D18E29C35}" dt="2021-05-02T09:32:47.155" v="1921"/>
          <ac:spMkLst>
            <pc:docMk/>
            <pc:sldMk cId="3719256506" sldId="367"/>
            <ac:spMk id="298" creationId="{028185C8-AFD8-F943-A485-BBD260251621}"/>
          </ac:spMkLst>
        </pc:spChg>
        <pc:spChg chg="mod">
          <ac:chgData name="Cornago, Fernando" userId="048a41c0-cb7a-447c-b2ac-f7c7348706e9" providerId="ADAL" clId="{9A5DB92F-12BF-B84C-BF79-2D8D18E29C35}" dt="2021-05-02T09:32:47.155" v="1921"/>
          <ac:spMkLst>
            <pc:docMk/>
            <pc:sldMk cId="3719256506" sldId="367"/>
            <ac:spMk id="299" creationId="{AF837B2F-625E-9F42-A9B8-04B4711BC3FA}"/>
          </ac:spMkLst>
        </pc:spChg>
        <pc:spChg chg="mod">
          <ac:chgData name="Cornago, Fernando" userId="048a41c0-cb7a-447c-b2ac-f7c7348706e9" providerId="ADAL" clId="{9A5DB92F-12BF-B84C-BF79-2D8D18E29C35}" dt="2021-05-02T09:32:47.155" v="1921"/>
          <ac:spMkLst>
            <pc:docMk/>
            <pc:sldMk cId="3719256506" sldId="367"/>
            <ac:spMk id="300" creationId="{6C8F1912-FEDC-C247-93BA-B34ED414C601}"/>
          </ac:spMkLst>
        </pc:spChg>
        <pc:spChg chg="mod">
          <ac:chgData name="Cornago, Fernando" userId="048a41c0-cb7a-447c-b2ac-f7c7348706e9" providerId="ADAL" clId="{9A5DB92F-12BF-B84C-BF79-2D8D18E29C35}" dt="2021-05-02T09:32:47.155" v="1921"/>
          <ac:spMkLst>
            <pc:docMk/>
            <pc:sldMk cId="3719256506" sldId="367"/>
            <ac:spMk id="301" creationId="{B3177D73-53D7-974E-8EB5-2FEFB0862D1B}"/>
          </ac:spMkLst>
        </pc:spChg>
        <pc:spChg chg="mod">
          <ac:chgData name="Cornago, Fernando" userId="048a41c0-cb7a-447c-b2ac-f7c7348706e9" providerId="ADAL" clId="{9A5DB92F-12BF-B84C-BF79-2D8D18E29C35}" dt="2021-05-02T09:32:47.155" v="1921"/>
          <ac:spMkLst>
            <pc:docMk/>
            <pc:sldMk cId="3719256506" sldId="367"/>
            <ac:spMk id="302" creationId="{654D6757-8E15-8748-B1B5-21E3051AA15C}"/>
          </ac:spMkLst>
        </pc:spChg>
        <pc:spChg chg="mod">
          <ac:chgData name="Cornago, Fernando" userId="048a41c0-cb7a-447c-b2ac-f7c7348706e9" providerId="ADAL" clId="{9A5DB92F-12BF-B84C-BF79-2D8D18E29C35}" dt="2021-05-02T09:32:47.155" v="1921"/>
          <ac:spMkLst>
            <pc:docMk/>
            <pc:sldMk cId="3719256506" sldId="367"/>
            <ac:spMk id="303" creationId="{5F13CC62-8C0C-8848-AFE2-943BC929AB68}"/>
          </ac:spMkLst>
        </pc:spChg>
        <pc:spChg chg="mod">
          <ac:chgData name="Cornago, Fernando" userId="048a41c0-cb7a-447c-b2ac-f7c7348706e9" providerId="ADAL" clId="{9A5DB92F-12BF-B84C-BF79-2D8D18E29C35}" dt="2021-05-02T09:32:47.155" v="1921"/>
          <ac:spMkLst>
            <pc:docMk/>
            <pc:sldMk cId="3719256506" sldId="367"/>
            <ac:spMk id="304" creationId="{82CEA665-D280-044B-8C59-29FAB6C64403}"/>
          </ac:spMkLst>
        </pc:spChg>
        <pc:spChg chg="mod">
          <ac:chgData name="Cornago, Fernando" userId="048a41c0-cb7a-447c-b2ac-f7c7348706e9" providerId="ADAL" clId="{9A5DB92F-12BF-B84C-BF79-2D8D18E29C35}" dt="2021-05-02T09:32:47.155" v="1921"/>
          <ac:spMkLst>
            <pc:docMk/>
            <pc:sldMk cId="3719256506" sldId="367"/>
            <ac:spMk id="305" creationId="{6DB78A12-D77D-8249-BDEB-87E517067115}"/>
          </ac:spMkLst>
        </pc:spChg>
        <pc:spChg chg="mod">
          <ac:chgData name="Cornago, Fernando" userId="048a41c0-cb7a-447c-b2ac-f7c7348706e9" providerId="ADAL" clId="{9A5DB92F-12BF-B84C-BF79-2D8D18E29C35}" dt="2021-05-02T09:32:47.155" v="1921"/>
          <ac:spMkLst>
            <pc:docMk/>
            <pc:sldMk cId="3719256506" sldId="367"/>
            <ac:spMk id="306" creationId="{98DCFF69-ED6C-5343-A9A2-E266BD7BCA61}"/>
          </ac:spMkLst>
        </pc:spChg>
        <pc:spChg chg="mod">
          <ac:chgData name="Cornago, Fernando" userId="048a41c0-cb7a-447c-b2ac-f7c7348706e9" providerId="ADAL" clId="{9A5DB92F-12BF-B84C-BF79-2D8D18E29C35}" dt="2021-05-02T09:32:47.155" v="1921"/>
          <ac:spMkLst>
            <pc:docMk/>
            <pc:sldMk cId="3719256506" sldId="367"/>
            <ac:spMk id="307" creationId="{E02425A6-04BA-5142-B8F7-4797F345B6AF}"/>
          </ac:spMkLst>
        </pc:spChg>
        <pc:spChg chg="mod">
          <ac:chgData name="Cornago, Fernando" userId="048a41c0-cb7a-447c-b2ac-f7c7348706e9" providerId="ADAL" clId="{9A5DB92F-12BF-B84C-BF79-2D8D18E29C35}" dt="2021-05-02T09:32:47.155" v="1921"/>
          <ac:spMkLst>
            <pc:docMk/>
            <pc:sldMk cId="3719256506" sldId="367"/>
            <ac:spMk id="308" creationId="{311FC8E5-2066-3B45-8908-0E77F9161D16}"/>
          </ac:spMkLst>
        </pc:spChg>
        <pc:spChg chg="mod">
          <ac:chgData name="Cornago, Fernando" userId="048a41c0-cb7a-447c-b2ac-f7c7348706e9" providerId="ADAL" clId="{9A5DB92F-12BF-B84C-BF79-2D8D18E29C35}" dt="2021-05-02T09:32:47.155" v="1921"/>
          <ac:spMkLst>
            <pc:docMk/>
            <pc:sldMk cId="3719256506" sldId="367"/>
            <ac:spMk id="309" creationId="{5A52C883-638B-D44C-BFFE-B0AAF97D85EC}"/>
          </ac:spMkLst>
        </pc:spChg>
        <pc:spChg chg="mod">
          <ac:chgData name="Cornago, Fernando" userId="048a41c0-cb7a-447c-b2ac-f7c7348706e9" providerId="ADAL" clId="{9A5DB92F-12BF-B84C-BF79-2D8D18E29C35}" dt="2021-05-02T09:32:47.155" v="1921"/>
          <ac:spMkLst>
            <pc:docMk/>
            <pc:sldMk cId="3719256506" sldId="367"/>
            <ac:spMk id="310" creationId="{60FA3D49-6E5F-F540-9B8F-6D30AB401CDE}"/>
          </ac:spMkLst>
        </pc:spChg>
        <pc:spChg chg="mod">
          <ac:chgData name="Cornago, Fernando" userId="048a41c0-cb7a-447c-b2ac-f7c7348706e9" providerId="ADAL" clId="{9A5DB92F-12BF-B84C-BF79-2D8D18E29C35}" dt="2021-05-02T09:32:47.155" v="1921"/>
          <ac:spMkLst>
            <pc:docMk/>
            <pc:sldMk cId="3719256506" sldId="367"/>
            <ac:spMk id="311" creationId="{4983DB5C-1C9E-8F4E-84C3-90E383F6A036}"/>
          </ac:spMkLst>
        </pc:spChg>
        <pc:spChg chg="mod">
          <ac:chgData name="Cornago, Fernando" userId="048a41c0-cb7a-447c-b2ac-f7c7348706e9" providerId="ADAL" clId="{9A5DB92F-12BF-B84C-BF79-2D8D18E29C35}" dt="2021-05-02T09:32:47.155" v="1921"/>
          <ac:spMkLst>
            <pc:docMk/>
            <pc:sldMk cId="3719256506" sldId="367"/>
            <ac:spMk id="312" creationId="{50906E59-D95E-AB45-B2E1-E646F8CB6CBD}"/>
          </ac:spMkLst>
        </pc:spChg>
        <pc:spChg chg="mod">
          <ac:chgData name="Cornago, Fernando" userId="048a41c0-cb7a-447c-b2ac-f7c7348706e9" providerId="ADAL" clId="{9A5DB92F-12BF-B84C-BF79-2D8D18E29C35}" dt="2021-05-02T09:32:47.155" v="1921"/>
          <ac:spMkLst>
            <pc:docMk/>
            <pc:sldMk cId="3719256506" sldId="367"/>
            <ac:spMk id="313" creationId="{EF29CED8-8718-234F-88FF-616898E637E0}"/>
          </ac:spMkLst>
        </pc:spChg>
        <pc:spChg chg="mod">
          <ac:chgData name="Cornago, Fernando" userId="048a41c0-cb7a-447c-b2ac-f7c7348706e9" providerId="ADAL" clId="{9A5DB92F-12BF-B84C-BF79-2D8D18E29C35}" dt="2021-05-02T09:32:47.155" v="1921"/>
          <ac:spMkLst>
            <pc:docMk/>
            <pc:sldMk cId="3719256506" sldId="367"/>
            <ac:spMk id="314" creationId="{95636CA7-FCBC-7E48-BA82-08F8C4FC5706}"/>
          </ac:spMkLst>
        </pc:spChg>
        <pc:spChg chg="mod">
          <ac:chgData name="Cornago, Fernando" userId="048a41c0-cb7a-447c-b2ac-f7c7348706e9" providerId="ADAL" clId="{9A5DB92F-12BF-B84C-BF79-2D8D18E29C35}" dt="2021-05-02T09:32:47.155" v="1921"/>
          <ac:spMkLst>
            <pc:docMk/>
            <pc:sldMk cId="3719256506" sldId="367"/>
            <ac:spMk id="315" creationId="{CE1B66BB-5EE5-7942-9417-D16212AACC0C}"/>
          </ac:spMkLst>
        </pc:spChg>
        <pc:spChg chg="mod">
          <ac:chgData name="Cornago, Fernando" userId="048a41c0-cb7a-447c-b2ac-f7c7348706e9" providerId="ADAL" clId="{9A5DB92F-12BF-B84C-BF79-2D8D18E29C35}" dt="2021-05-02T09:32:47.155" v="1921"/>
          <ac:spMkLst>
            <pc:docMk/>
            <pc:sldMk cId="3719256506" sldId="367"/>
            <ac:spMk id="316" creationId="{BDCA9DDE-AC21-5543-A400-28BB6E2EA0A5}"/>
          </ac:spMkLst>
        </pc:spChg>
        <pc:spChg chg="mod">
          <ac:chgData name="Cornago, Fernando" userId="048a41c0-cb7a-447c-b2ac-f7c7348706e9" providerId="ADAL" clId="{9A5DB92F-12BF-B84C-BF79-2D8D18E29C35}" dt="2021-05-02T09:32:47.155" v="1921"/>
          <ac:spMkLst>
            <pc:docMk/>
            <pc:sldMk cId="3719256506" sldId="367"/>
            <ac:spMk id="317" creationId="{D2A73688-818E-B74C-8735-8DFAC3F5D092}"/>
          </ac:spMkLst>
        </pc:spChg>
        <pc:spChg chg="mod">
          <ac:chgData name="Cornago, Fernando" userId="048a41c0-cb7a-447c-b2ac-f7c7348706e9" providerId="ADAL" clId="{9A5DB92F-12BF-B84C-BF79-2D8D18E29C35}" dt="2021-05-02T09:32:47.155" v="1921"/>
          <ac:spMkLst>
            <pc:docMk/>
            <pc:sldMk cId="3719256506" sldId="367"/>
            <ac:spMk id="318" creationId="{E0ABFC64-8B76-5449-A0DD-85A03C0ACEB0}"/>
          </ac:spMkLst>
        </pc:spChg>
        <pc:spChg chg="mod">
          <ac:chgData name="Cornago, Fernando" userId="048a41c0-cb7a-447c-b2ac-f7c7348706e9" providerId="ADAL" clId="{9A5DB92F-12BF-B84C-BF79-2D8D18E29C35}" dt="2021-05-02T09:32:47.155" v="1921"/>
          <ac:spMkLst>
            <pc:docMk/>
            <pc:sldMk cId="3719256506" sldId="367"/>
            <ac:spMk id="319" creationId="{DA72A34B-6D35-404F-9789-984A3C3F5609}"/>
          </ac:spMkLst>
        </pc:spChg>
        <pc:spChg chg="mod">
          <ac:chgData name="Cornago, Fernando" userId="048a41c0-cb7a-447c-b2ac-f7c7348706e9" providerId="ADAL" clId="{9A5DB92F-12BF-B84C-BF79-2D8D18E29C35}" dt="2021-05-02T09:32:47.155" v="1921"/>
          <ac:spMkLst>
            <pc:docMk/>
            <pc:sldMk cId="3719256506" sldId="367"/>
            <ac:spMk id="320" creationId="{BBAD8D69-FC09-9446-9628-1701B2A6A655}"/>
          </ac:spMkLst>
        </pc:spChg>
        <pc:spChg chg="mod">
          <ac:chgData name="Cornago, Fernando" userId="048a41c0-cb7a-447c-b2ac-f7c7348706e9" providerId="ADAL" clId="{9A5DB92F-12BF-B84C-BF79-2D8D18E29C35}" dt="2021-05-02T09:32:47.155" v="1921"/>
          <ac:spMkLst>
            <pc:docMk/>
            <pc:sldMk cId="3719256506" sldId="367"/>
            <ac:spMk id="321" creationId="{94A9A2AA-DCFC-1F4B-B49E-CF4C18E15A4C}"/>
          </ac:spMkLst>
        </pc:spChg>
        <pc:spChg chg="mod">
          <ac:chgData name="Cornago, Fernando" userId="048a41c0-cb7a-447c-b2ac-f7c7348706e9" providerId="ADAL" clId="{9A5DB92F-12BF-B84C-BF79-2D8D18E29C35}" dt="2021-05-02T09:32:47.155" v="1921"/>
          <ac:spMkLst>
            <pc:docMk/>
            <pc:sldMk cId="3719256506" sldId="367"/>
            <ac:spMk id="322" creationId="{C39197A7-C9EB-CF44-9238-59BED584F624}"/>
          </ac:spMkLst>
        </pc:spChg>
        <pc:spChg chg="mod">
          <ac:chgData name="Cornago, Fernando" userId="048a41c0-cb7a-447c-b2ac-f7c7348706e9" providerId="ADAL" clId="{9A5DB92F-12BF-B84C-BF79-2D8D18E29C35}" dt="2021-05-02T09:32:47.155" v="1921"/>
          <ac:spMkLst>
            <pc:docMk/>
            <pc:sldMk cId="3719256506" sldId="367"/>
            <ac:spMk id="323" creationId="{35E0B09F-473D-674A-B72A-C5B4F69E9318}"/>
          </ac:spMkLst>
        </pc:spChg>
        <pc:spChg chg="mod">
          <ac:chgData name="Cornago, Fernando" userId="048a41c0-cb7a-447c-b2ac-f7c7348706e9" providerId="ADAL" clId="{9A5DB92F-12BF-B84C-BF79-2D8D18E29C35}" dt="2021-05-02T09:32:47.155" v="1921"/>
          <ac:spMkLst>
            <pc:docMk/>
            <pc:sldMk cId="3719256506" sldId="367"/>
            <ac:spMk id="324" creationId="{F4E7FB96-FB69-5644-B4BC-D7BE2AEC2E16}"/>
          </ac:spMkLst>
        </pc:spChg>
        <pc:spChg chg="mod">
          <ac:chgData name="Cornago, Fernando" userId="048a41c0-cb7a-447c-b2ac-f7c7348706e9" providerId="ADAL" clId="{9A5DB92F-12BF-B84C-BF79-2D8D18E29C35}" dt="2021-05-02T09:32:47.155" v="1921"/>
          <ac:spMkLst>
            <pc:docMk/>
            <pc:sldMk cId="3719256506" sldId="367"/>
            <ac:spMk id="325" creationId="{3E800EC4-25A2-5B41-B4FF-2AA09CA600E6}"/>
          </ac:spMkLst>
        </pc:spChg>
        <pc:spChg chg="mod">
          <ac:chgData name="Cornago, Fernando" userId="048a41c0-cb7a-447c-b2ac-f7c7348706e9" providerId="ADAL" clId="{9A5DB92F-12BF-B84C-BF79-2D8D18E29C35}" dt="2021-05-02T09:32:47.155" v="1921"/>
          <ac:spMkLst>
            <pc:docMk/>
            <pc:sldMk cId="3719256506" sldId="367"/>
            <ac:spMk id="326" creationId="{E176AFAD-88D4-7C4E-B05B-57971A3F9DE2}"/>
          </ac:spMkLst>
        </pc:spChg>
        <pc:spChg chg="mod">
          <ac:chgData name="Cornago, Fernando" userId="048a41c0-cb7a-447c-b2ac-f7c7348706e9" providerId="ADAL" clId="{9A5DB92F-12BF-B84C-BF79-2D8D18E29C35}" dt="2021-05-02T09:32:47.155" v="1921"/>
          <ac:spMkLst>
            <pc:docMk/>
            <pc:sldMk cId="3719256506" sldId="367"/>
            <ac:spMk id="327" creationId="{6161C316-5266-9346-962C-55FEBB9A9CA3}"/>
          </ac:spMkLst>
        </pc:spChg>
        <pc:spChg chg="mod">
          <ac:chgData name="Cornago, Fernando" userId="048a41c0-cb7a-447c-b2ac-f7c7348706e9" providerId="ADAL" clId="{9A5DB92F-12BF-B84C-BF79-2D8D18E29C35}" dt="2021-05-02T09:32:47.155" v="1921"/>
          <ac:spMkLst>
            <pc:docMk/>
            <pc:sldMk cId="3719256506" sldId="367"/>
            <ac:spMk id="328" creationId="{07559CDA-7786-6F43-813E-40515FE06E82}"/>
          </ac:spMkLst>
        </pc:spChg>
        <pc:spChg chg="mod">
          <ac:chgData name="Cornago, Fernando" userId="048a41c0-cb7a-447c-b2ac-f7c7348706e9" providerId="ADAL" clId="{9A5DB92F-12BF-B84C-BF79-2D8D18E29C35}" dt="2021-05-02T09:32:47.155" v="1921"/>
          <ac:spMkLst>
            <pc:docMk/>
            <pc:sldMk cId="3719256506" sldId="367"/>
            <ac:spMk id="329" creationId="{57BBC674-68F0-AB4A-8B35-6D62731C8AFD}"/>
          </ac:spMkLst>
        </pc:spChg>
        <pc:spChg chg="mod">
          <ac:chgData name="Cornago, Fernando" userId="048a41c0-cb7a-447c-b2ac-f7c7348706e9" providerId="ADAL" clId="{9A5DB92F-12BF-B84C-BF79-2D8D18E29C35}" dt="2021-05-02T09:32:47.155" v="1921"/>
          <ac:spMkLst>
            <pc:docMk/>
            <pc:sldMk cId="3719256506" sldId="367"/>
            <ac:spMk id="330" creationId="{1B6A1C5A-5FA3-0A4F-827E-42BA23C8D5E3}"/>
          </ac:spMkLst>
        </pc:spChg>
        <pc:spChg chg="mod">
          <ac:chgData name="Cornago, Fernando" userId="048a41c0-cb7a-447c-b2ac-f7c7348706e9" providerId="ADAL" clId="{9A5DB92F-12BF-B84C-BF79-2D8D18E29C35}" dt="2021-05-02T09:32:47.155" v="1921"/>
          <ac:spMkLst>
            <pc:docMk/>
            <pc:sldMk cId="3719256506" sldId="367"/>
            <ac:spMk id="331" creationId="{EA51121F-287D-3A4B-B9A7-3C40E7F44395}"/>
          </ac:spMkLst>
        </pc:spChg>
        <pc:spChg chg="mod">
          <ac:chgData name="Cornago, Fernando" userId="048a41c0-cb7a-447c-b2ac-f7c7348706e9" providerId="ADAL" clId="{9A5DB92F-12BF-B84C-BF79-2D8D18E29C35}" dt="2021-05-02T09:32:47.155" v="1921"/>
          <ac:spMkLst>
            <pc:docMk/>
            <pc:sldMk cId="3719256506" sldId="367"/>
            <ac:spMk id="332" creationId="{6AAA196A-9F63-FC4B-A7E9-49BFA5D8CB80}"/>
          </ac:spMkLst>
        </pc:spChg>
        <pc:spChg chg="mod">
          <ac:chgData name="Cornago, Fernando" userId="048a41c0-cb7a-447c-b2ac-f7c7348706e9" providerId="ADAL" clId="{9A5DB92F-12BF-B84C-BF79-2D8D18E29C35}" dt="2021-05-02T09:32:47.155" v="1921"/>
          <ac:spMkLst>
            <pc:docMk/>
            <pc:sldMk cId="3719256506" sldId="367"/>
            <ac:spMk id="333" creationId="{81A64A20-8582-394B-8941-8F697C9A23A6}"/>
          </ac:spMkLst>
        </pc:spChg>
        <pc:spChg chg="mod">
          <ac:chgData name="Cornago, Fernando" userId="048a41c0-cb7a-447c-b2ac-f7c7348706e9" providerId="ADAL" clId="{9A5DB92F-12BF-B84C-BF79-2D8D18E29C35}" dt="2021-05-02T09:32:47.155" v="1921"/>
          <ac:spMkLst>
            <pc:docMk/>
            <pc:sldMk cId="3719256506" sldId="367"/>
            <ac:spMk id="334" creationId="{0B39304E-50A5-864A-A172-E8D51480F333}"/>
          </ac:spMkLst>
        </pc:spChg>
        <pc:spChg chg="mod">
          <ac:chgData name="Cornago, Fernando" userId="048a41c0-cb7a-447c-b2ac-f7c7348706e9" providerId="ADAL" clId="{9A5DB92F-12BF-B84C-BF79-2D8D18E29C35}" dt="2021-05-02T09:32:47.155" v="1921"/>
          <ac:spMkLst>
            <pc:docMk/>
            <pc:sldMk cId="3719256506" sldId="367"/>
            <ac:spMk id="335" creationId="{2CB2FAA2-C7CE-5F4E-B1BC-1CEF44B9C508}"/>
          </ac:spMkLst>
        </pc:spChg>
        <pc:spChg chg="mod">
          <ac:chgData name="Cornago, Fernando" userId="048a41c0-cb7a-447c-b2ac-f7c7348706e9" providerId="ADAL" clId="{9A5DB92F-12BF-B84C-BF79-2D8D18E29C35}" dt="2021-05-02T09:32:47.155" v="1921"/>
          <ac:spMkLst>
            <pc:docMk/>
            <pc:sldMk cId="3719256506" sldId="367"/>
            <ac:spMk id="336" creationId="{DBF09090-A37A-4A4D-BB59-6D6AF3423DA8}"/>
          </ac:spMkLst>
        </pc:spChg>
        <pc:spChg chg="mod">
          <ac:chgData name="Cornago, Fernando" userId="048a41c0-cb7a-447c-b2ac-f7c7348706e9" providerId="ADAL" clId="{9A5DB92F-12BF-B84C-BF79-2D8D18E29C35}" dt="2021-05-02T09:32:47.155" v="1921"/>
          <ac:spMkLst>
            <pc:docMk/>
            <pc:sldMk cId="3719256506" sldId="367"/>
            <ac:spMk id="337" creationId="{6BC46C51-1026-6844-86D8-2EEB88B22D01}"/>
          </ac:spMkLst>
        </pc:spChg>
        <pc:spChg chg="mod">
          <ac:chgData name="Cornago, Fernando" userId="048a41c0-cb7a-447c-b2ac-f7c7348706e9" providerId="ADAL" clId="{9A5DB92F-12BF-B84C-BF79-2D8D18E29C35}" dt="2021-05-02T09:32:47.155" v="1921"/>
          <ac:spMkLst>
            <pc:docMk/>
            <pc:sldMk cId="3719256506" sldId="367"/>
            <ac:spMk id="338" creationId="{43177110-55C6-EA4A-AF60-2973C9D10451}"/>
          </ac:spMkLst>
        </pc:spChg>
        <pc:spChg chg="mod">
          <ac:chgData name="Cornago, Fernando" userId="048a41c0-cb7a-447c-b2ac-f7c7348706e9" providerId="ADAL" clId="{9A5DB92F-12BF-B84C-BF79-2D8D18E29C35}" dt="2021-05-02T09:32:47.155" v="1921"/>
          <ac:spMkLst>
            <pc:docMk/>
            <pc:sldMk cId="3719256506" sldId="367"/>
            <ac:spMk id="339" creationId="{A1EBE20D-08E6-B944-8BB4-875F60974FE6}"/>
          </ac:spMkLst>
        </pc:spChg>
        <pc:spChg chg="mod">
          <ac:chgData name="Cornago, Fernando" userId="048a41c0-cb7a-447c-b2ac-f7c7348706e9" providerId="ADAL" clId="{9A5DB92F-12BF-B84C-BF79-2D8D18E29C35}" dt="2021-05-02T09:32:47.155" v="1921"/>
          <ac:spMkLst>
            <pc:docMk/>
            <pc:sldMk cId="3719256506" sldId="367"/>
            <ac:spMk id="340" creationId="{ED7B3620-F247-D24D-8953-C00D415EA1E7}"/>
          </ac:spMkLst>
        </pc:spChg>
        <pc:spChg chg="mod">
          <ac:chgData name="Cornago, Fernando" userId="048a41c0-cb7a-447c-b2ac-f7c7348706e9" providerId="ADAL" clId="{9A5DB92F-12BF-B84C-BF79-2D8D18E29C35}" dt="2021-05-02T09:32:47.155" v="1921"/>
          <ac:spMkLst>
            <pc:docMk/>
            <pc:sldMk cId="3719256506" sldId="367"/>
            <ac:spMk id="341" creationId="{CFF3BCF6-72AF-C142-AA50-A73129645B50}"/>
          </ac:spMkLst>
        </pc:spChg>
        <pc:spChg chg="mod">
          <ac:chgData name="Cornago, Fernando" userId="048a41c0-cb7a-447c-b2ac-f7c7348706e9" providerId="ADAL" clId="{9A5DB92F-12BF-B84C-BF79-2D8D18E29C35}" dt="2021-05-02T09:32:47.155" v="1921"/>
          <ac:spMkLst>
            <pc:docMk/>
            <pc:sldMk cId="3719256506" sldId="367"/>
            <ac:spMk id="342" creationId="{9D72D8DB-0E45-4E48-A71B-387E07404E47}"/>
          </ac:spMkLst>
        </pc:spChg>
        <pc:spChg chg="mod">
          <ac:chgData name="Cornago, Fernando" userId="048a41c0-cb7a-447c-b2ac-f7c7348706e9" providerId="ADAL" clId="{9A5DB92F-12BF-B84C-BF79-2D8D18E29C35}" dt="2021-05-02T09:32:47.155" v="1921"/>
          <ac:spMkLst>
            <pc:docMk/>
            <pc:sldMk cId="3719256506" sldId="367"/>
            <ac:spMk id="343" creationId="{08D19999-8092-9044-B1D4-E6C79106411B}"/>
          </ac:spMkLst>
        </pc:spChg>
        <pc:spChg chg="mod">
          <ac:chgData name="Cornago, Fernando" userId="048a41c0-cb7a-447c-b2ac-f7c7348706e9" providerId="ADAL" clId="{9A5DB92F-12BF-B84C-BF79-2D8D18E29C35}" dt="2021-05-02T09:32:47.155" v="1921"/>
          <ac:spMkLst>
            <pc:docMk/>
            <pc:sldMk cId="3719256506" sldId="367"/>
            <ac:spMk id="344" creationId="{05DB0992-D6C1-934E-90EF-53161C053696}"/>
          </ac:spMkLst>
        </pc:spChg>
        <pc:spChg chg="mod">
          <ac:chgData name="Cornago, Fernando" userId="048a41c0-cb7a-447c-b2ac-f7c7348706e9" providerId="ADAL" clId="{9A5DB92F-12BF-B84C-BF79-2D8D18E29C35}" dt="2021-05-02T09:32:47.155" v="1921"/>
          <ac:spMkLst>
            <pc:docMk/>
            <pc:sldMk cId="3719256506" sldId="367"/>
            <ac:spMk id="345" creationId="{CBDDA3A0-785E-C94A-AEF0-1BE219B1C8F1}"/>
          </ac:spMkLst>
        </pc:spChg>
        <pc:spChg chg="mod">
          <ac:chgData name="Cornago, Fernando" userId="048a41c0-cb7a-447c-b2ac-f7c7348706e9" providerId="ADAL" clId="{9A5DB92F-12BF-B84C-BF79-2D8D18E29C35}" dt="2021-05-02T09:32:47.155" v="1921"/>
          <ac:spMkLst>
            <pc:docMk/>
            <pc:sldMk cId="3719256506" sldId="367"/>
            <ac:spMk id="346" creationId="{B8532289-101A-4147-86F8-B630643C38E9}"/>
          </ac:spMkLst>
        </pc:spChg>
        <pc:spChg chg="mod">
          <ac:chgData name="Cornago, Fernando" userId="048a41c0-cb7a-447c-b2ac-f7c7348706e9" providerId="ADAL" clId="{9A5DB92F-12BF-B84C-BF79-2D8D18E29C35}" dt="2021-05-02T09:32:47.155" v="1921"/>
          <ac:spMkLst>
            <pc:docMk/>
            <pc:sldMk cId="3719256506" sldId="367"/>
            <ac:spMk id="347" creationId="{82324756-DD56-534D-8E47-D1E863B0C46F}"/>
          </ac:spMkLst>
        </pc:spChg>
        <pc:spChg chg="mod">
          <ac:chgData name="Cornago, Fernando" userId="048a41c0-cb7a-447c-b2ac-f7c7348706e9" providerId="ADAL" clId="{9A5DB92F-12BF-B84C-BF79-2D8D18E29C35}" dt="2021-05-02T09:32:47.155" v="1921"/>
          <ac:spMkLst>
            <pc:docMk/>
            <pc:sldMk cId="3719256506" sldId="367"/>
            <ac:spMk id="348" creationId="{431C2E34-620C-6646-9A70-87B6717E345D}"/>
          </ac:spMkLst>
        </pc:spChg>
        <pc:spChg chg="mod">
          <ac:chgData name="Cornago, Fernando" userId="048a41c0-cb7a-447c-b2ac-f7c7348706e9" providerId="ADAL" clId="{9A5DB92F-12BF-B84C-BF79-2D8D18E29C35}" dt="2021-05-02T09:32:47.155" v="1921"/>
          <ac:spMkLst>
            <pc:docMk/>
            <pc:sldMk cId="3719256506" sldId="367"/>
            <ac:spMk id="349" creationId="{FE2824CB-9761-044B-B460-7BDF62BAA3A9}"/>
          </ac:spMkLst>
        </pc:spChg>
        <pc:spChg chg="mod">
          <ac:chgData name="Cornago, Fernando" userId="048a41c0-cb7a-447c-b2ac-f7c7348706e9" providerId="ADAL" clId="{9A5DB92F-12BF-B84C-BF79-2D8D18E29C35}" dt="2021-05-02T09:32:47.155" v="1921"/>
          <ac:spMkLst>
            <pc:docMk/>
            <pc:sldMk cId="3719256506" sldId="367"/>
            <ac:spMk id="350" creationId="{AE96BA33-40C8-A849-A8A4-F67137C8008A}"/>
          </ac:spMkLst>
        </pc:spChg>
        <pc:spChg chg="mod">
          <ac:chgData name="Cornago, Fernando" userId="048a41c0-cb7a-447c-b2ac-f7c7348706e9" providerId="ADAL" clId="{9A5DB92F-12BF-B84C-BF79-2D8D18E29C35}" dt="2021-05-02T09:32:47.155" v="1921"/>
          <ac:spMkLst>
            <pc:docMk/>
            <pc:sldMk cId="3719256506" sldId="367"/>
            <ac:spMk id="351" creationId="{ACFEE3F7-7CF4-534A-87BE-A59E779B02F9}"/>
          </ac:spMkLst>
        </pc:spChg>
        <pc:spChg chg="mod">
          <ac:chgData name="Cornago, Fernando" userId="048a41c0-cb7a-447c-b2ac-f7c7348706e9" providerId="ADAL" clId="{9A5DB92F-12BF-B84C-BF79-2D8D18E29C35}" dt="2021-05-02T09:32:47.155" v="1921"/>
          <ac:spMkLst>
            <pc:docMk/>
            <pc:sldMk cId="3719256506" sldId="367"/>
            <ac:spMk id="352" creationId="{85637338-D52C-E74A-8C2C-DCCFFE07626A}"/>
          </ac:spMkLst>
        </pc:spChg>
        <pc:spChg chg="mod">
          <ac:chgData name="Cornago, Fernando" userId="048a41c0-cb7a-447c-b2ac-f7c7348706e9" providerId="ADAL" clId="{9A5DB92F-12BF-B84C-BF79-2D8D18E29C35}" dt="2021-05-02T09:32:47.155" v="1921"/>
          <ac:spMkLst>
            <pc:docMk/>
            <pc:sldMk cId="3719256506" sldId="367"/>
            <ac:spMk id="353" creationId="{C4C78876-4A90-C342-A5D9-F7D9F36BE26E}"/>
          </ac:spMkLst>
        </pc:spChg>
        <pc:spChg chg="mod">
          <ac:chgData name="Cornago, Fernando" userId="048a41c0-cb7a-447c-b2ac-f7c7348706e9" providerId="ADAL" clId="{9A5DB92F-12BF-B84C-BF79-2D8D18E29C35}" dt="2021-05-02T09:32:47.155" v="1921"/>
          <ac:spMkLst>
            <pc:docMk/>
            <pc:sldMk cId="3719256506" sldId="367"/>
            <ac:spMk id="354" creationId="{8577EAED-E6E2-8944-9DB3-AAEEAAE1BBBD}"/>
          </ac:spMkLst>
        </pc:spChg>
        <pc:spChg chg="mod">
          <ac:chgData name="Cornago, Fernando" userId="048a41c0-cb7a-447c-b2ac-f7c7348706e9" providerId="ADAL" clId="{9A5DB92F-12BF-B84C-BF79-2D8D18E29C35}" dt="2021-05-02T09:32:47.155" v="1921"/>
          <ac:spMkLst>
            <pc:docMk/>
            <pc:sldMk cId="3719256506" sldId="367"/>
            <ac:spMk id="355" creationId="{2869729D-3BA0-B041-B2EB-B2F56C96BDAC}"/>
          </ac:spMkLst>
        </pc:spChg>
        <pc:spChg chg="mod">
          <ac:chgData name="Cornago, Fernando" userId="048a41c0-cb7a-447c-b2ac-f7c7348706e9" providerId="ADAL" clId="{9A5DB92F-12BF-B84C-BF79-2D8D18E29C35}" dt="2021-05-02T09:32:47.155" v="1921"/>
          <ac:spMkLst>
            <pc:docMk/>
            <pc:sldMk cId="3719256506" sldId="367"/>
            <ac:spMk id="356" creationId="{FD2D1C4F-4364-0F4C-8F45-4A1255359F0A}"/>
          </ac:spMkLst>
        </pc:spChg>
        <pc:spChg chg="mod">
          <ac:chgData name="Cornago, Fernando" userId="048a41c0-cb7a-447c-b2ac-f7c7348706e9" providerId="ADAL" clId="{9A5DB92F-12BF-B84C-BF79-2D8D18E29C35}" dt="2021-05-02T09:32:47.155" v="1921"/>
          <ac:spMkLst>
            <pc:docMk/>
            <pc:sldMk cId="3719256506" sldId="367"/>
            <ac:spMk id="357" creationId="{29064BBE-9D06-8840-B639-21998B7BC829}"/>
          </ac:spMkLst>
        </pc:spChg>
        <pc:spChg chg="mod">
          <ac:chgData name="Cornago, Fernando" userId="048a41c0-cb7a-447c-b2ac-f7c7348706e9" providerId="ADAL" clId="{9A5DB92F-12BF-B84C-BF79-2D8D18E29C35}" dt="2021-05-02T09:32:47.155" v="1921"/>
          <ac:spMkLst>
            <pc:docMk/>
            <pc:sldMk cId="3719256506" sldId="367"/>
            <ac:spMk id="358" creationId="{9C0FAAFD-FC31-D44E-A07A-613C423C7184}"/>
          </ac:spMkLst>
        </pc:spChg>
        <pc:spChg chg="mod">
          <ac:chgData name="Cornago, Fernando" userId="048a41c0-cb7a-447c-b2ac-f7c7348706e9" providerId="ADAL" clId="{9A5DB92F-12BF-B84C-BF79-2D8D18E29C35}" dt="2021-05-02T09:32:47.155" v="1921"/>
          <ac:spMkLst>
            <pc:docMk/>
            <pc:sldMk cId="3719256506" sldId="367"/>
            <ac:spMk id="359" creationId="{0D3DE465-3355-794E-B886-25CC05AE9FF4}"/>
          </ac:spMkLst>
        </pc:spChg>
        <pc:spChg chg="mod">
          <ac:chgData name="Cornago, Fernando" userId="048a41c0-cb7a-447c-b2ac-f7c7348706e9" providerId="ADAL" clId="{9A5DB92F-12BF-B84C-BF79-2D8D18E29C35}" dt="2021-05-02T09:32:47.155" v="1921"/>
          <ac:spMkLst>
            <pc:docMk/>
            <pc:sldMk cId="3719256506" sldId="367"/>
            <ac:spMk id="360" creationId="{A07D6BD4-4030-5640-BF22-A6C4FEA07B45}"/>
          </ac:spMkLst>
        </pc:spChg>
        <pc:spChg chg="mod">
          <ac:chgData name="Cornago, Fernando" userId="048a41c0-cb7a-447c-b2ac-f7c7348706e9" providerId="ADAL" clId="{9A5DB92F-12BF-B84C-BF79-2D8D18E29C35}" dt="2021-05-02T09:32:47.155" v="1921"/>
          <ac:spMkLst>
            <pc:docMk/>
            <pc:sldMk cId="3719256506" sldId="367"/>
            <ac:spMk id="361" creationId="{E0E528B5-04AB-BE4F-9E16-686C7DADA412}"/>
          </ac:spMkLst>
        </pc:spChg>
        <pc:spChg chg="mod">
          <ac:chgData name="Cornago, Fernando" userId="048a41c0-cb7a-447c-b2ac-f7c7348706e9" providerId="ADAL" clId="{9A5DB92F-12BF-B84C-BF79-2D8D18E29C35}" dt="2021-05-02T09:32:47.155" v="1921"/>
          <ac:spMkLst>
            <pc:docMk/>
            <pc:sldMk cId="3719256506" sldId="367"/>
            <ac:spMk id="362" creationId="{00DA15BA-863B-B042-AF60-BD87EB84A690}"/>
          </ac:spMkLst>
        </pc:spChg>
        <pc:spChg chg="mod">
          <ac:chgData name="Cornago, Fernando" userId="048a41c0-cb7a-447c-b2ac-f7c7348706e9" providerId="ADAL" clId="{9A5DB92F-12BF-B84C-BF79-2D8D18E29C35}" dt="2021-05-02T09:32:47.155" v="1921"/>
          <ac:spMkLst>
            <pc:docMk/>
            <pc:sldMk cId="3719256506" sldId="367"/>
            <ac:spMk id="363" creationId="{E9A20562-C54F-8244-9DA6-9D28163726C4}"/>
          </ac:spMkLst>
        </pc:spChg>
        <pc:spChg chg="mod">
          <ac:chgData name="Cornago, Fernando" userId="048a41c0-cb7a-447c-b2ac-f7c7348706e9" providerId="ADAL" clId="{9A5DB92F-12BF-B84C-BF79-2D8D18E29C35}" dt="2021-05-02T09:32:47.155" v="1921"/>
          <ac:spMkLst>
            <pc:docMk/>
            <pc:sldMk cId="3719256506" sldId="367"/>
            <ac:spMk id="364" creationId="{5EAC82CB-A367-FD42-8B84-0D90B648AA33}"/>
          </ac:spMkLst>
        </pc:spChg>
        <pc:spChg chg="mod">
          <ac:chgData name="Cornago, Fernando" userId="048a41c0-cb7a-447c-b2ac-f7c7348706e9" providerId="ADAL" clId="{9A5DB92F-12BF-B84C-BF79-2D8D18E29C35}" dt="2021-05-02T09:32:47.155" v="1921"/>
          <ac:spMkLst>
            <pc:docMk/>
            <pc:sldMk cId="3719256506" sldId="367"/>
            <ac:spMk id="365" creationId="{FDD2FA2D-26D7-C84D-81B9-D377F09B8888}"/>
          </ac:spMkLst>
        </pc:spChg>
        <pc:spChg chg="mod">
          <ac:chgData name="Cornago, Fernando" userId="048a41c0-cb7a-447c-b2ac-f7c7348706e9" providerId="ADAL" clId="{9A5DB92F-12BF-B84C-BF79-2D8D18E29C35}" dt="2021-05-02T09:32:47.155" v="1921"/>
          <ac:spMkLst>
            <pc:docMk/>
            <pc:sldMk cId="3719256506" sldId="367"/>
            <ac:spMk id="366" creationId="{22A07920-76FC-5C43-8524-D18BEF2605CB}"/>
          </ac:spMkLst>
        </pc:spChg>
        <pc:spChg chg="mod">
          <ac:chgData name="Cornago, Fernando" userId="048a41c0-cb7a-447c-b2ac-f7c7348706e9" providerId="ADAL" clId="{9A5DB92F-12BF-B84C-BF79-2D8D18E29C35}" dt="2021-05-02T09:32:47.155" v="1921"/>
          <ac:spMkLst>
            <pc:docMk/>
            <pc:sldMk cId="3719256506" sldId="367"/>
            <ac:spMk id="367" creationId="{A92838EE-A428-9F41-9D97-57FFB6F38710}"/>
          </ac:spMkLst>
        </pc:spChg>
        <pc:spChg chg="mod">
          <ac:chgData name="Cornago, Fernando" userId="048a41c0-cb7a-447c-b2ac-f7c7348706e9" providerId="ADAL" clId="{9A5DB92F-12BF-B84C-BF79-2D8D18E29C35}" dt="2021-05-02T09:32:47.155" v="1921"/>
          <ac:spMkLst>
            <pc:docMk/>
            <pc:sldMk cId="3719256506" sldId="367"/>
            <ac:spMk id="368" creationId="{22C16648-006B-9742-BF16-00F41783D897}"/>
          </ac:spMkLst>
        </pc:spChg>
        <pc:spChg chg="mod">
          <ac:chgData name="Cornago, Fernando" userId="048a41c0-cb7a-447c-b2ac-f7c7348706e9" providerId="ADAL" clId="{9A5DB92F-12BF-B84C-BF79-2D8D18E29C35}" dt="2021-05-02T09:32:47.155" v="1921"/>
          <ac:spMkLst>
            <pc:docMk/>
            <pc:sldMk cId="3719256506" sldId="367"/>
            <ac:spMk id="369" creationId="{4D9AEB4F-2B36-8845-9355-A2FC00143FF9}"/>
          </ac:spMkLst>
        </pc:spChg>
        <pc:spChg chg="mod">
          <ac:chgData name="Cornago, Fernando" userId="048a41c0-cb7a-447c-b2ac-f7c7348706e9" providerId="ADAL" clId="{9A5DB92F-12BF-B84C-BF79-2D8D18E29C35}" dt="2021-05-02T09:32:47.155" v="1921"/>
          <ac:spMkLst>
            <pc:docMk/>
            <pc:sldMk cId="3719256506" sldId="367"/>
            <ac:spMk id="370" creationId="{A60C34F4-D230-0E4F-BC60-BA1562790C89}"/>
          </ac:spMkLst>
        </pc:spChg>
        <pc:spChg chg="mod">
          <ac:chgData name="Cornago, Fernando" userId="048a41c0-cb7a-447c-b2ac-f7c7348706e9" providerId="ADAL" clId="{9A5DB92F-12BF-B84C-BF79-2D8D18E29C35}" dt="2021-05-02T09:32:47.155" v="1921"/>
          <ac:spMkLst>
            <pc:docMk/>
            <pc:sldMk cId="3719256506" sldId="367"/>
            <ac:spMk id="371" creationId="{4A8E776A-95FF-E34B-829B-4ADC526ACC2B}"/>
          </ac:spMkLst>
        </pc:spChg>
        <pc:spChg chg="mod">
          <ac:chgData name="Cornago, Fernando" userId="048a41c0-cb7a-447c-b2ac-f7c7348706e9" providerId="ADAL" clId="{9A5DB92F-12BF-B84C-BF79-2D8D18E29C35}" dt="2021-05-02T09:32:47.155" v="1921"/>
          <ac:spMkLst>
            <pc:docMk/>
            <pc:sldMk cId="3719256506" sldId="367"/>
            <ac:spMk id="372" creationId="{F3542BB7-A322-654D-AAB6-7A108BE142AE}"/>
          </ac:spMkLst>
        </pc:spChg>
        <pc:spChg chg="mod">
          <ac:chgData name="Cornago, Fernando" userId="048a41c0-cb7a-447c-b2ac-f7c7348706e9" providerId="ADAL" clId="{9A5DB92F-12BF-B84C-BF79-2D8D18E29C35}" dt="2021-05-02T09:32:47.155" v="1921"/>
          <ac:spMkLst>
            <pc:docMk/>
            <pc:sldMk cId="3719256506" sldId="367"/>
            <ac:spMk id="373" creationId="{36E90F8E-82D2-3947-A49E-B8AE81A715E9}"/>
          </ac:spMkLst>
        </pc:spChg>
        <pc:spChg chg="mod">
          <ac:chgData name="Cornago, Fernando" userId="048a41c0-cb7a-447c-b2ac-f7c7348706e9" providerId="ADAL" clId="{9A5DB92F-12BF-B84C-BF79-2D8D18E29C35}" dt="2021-05-02T09:32:47.155" v="1921"/>
          <ac:spMkLst>
            <pc:docMk/>
            <pc:sldMk cId="3719256506" sldId="367"/>
            <ac:spMk id="374" creationId="{D1D7B1FA-FF1C-8B4E-BA39-4166084B452E}"/>
          </ac:spMkLst>
        </pc:spChg>
        <pc:spChg chg="mod">
          <ac:chgData name="Cornago, Fernando" userId="048a41c0-cb7a-447c-b2ac-f7c7348706e9" providerId="ADAL" clId="{9A5DB92F-12BF-B84C-BF79-2D8D18E29C35}" dt="2021-05-02T09:32:47.155" v="1921"/>
          <ac:spMkLst>
            <pc:docMk/>
            <pc:sldMk cId="3719256506" sldId="367"/>
            <ac:spMk id="375" creationId="{247E6196-C250-DF41-B10F-9C3C2B2E4866}"/>
          </ac:spMkLst>
        </pc:spChg>
        <pc:spChg chg="mod">
          <ac:chgData name="Cornago, Fernando" userId="048a41c0-cb7a-447c-b2ac-f7c7348706e9" providerId="ADAL" clId="{9A5DB92F-12BF-B84C-BF79-2D8D18E29C35}" dt="2021-05-02T09:32:47.155" v="1921"/>
          <ac:spMkLst>
            <pc:docMk/>
            <pc:sldMk cId="3719256506" sldId="367"/>
            <ac:spMk id="376" creationId="{8362A232-B67D-4540-8090-A6AD4C6F9484}"/>
          </ac:spMkLst>
        </pc:spChg>
        <pc:spChg chg="mod">
          <ac:chgData name="Cornago, Fernando" userId="048a41c0-cb7a-447c-b2ac-f7c7348706e9" providerId="ADAL" clId="{9A5DB92F-12BF-B84C-BF79-2D8D18E29C35}" dt="2021-05-02T09:32:47.155" v="1921"/>
          <ac:spMkLst>
            <pc:docMk/>
            <pc:sldMk cId="3719256506" sldId="367"/>
            <ac:spMk id="377" creationId="{E9BBC06F-FE68-4F42-90F0-263119E11FA9}"/>
          </ac:spMkLst>
        </pc:spChg>
        <pc:spChg chg="mod">
          <ac:chgData name="Cornago, Fernando" userId="048a41c0-cb7a-447c-b2ac-f7c7348706e9" providerId="ADAL" clId="{9A5DB92F-12BF-B84C-BF79-2D8D18E29C35}" dt="2021-05-02T09:32:47.155" v="1921"/>
          <ac:spMkLst>
            <pc:docMk/>
            <pc:sldMk cId="3719256506" sldId="367"/>
            <ac:spMk id="378" creationId="{BFBFEB37-EB7B-6546-837C-6B710B3A64D5}"/>
          </ac:spMkLst>
        </pc:spChg>
        <pc:spChg chg="mod">
          <ac:chgData name="Cornago, Fernando" userId="048a41c0-cb7a-447c-b2ac-f7c7348706e9" providerId="ADAL" clId="{9A5DB92F-12BF-B84C-BF79-2D8D18E29C35}" dt="2021-05-02T09:32:47.155" v="1921"/>
          <ac:spMkLst>
            <pc:docMk/>
            <pc:sldMk cId="3719256506" sldId="367"/>
            <ac:spMk id="379" creationId="{C794115B-BFFC-DB48-9778-F6516E20DFCA}"/>
          </ac:spMkLst>
        </pc:spChg>
        <pc:spChg chg="mod">
          <ac:chgData name="Cornago, Fernando" userId="048a41c0-cb7a-447c-b2ac-f7c7348706e9" providerId="ADAL" clId="{9A5DB92F-12BF-B84C-BF79-2D8D18E29C35}" dt="2021-05-02T09:32:47.155" v="1921"/>
          <ac:spMkLst>
            <pc:docMk/>
            <pc:sldMk cId="3719256506" sldId="367"/>
            <ac:spMk id="380" creationId="{A168571B-6CF1-3C41-AEB9-13774E3B1622}"/>
          </ac:spMkLst>
        </pc:spChg>
        <pc:spChg chg="mod">
          <ac:chgData name="Cornago, Fernando" userId="048a41c0-cb7a-447c-b2ac-f7c7348706e9" providerId="ADAL" clId="{9A5DB92F-12BF-B84C-BF79-2D8D18E29C35}" dt="2021-05-02T09:32:47.155" v="1921"/>
          <ac:spMkLst>
            <pc:docMk/>
            <pc:sldMk cId="3719256506" sldId="367"/>
            <ac:spMk id="381" creationId="{D71E23B1-0FB1-E146-8F53-88AA8433D860}"/>
          </ac:spMkLst>
        </pc:spChg>
        <pc:spChg chg="mod">
          <ac:chgData name="Cornago, Fernando" userId="048a41c0-cb7a-447c-b2ac-f7c7348706e9" providerId="ADAL" clId="{9A5DB92F-12BF-B84C-BF79-2D8D18E29C35}" dt="2021-05-02T09:32:47.155" v="1921"/>
          <ac:spMkLst>
            <pc:docMk/>
            <pc:sldMk cId="3719256506" sldId="367"/>
            <ac:spMk id="382" creationId="{AFE8BA3B-3386-D640-AB21-3533E9E5B680}"/>
          </ac:spMkLst>
        </pc:spChg>
        <pc:spChg chg="mod">
          <ac:chgData name="Cornago, Fernando" userId="048a41c0-cb7a-447c-b2ac-f7c7348706e9" providerId="ADAL" clId="{9A5DB92F-12BF-B84C-BF79-2D8D18E29C35}" dt="2021-05-02T09:32:47.155" v="1921"/>
          <ac:spMkLst>
            <pc:docMk/>
            <pc:sldMk cId="3719256506" sldId="367"/>
            <ac:spMk id="383" creationId="{077AF62F-4EF3-1A4B-BDA8-60BAFF069594}"/>
          </ac:spMkLst>
        </pc:spChg>
        <pc:spChg chg="mod">
          <ac:chgData name="Cornago, Fernando" userId="048a41c0-cb7a-447c-b2ac-f7c7348706e9" providerId="ADAL" clId="{9A5DB92F-12BF-B84C-BF79-2D8D18E29C35}" dt="2021-05-02T09:32:47.155" v="1921"/>
          <ac:spMkLst>
            <pc:docMk/>
            <pc:sldMk cId="3719256506" sldId="367"/>
            <ac:spMk id="384" creationId="{C0E99C12-6D11-E446-BBDB-C517CBF5849E}"/>
          </ac:spMkLst>
        </pc:spChg>
        <pc:spChg chg="mod">
          <ac:chgData name="Cornago, Fernando" userId="048a41c0-cb7a-447c-b2ac-f7c7348706e9" providerId="ADAL" clId="{9A5DB92F-12BF-B84C-BF79-2D8D18E29C35}" dt="2021-05-02T09:32:47.155" v="1921"/>
          <ac:spMkLst>
            <pc:docMk/>
            <pc:sldMk cId="3719256506" sldId="367"/>
            <ac:spMk id="385" creationId="{F2762F7B-0A89-5A48-9544-E3D110D1E2AE}"/>
          </ac:spMkLst>
        </pc:spChg>
        <pc:spChg chg="mod">
          <ac:chgData name="Cornago, Fernando" userId="048a41c0-cb7a-447c-b2ac-f7c7348706e9" providerId="ADAL" clId="{9A5DB92F-12BF-B84C-BF79-2D8D18E29C35}" dt="2021-05-02T09:32:47.155" v="1921"/>
          <ac:spMkLst>
            <pc:docMk/>
            <pc:sldMk cId="3719256506" sldId="367"/>
            <ac:spMk id="386" creationId="{E65A1D09-9659-EC4D-B2E2-4313E139F271}"/>
          </ac:spMkLst>
        </pc:spChg>
        <pc:spChg chg="mod">
          <ac:chgData name="Cornago, Fernando" userId="048a41c0-cb7a-447c-b2ac-f7c7348706e9" providerId="ADAL" clId="{9A5DB92F-12BF-B84C-BF79-2D8D18E29C35}" dt="2021-05-02T09:32:47.155" v="1921"/>
          <ac:spMkLst>
            <pc:docMk/>
            <pc:sldMk cId="3719256506" sldId="367"/>
            <ac:spMk id="387" creationId="{B481E2D6-8AFC-054C-929D-92AEE3374AAA}"/>
          </ac:spMkLst>
        </pc:spChg>
        <pc:spChg chg="mod">
          <ac:chgData name="Cornago, Fernando" userId="048a41c0-cb7a-447c-b2ac-f7c7348706e9" providerId="ADAL" clId="{9A5DB92F-12BF-B84C-BF79-2D8D18E29C35}" dt="2021-05-02T09:32:47.155" v="1921"/>
          <ac:spMkLst>
            <pc:docMk/>
            <pc:sldMk cId="3719256506" sldId="367"/>
            <ac:spMk id="388" creationId="{3C7B8AC8-64C7-584F-B075-00DA754E5957}"/>
          </ac:spMkLst>
        </pc:spChg>
        <pc:spChg chg="mod">
          <ac:chgData name="Cornago, Fernando" userId="048a41c0-cb7a-447c-b2ac-f7c7348706e9" providerId="ADAL" clId="{9A5DB92F-12BF-B84C-BF79-2D8D18E29C35}" dt="2021-05-02T09:32:47.155" v="1921"/>
          <ac:spMkLst>
            <pc:docMk/>
            <pc:sldMk cId="3719256506" sldId="367"/>
            <ac:spMk id="389" creationId="{5DC95A0D-421D-3D44-8FC5-B61E5AADD882}"/>
          </ac:spMkLst>
        </pc:spChg>
        <pc:spChg chg="mod">
          <ac:chgData name="Cornago, Fernando" userId="048a41c0-cb7a-447c-b2ac-f7c7348706e9" providerId="ADAL" clId="{9A5DB92F-12BF-B84C-BF79-2D8D18E29C35}" dt="2021-05-02T09:32:47.155" v="1921"/>
          <ac:spMkLst>
            <pc:docMk/>
            <pc:sldMk cId="3719256506" sldId="367"/>
            <ac:spMk id="390" creationId="{14DE7827-0908-6B4C-80AC-2026FC8CEB92}"/>
          </ac:spMkLst>
        </pc:spChg>
        <pc:spChg chg="mod">
          <ac:chgData name="Cornago, Fernando" userId="048a41c0-cb7a-447c-b2ac-f7c7348706e9" providerId="ADAL" clId="{9A5DB92F-12BF-B84C-BF79-2D8D18E29C35}" dt="2021-05-02T09:32:47.155" v="1921"/>
          <ac:spMkLst>
            <pc:docMk/>
            <pc:sldMk cId="3719256506" sldId="367"/>
            <ac:spMk id="391" creationId="{24370CD9-EFEC-5647-A3E0-D50C9CB5A6B5}"/>
          </ac:spMkLst>
        </pc:spChg>
        <pc:spChg chg="mod">
          <ac:chgData name="Cornago, Fernando" userId="048a41c0-cb7a-447c-b2ac-f7c7348706e9" providerId="ADAL" clId="{9A5DB92F-12BF-B84C-BF79-2D8D18E29C35}" dt="2021-05-02T09:32:47.155" v="1921"/>
          <ac:spMkLst>
            <pc:docMk/>
            <pc:sldMk cId="3719256506" sldId="367"/>
            <ac:spMk id="392" creationId="{E0D63055-935A-C543-9BFC-B7067E6B7BC8}"/>
          </ac:spMkLst>
        </pc:spChg>
        <pc:spChg chg="mod">
          <ac:chgData name="Cornago, Fernando" userId="048a41c0-cb7a-447c-b2ac-f7c7348706e9" providerId="ADAL" clId="{9A5DB92F-12BF-B84C-BF79-2D8D18E29C35}" dt="2021-05-02T09:32:47.155" v="1921"/>
          <ac:spMkLst>
            <pc:docMk/>
            <pc:sldMk cId="3719256506" sldId="367"/>
            <ac:spMk id="393" creationId="{1C8FD6DA-5D5C-2F48-AF87-87A09BEF3CDE}"/>
          </ac:spMkLst>
        </pc:spChg>
        <pc:spChg chg="mod">
          <ac:chgData name="Cornago, Fernando" userId="048a41c0-cb7a-447c-b2ac-f7c7348706e9" providerId="ADAL" clId="{9A5DB92F-12BF-B84C-BF79-2D8D18E29C35}" dt="2021-05-02T09:32:47.155" v="1921"/>
          <ac:spMkLst>
            <pc:docMk/>
            <pc:sldMk cId="3719256506" sldId="367"/>
            <ac:spMk id="394" creationId="{ACBB96BE-CBB5-E54F-BE47-9E3F6D3B54E7}"/>
          </ac:spMkLst>
        </pc:spChg>
        <pc:spChg chg="mod">
          <ac:chgData name="Cornago, Fernando" userId="048a41c0-cb7a-447c-b2ac-f7c7348706e9" providerId="ADAL" clId="{9A5DB92F-12BF-B84C-BF79-2D8D18E29C35}" dt="2021-05-02T09:32:47.155" v="1921"/>
          <ac:spMkLst>
            <pc:docMk/>
            <pc:sldMk cId="3719256506" sldId="367"/>
            <ac:spMk id="395" creationId="{3F6B7196-2936-744A-BE1E-D6C104EC1123}"/>
          </ac:spMkLst>
        </pc:spChg>
        <pc:spChg chg="mod">
          <ac:chgData name="Cornago, Fernando" userId="048a41c0-cb7a-447c-b2ac-f7c7348706e9" providerId="ADAL" clId="{9A5DB92F-12BF-B84C-BF79-2D8D18E29C35}" dt="2021-05-02T09:32:47.155" v="1921"/>
          <ac:spMkLst>
            <pc:docMk/>
            <pc:sldMk cId="3719256506" sldId="367"/>
            <ac:spMk id="396" creationId="{AE5C502A-622B-4C4E-8575-6EB851614FF8}"/>
          </ac:spMkLst>
        </pc:spChg>
        <pc:spChg chg="mod">
          <ac:chgData name="Cornago, Fernando" userId="048a41c0-cb7a-447c-b2ac-f7c7348706e9" providerId="ADAL" clId="{9A5DB92F-12BF-B84C-BF79-2D8D18E29C35}" dt="2021-05-02T09:32:47.155" v="1921"/>
          <ac:spMkLst>
            <pc:docMk/>
            <pc:sldMk cId="3719256506" sldId="367"/>
            <ac:spMk id="397" creationId="{8E5CB838-57F0-3545-9E24-F940EE2AAE21}"/>
          </ac:spMkLst>
        </pc:spChg>
        <pc:spChg chg="mod">
          <ac:chgData name="Cornago, Fernando" userId="048a41c0-cb7a-447c-b2ac-f7c7348706e9" providerId="ADAL" clId="{9A5DB92F-12BF-B84C-BF79-2D8D18E29C35}" dt="2021-05-02T09:32:47.155" v="1921"/>
          <ac:spMkLst>
            <pc:docMk/>
            <pc:sldMk cId="3719256506" sldId="367"/>
            <ac:spMk id="398" creationId="{0A63B7AE-6EE3-D74B-967E-4DF8996D92C6}"/>
          </ac:spMkLst>
        </pc:spChg>
        <pc:spChg chg="mod">
          <ac:chgData name="Cornago, Fernando" userId="048a41c0-cb7a-447c-b2ac-f7c7348706e9" providerId="ADAL" clId="{9A5DB92F-12BF-B84C-BF79-2D8D18E29C35}" dt="2021-05-02T09:32:47.155" v="1921"/>
          <ac:spMkLst>
            <pc:docMk/>
            <pc:sldMk cId="3719256506" sldId="367"/>
            <ac:spMk id="399" creationId="{F9B86F74-1905-AE4E-9FAD-A1D1D2A2DB64}"/>
          </ac:spMkLst>
        </pc:spChg>
        <pc:spChg chg="mod">
          <ac:chgData name="Cornago, Fernando" userId="048a41c0-cb7a-447c-b2ac-f7c7348706e9" providerId="ADAL" clId="{9A5DB92F-12BF-B84C-BF79-2D8D18E29C35}" dt="2021-05-02T09:32:47.155" v="1921"/>
          <ac:spMkLst>
            <pc:docMk/>
            <pc:sldMk cId="3719256506" sldId="367"/>
            <ac:spMk id="400" creationId="{30493657-520C-4949-851C-BF595F2FB0B0}"/>
          </ac:spMkLst>
        </pc:spChg>
        <pc:spChg chg="mod">
          <ac:chgData name="Cornago, Fernando" userId="048a41c0-cb7a-447c-b2ac-f7c7348706e9" providerId="ADAL" clId="{9A5DB92F-12BF-B84C-BF79-2D8D18E29C35}" dt="2021-05-02T09:32:47.155" v="1921"/>
          <ac:spMkLst>
            <pc:docMk/>
            <pc:sldMk cId="3719256506" sldId="367"/>
            <ac:spMk id="401" creationId="{DE1476AD-075D-4745-A25B-714E912AA0E5}"/>
          </ac:spMkLst>
        </pc:spChg>
        <pc:spChg chg="mod">
          <ac:chgData name="Cornago, Fernando" userId="048a41c0-cb7a-447c-b2ac-f7c7348706e9" providerId="ADAL" clId="{9A5DB92F-12BF-B84C-BF79-2D8D18E29C35}" dt="2021-05-02T09:32:47.155" v="1921"/>
          <ac:spMkLst>
            <pc:docMk/>
            <pc:sldMk cId="3719256506" sldId="367"/>
            <ac:spMk id="402" creationId="{D8A7DDD1-9B16-8D43-9F85-C42A423D6CBF}"/>
          </ac:spMkLst>
        </pc:spChg>
        <pc:spChg chg="mod">
          <ac:chgData name="Cornago, Fernando" userId="048a41c0-cb7a-447c-b2ac-f7c7348706e9" providerId="ADAL" clId="{9A5DB92F-12BF-B84C-BF79-2D8D18E29C35}" dt="2021-05-02T09:32:47.155" v="1921"/>
          <ac:spMkLst>
            <pc:docMk/>
            <pc:sldMk cId="3719256506" sldId="367"/>
            <ac:spMk id="403" creationId="{809AADBF-FEC7-374E-9219-E890B6D1A735}"/>
          </ac:spMkLst>
        </pc:spChg>
        <pc:spChg chg="mod">
          <ac:chgData name="Cornago, Fernando" userId="048a41c0-cb7a-447c-b2ac-f7c7348706e9" providerId="ADAL" clId="{9A5DB92F-12BF-B84C-BF79-2D8D18E29C35}" dt="2021-05-02T09:32:47.155" v="1921"/>
          <ac:spMkLst>
            <pc:docMk/>
            <pc:sldMk cId="3719256506" sldId="367"/>
            <ac:spMk id="404" creationId="{E7D71DC8-1459-B24C-8E58-EBBBE4689BF5}"/>
          </ac:spMkLst>
        </pc:spChg>
        <pc:spChg chg="mod">
          <ac:chgData name="Cornago, Fernando" userId="048a41c0-cb7a-447c-b2ac-f7c7348706e9" providerId="ADAL" clId="{9A5DB92F-12BF-B84C-BF79-2D8D18E29C35}" dt="2021-05-02T09:32:47.155" v="1921"/>
          <ac:spMkLst>
            <pc:docMk/>
            <pc:sldMk cId="3719256506" sldId="367"/>
            <ac:spMk id="405" creationId="{BB26CA95-DD20-094F-8324-53CF063FF186}"/>
          </ac:spMkLst>
        </pc:spChg>
        <pc:spChg chg="mod">
          <ac:chgData name="Cornago, Fernando" userId="048a41c0-cb7a-447c-b2ac-f7c7348706e9" providerId="ADAL" clId="{9A5DB92F-12BF-B84C-BF79-2D8D18E29C35}" dt="2021-05-02T09:32:47.155" v="1921"/>
          <ac:spMkLst>
            <pc:docMk/>
            <pc:sldMk cId="3719256506" sldId="367"/>
            <ac:spMk id="406" creationId="{694FC2F6-2913-7740-AF86-07C8FBE3FE9C}"/>
          </ac:spMkLst>
        </pc:spChg>
        <pc:spChg chg="mod">
          <ac:chgData name="Cornago, Fernando" userId="048a41c0-cb7a-447c-b2ac-f7c7348706e9" providerId="ADAL" clId="{9A5DB92F-12BF-B84C-BF79-2D8D18E29C35}" dt="2021-05-02T09:32:47.155" v="1921"/>
          <ac:spMkLst>
            <pc:docMk/>
            <pc:sldMk cId="3719256506" sldId="367"/>
            <ac:spMk id="407" creationId="{7454893E-6F3B-6F4B-AB42-D2D01636FF30}"/>
          </ac:spMkLst>
        </pc:spChg>
        <pc:spChg chg="mod">
          <ac:chgData name="Cornago, Fernando" userId="048a41c0-cb7a-447c-b2ac-f7c7348706e9" providerId="ADAL" clId="{9A5DB92F-12BF-B84C-BF79-2D8D18E29C35}" dt="2021-05-02T09:32:47.155" v="1921"/>
          <ac:spMkLst>
            <pc:docMk/>
            <pc:sldMk cId="3719256506" sldId="367"/>
            <ac:spMk id="408" creationId="{AEE4B8CE-48DD-D744-91C9-58011644F81C}"/>
          </ac:spMkLst>
        </pc:spChg>
        <pc:spChg chg="mod">
          <ac:chgData name="Cornago, Fernando" userId="048a41c0-cb7a-447c-b2ac-f7c7348706e9" providerId="ADAL" clId="{9A5DB92F-12BF-B84C-BF79-2D8D18E29C35}" dt="2021-05-02T09:32:47.155" v="1921"/>
          <ac:spMkLst>
            <pc:docMk/>
            <pc:sldMk cId="3719256506" sldId="367"/>
            <ac:spMk id="409" creationId="{2AB1C94E-B28F-964B-9131-1AF5976C6BD3}"/>
          </ac:spMkLst>
        </pc:spChg>
        <pc:spChg chg="mod">
          <ac:chgData name="Cornago, Fernando" userId="048a41c0-cb7a-447c-b2ac-f7c7348706e9" providerId="ADAL" clId="{9A5DB92F-12BF-B84C-BF79-2D8D18E29C35}" dt="2021-05-02T09:32:47.155" v="1921"/>
          <ac:spMkLst>
            <pc:docMk/>
            <pc:sldMk cId="3719256506" sldId="367"/>
            <ac:spMk id="410" creationId="{1B8E3D8B-FB42-F941-86DC-481D6DEF2933}"/>
          </ac:spMkLst>
        </pc:spChg>
        <pc:spChg chg="mod">
          <ac:chgData name="Cornago, Fernando" userId="048a41c0-cb7a-447c-b2ac-f7c7348706e9" providerId="ADAL" clId="{9A5DB92F-12BF-B84C-BF79-2D8D18E29C35}" dt="2021-05-02T09:32:47.155" v="1921"/>
          <ac:spMkLst>
            <pc:docMk/>
            <pc:sldMk cId="3719256506" sldId="367"/>
            <ac:spMk id="411" creationId="{5D8737E7-2FFE-534D-B782-D7748C1C2D25}"/>
          </ac:spMkLst>
        </pc:spChg>
        <pc:spChg chg="mod">
          <ac:chgData name="Cornago, Fernando" userId="048a41c0-cb7a-447c-b2ac-f7c7348706e9" providerId="ADAL" clId="{9A5DB92F-12BF-B84C-BF79-2D8D18E29C35}" dt="2021-05-02T09:32:47.155" v="1921"/>
          <ac:spMkLst>
            <pc:docMk/>
            <pc:sldMk cId="3719256506" sldId="367"/>
            <ac:spMk id="412" creationId="{349C52DA-5F1A-CA4D-87B8-D6B8E2432865}"/>
          </ac:spMkLst>
        </pc:spChg>
        <pc:spChg chg="mod">
          <ac:chgData name="Cornago, Fernando" userId="048a41c0-cb7a-447c-b2ac-f7c7348706e9" providerId="ADAL" clId="{9A5DB92F-12BF-B84C-BF79-2D8D18E29C35}" dt="2021-05-02T09:32:47.155" v="1921"/>
          <ac:spMkLst>
            <pc:docMk/>
            <pc:sldMk cId="3719256506" sldId="367"/>
            <ac:spMk id="413" creationId="{142A99EF-0BE2-C941-8041-A038773CE68B}"/>
          </ac:spMkLst>
        </pc:spChg>
        <pc:spChg chg="mod">
          <ac:chgData name="Cornago, Fernando" userId="048a41c0-cb7a-447c-b2ac-f7c7348706e9" providerId="ADAL" clId="{9A5DB92F-12BF-B84C-BF79-2D8D18E29C35}" dt="2021-05-02T09:32:47.155" v="1921"/>
          <ac:spMkLst>
            <pc:docMk/>
            <pc:sldMk cId="3719256506" sldId="367"/>
            <ac:spMk id="414" creationId="{64B86460-3ED9-9749-8515-470F48DC113C}"/>
          </ac:spMkLst>
        </pc:spChg>
        <pc:spChg chg="mod">
          <ac:chgData name="Cornago, Fernando" userId="048a41c0-cb7a-447c-b2ac-f7c7348706e9" providerId="ADAL" clId="{9A5DB92F-12BF-B84C-BF79-2D8D18E29C35}" dt="2021-05-02T09:32:47.155" v="1921"/>
          <ac:spMkLst>
            <pc:docMk/>
            <pc:sldMk cId="3719256506" sldId="367"/>
            <ac:spMk id="415" creationId="{E0ED92E2-FAE8-4C4F-8B18-E2A3C400BEA5}"/>
          </ac:spMkLst>
        </pc:spChg>
        <pc:spChg chg="mod">
          <ac:chgData name="Cornago, Fernando" userId="048a41c0-cb7a-447c-b2ac-f7c7348706e9" providerId="ADAL" clId="{9A5DB92F-12BF-B84C-BF79-2D8D18E29C35}" dt="2021-05-02T09:32:47.155" v="1921"/>
          <ac:spMkLst>
            <pc:docMk/>
            <pc:sldMk cId="3719256506" sldId="367"/>
            <ac:spMk id="416" creationId="{DAABA672-E16B-5549-93AB-39D6694C4696}"/>
          </ac:spMkLst>
        </pc:spChg>
        <pc:spChg chg="mod">
          <ac:chgData name="Cornago, Fernando" userId="048a41c0-cb7a-447c-b2ac-f7c7348706e9" providerId="ADAL" clId="{9A5DB92F-12BF-B84C-BF79-2D8D18E29C35}" dt="2021-05-02T09:32:47.155" v="1921"/>
          <ac:spMkLst>
            <pc:docMk/>
            <pc:sldMk cId="3719256506" sldId="367"/>
            <ac:spMk id="417" creationId="{C5605943-F78C-D64C-8D08-B6CBAEA5868F}"/>
          </ac:spMkLst>
        </pc:spChg>
        <pc:spChg chg="mod">
          <ac:chgData name="Cornago, Fernando" userId="048a41c0-cb7a-447c-b2ac-f7c7348706e9" providerId="ADAL" clId="{9A5DB92F-12BF-B84C-BF79-2D8D18E29C35}" dt="2021-05-02T09:32:47.155" v="1921"/>
          <ac:spMkLst>
            <pc:docMk/>
            <pc:sldMk cId="3719256506" sldId="367"/>
            <ac:spMk id="418" creationId="{9C1E25FC-326C-F543-93BD-E4D5C5BCB643}"/>
          </ac:spMkLst>
        </pc:spChg>
        <pc:spChg chg="mod">
          <ac:chgData name="Cornago, Fernando" userId="048a41c0-cb7a-447c-b2ac-f7c7348706e9" providerId="ADAL" clId="{9A5DB92F-12BF-B84C-BF79-2D8D18E29C35}" dt="2021-05-02T09:32:47.155" v="1921"/>
          <ac:spMkLst>
            <pc:docMk/>
            <pc:sldMk cId="3719256506" sldId="367"/>
            <ac:spMk id="419" creationId="{0BFF642A-4755-AD46-8720-E6B1E2C27DC8}"/>
          </ac:spMkLst>
        </pc:spChg>
        <pc:spChg chg="mod">
          <ac:chgData name="Cornago, Fernando" userId="048a41c0-cb7a-447c-b2ac-f7c7348706e9" providerId="ADAL" clId="{9A5DB92F-12BF-B84C-BF79-2D8D18E29C35}" dt="2021-05-02T09:32:47.155" v="1921"/>
          <ac:spMkLst>
            <pc:docMk/>
            <pc:sldMk cId="3719256506" sldId="367"/>
            <ac:spMk id="420" creationId="{A04BCBDB-D73A-5E48-BCEB-0C5CF7680FAC}"/>
          </ac:spMkLst>
        </pc:spChg>
        <pc:spChg chg="mod">
          <ac:chgData name="Cornago, Fernando" userId="048a41c0-cb7a-447c-b2ac-f7c7348706e9" providerId="ADAL" clId="{9A5DB92F-12BF-B84C-BF79-2D8D18E29C35}" dt="2021-05-02T09:32:47.155" v="1921"/>
          <ac:spMkLst>
            <pc:docMk/>
            <pc:sldMk cId="3719256506" sldId="367"/>
            <ac:spMk id="421" creationId="{88CA3D12-81D0-434A-88AD-63D4F23101CE}"/>
          </ac:spMkLst>
        </pc:spChg>
        <pc:spChg chg="mod">
          <ac:chgData name="Cornago, Fernando" userId="048a41c0-cb7a-447c-b2ac-f7c7348706e9" providerId="ADAL" clId="{9A5DB92F-12BF-B84C-BF79-2D8D18E29C35}" dt="2021-05-02T09:32:47.155" v="1921"/>
          <ac:spMkLst>
            <pc:docMk/>
            <pc:sldMk cId="3719256506" sldId="367"/>
            <ac:spMk id="422" creationId="{8E485AD7-D266-824F-B5CC-0A1011A05501}"/>
          </ac:spMkLst>
        </pc:spChg>
        <pc:spChg chg="mod">
          <ac:chgData name="Cornago, Fernando" userId="048a41c0-cb7a-447c-b2ac-f7c7348706e9" providerId="ADAL" clId="{9A5DB92F-12BF-B84C-BF79-2D8D18E29C35}" dt="2021-05-02T09:32:47.155" v="1921"/>
          <ac:spMkLst>
            <pc:docMk/>
            <pc:sldMk cId="3719256506" sldId="367"/>
            <ac:spMk id="423" creationId="{0C1C8787-DA1A-104B-B0B6-0B113C17388B}"/>
          </ac:spMkLst>
        </pc:spChg>
        <pc:spChg chg="mod">
          <ac:chgData name="Cornago, Fernando" userId="048a41c0-cb7a-447c-b2ac-f7c7348706e9" providerId="ADAL" clId="{9A5DB92F-12BF-B84C-BF79-2D8D18E29C35}" dt="2021-05-02T09:32:47.155" v="1921"/>
          <ac:spMkLst>
            <pc:docMk/>
            <pc:sldMk cId="3719256506" sldId="367"/>
            <ac:spMk id="424" creationId="{67D9B253-01E0-DA48-9A4B-D586E925796A}"/>
          </ac:spMkLst>
        </pc:spChg>
        <pc:spChg chg="mod">
          <ac:chgData name="Cornago, Fernando" userId="048a41c0-cb7a-447c-b2ac-f7c7348706e9" providerId="ADAL" clId="{9A5DB92F-12BF-B84C-BF79-2D8D18E29C35}" dt="2021-05-02T09:32:47.155" v="1921"/>
          <ac:spMkLst>
            <pc:docMk/>
            <pc:sldMk cId="3719256506" sldId="367"/>
            <ac:spMk id="425" creationId="{F060F471-23AD-774D-9B90-6BAE2AEFD7D6}"/>
          </ac:spMkLst>
        </pc:spChg>
        <pc:spChg chg="mod">
          <ac:chgData name="Cornago, Fernando" userId="048a41c0-cb7a-447c-b2ac-f7c7348706e9" providerId="ADAL" clId="{9A5DB92F-12BF-B84C-BF79-2D8D18E29C35}" dt="2021-05-02T09:32:47.155" v="1921"/>
          <ac:spMkLst>
            <pc:docMk/>
            <pc:sldMk cId="3719256506" sldId="367"/>
            <ac:spMk id="426" creationId="{377CF4FC-1368-374D-8502-DCB11041684F}"/>
          </ac:spMkLst>
        </pc:spChg>
        <pc:spChg chg="mod">
          <ac:chgData name="Cornago, Fernando" userId="048a41c0-cb7a-447c-b2ac-f7c7348706e9" providerId="ADAL" clId="{9A5DB92F-12BF-B84C-BF79-2D8D18E29C35}" dt="2021-05-02T09:32:47.155" v="1921"/>
          <ac:spMkLst>
            <pc:docMk/>
            <pc:sldMk cId="3719256506" sldId="367"/>
            <ac:spMk id="427" creationId="{FDDA3211-3D8D-8E41-9A60-A83CEA28BF1B}"/>
          </ac:spMkLst>
        </pc:spChg>
        <pc:spChg chg="mod">
          <ac:chgData name="Cornago, Fernando" userId="048a41c0-cb7a-447c-b2ac-f7c7348706e9" providerId="ADAL" clId="{9A5DB92F-12BF-B84C-BF79-2D8D18E29C35}" dt="2021-05-02T09:32:47.155" v="1921"/>
          <ac:spMkLst>
            <pc:docMk/>
            <pc:sldMk cId="3719256506" sldId="367"/>
            <ac:spMk id="428" creationId="{04AD5087-DB46-E044-9902-80EE863AE9C6}"/>
          </ac:spMkLst>
        </pc:spChg>
        <pc:spChg chg="mod">
          <ac:chgData name="Cornago, Fernando" userId="048a41c0-cb7a-447c-b2ac-f7c7348706e9" providerId="ADAL" clId="{9A5DB92F-12BF-B84C-BF79-2D8D18E29C35}" dt="2021-05-02T09:32:47.155" v="1921"/>
          <ac:spMkLst>
            <pc:docMk/>
            <pc:sldMk cId="3719256506" sldId="367"/>
            <ac:spMk id="429" creationId="{456CA075-686D-6E4F-9708-7916409D6FDB}"/>
          </ac:spMkLst>
        </pc:spChg>
        <pc:spChg chg="mod">
          <ac:chgData name="Cornago, Fernando" userId="048a41c0-cb7a-447c-b2ac-f7c7348706e9" providerId="ADAL" clId="{9A5DB92F-12BF-B84C-BF79-2D8D18E29C35}" dt="2021-05-02T09:32:47.155" v="1921"/>
          <ac:spMkLst>
            <pc:docMk/>
            <pc:sldMk cId="3719256506" sldId="367"/>
            <ac:spMk id="430" creationId="{A6BFDC28-4B75-044C-A34C-671612BE5C13}"/>
          </ac:spMkLst>
        </pc:spChg>
        <pc:spChg chg="mod">
          <ac:chgData name="Cornago, Fernando" userId="048a41c0-cb7a-447c-b2ac-f7c7348706e9" providerId="ADAL" clId="{9A5DB92F-12BF-B84C-BF79-2D8D18E29C35}" dt="2021-05-02T09:32:47.155" v="1921"/>
          <ac:spMkLst>
            <pc:docMk/>
            <pc:sldMk cId="3719256506" sldId="367"/>
            <ac:spMk id="431" creationId="{2DCFB1DD-F147-444F-AA71-7DB0F63062D3}"/>
          </ac:spMkLst>
        </pc:spChg>
        <pc:spChg chg="mod">
          <ac:chgData name="Cornago, Fernando" userId="048a41c0-cb7a-447c-b2ac-f7c7348706e9" providerId="ADAL" clId="{9A5DB92F-12BF-B84C-BF79-2D8D18E29C35}" dt="2021-05-02T09:32:47.155" v="1921"/>
          <ac:spMkLst>
            <pc:docMk/>
            <pc:sldMk cId="3719256506" sldId="367"/>
            <ac:spMk id="432" creationId="{15E480E5-EFD0-AD4A-900A-952A5FC90A00}"/>
          </ac:spMkLst>
        </pc:spChg>
        <pc:spChg chg="mod">
          <ac:chgData name="Cornago, Fernando" userId="048a41c0-cb7a-447c-b2ac-f7c7348706e9" providerId="ADAL" clId="{9A5DB92F-12BF-B84C-BF79-2D8D18E29C35}" dt="2021-05-02T09:32:47.155" v="1921"/>
          <ac:spMkLst>
            <pc:docMk/>
            <pc:sldMk cId="3719256506" sldId="367"/>
            <ac:spMk id="433" creationId="{2EB304B8-CC02-734F-B637-AADFBDF35D55}"/>
          </ac:spMkLst>
        </pc:spChg>
        <pc:spChg chg="mod">
          <ac:chgData name="Cornago, Fernando" userId="048a41c0-cb7a-447c-b2ac-f7c7348706e9" providerId="ADAL" clId="{9A5DB92F-12BF-B84C-BF79-2D8D18E29C35}" dt="2021-05-02T09:32:47.155" v="1921"/>
          <ac:spMkLst>
            <pc:docMk/>
            <pc:sldMk cId="3719256506" sldId="367"/>
            <ac:spMk id="434" creationId="{B8E5365D-0150-D840-9228-1FAEB4691802}"/>
          </ac:spMkLst>
        </pc:spChg>
        <pc:spChg chg="mod">
          <ac:chgData name="Cornago, Fernando" userId="048a41c0-cb7a-447c-b2ac-f7c7348706e9" providerId="ADAL" clId="{9A5DB92F-12BF-B84C-BF79-2D8D18E29C35}" dt="2021-05-02T09:32:47.155" v="1921"/>
          <ac:spMkLst>
            <pc:docMk/>
            <pc:sldMk cId="3719256506" sldId="367"/>
            <ac:spMk id="435" creationId="{58A05DC4-33A4-9649-AC3A-E634A810199C}"/>
          </ac:spMkLst>
        </pc:spChg>
        <pc:spChg chg="mod">
          <ac:chgData name="Cornago, Fernando" userId="048a41c0-cb7a-447c-b2ac-f7c7348706e9" providerId="ADAL" clId="{9A5DB92F-12BF-B84C-BF79-2D8D18E29C35}" dt="2021-05-02T09:32:47.155" v="1921"/>
          <ac:spMkLst>
            <pc:docMk/>
            <pc:sldMk cId="3719256506" sldId="367"/>
            <ac:spMk id="436" creationId="{3DF60327-E308-6047-B17E-61C9BC18BFB9}"/>
          </ac:spMkLst>
        </pc:spChg>
        <pc:spChg chg="mod">
          <ac:chgData name="Cornago, Fernando" userId="048a41c0-cb7a-447c-b2ac-f7c7348706e9" providerId="ADAL" clId="{9A5DB92F-12BF-B84C-BF79-2D8D18E29C35}" dt="2021-05-02T09:32:47.155" v="1921"/>
          <ac:spMkLst>
            <pc:docMk/>
            <pc:sldMk cId="3719256506" sldId="367"/>
            <ac:spMk id="437" creationId="{0C4AF6A8-310C-8C47-A1EB-16431DC8B548}"/>
          </ac:spMkLst>
        </pc:spChg>
        <pc:spChg chg="mod">
          <ac:chgData name="Cornago, Fernando" userId="048a41c0-cb7a-447c-b2ac-f7c7348706e9" providerId="ADAL" clId="{9A5DB92F-12BF-B84C-BF79-2D8D18E29C35}" dt="2021-05-02T09:32:47.155" v="1921"/>
          <ac:spMkLst>
            <pc:docMk/>
            <pc:sldMk cId="3719256506" sldId="367"/>
            <ac:spMk id="438" creationId="{093A403F-61E5-4A47-8D6A-45F812AC8D9D}"/>
          </ac:spMkLst>
        </pc:spChg>
        <pc:spChg chg="mod">
          <ac:chgData name="Cornago, Fernando" userId="048a41c0-cb7a-447c-b2ac-f7c7348706e9" providerId="ADAL" clId="{9A5DB92F-12BF-B84C-BF79-2D8D18E29C35}" dt="2021-05-02T09:32:47.155" v="1921"/>
          <ac:spMkLst>
            <pc:docMk/>
            <pc:sldMk cId="3719256506" sldId="367"/>
            <ac:spMk id="439" creationId="{8FFAE1AD-50DC-EF40-A097-58B30CC3CE97}"/>
          </ac:spMkLst>
        </pc:spChg>
        <pc:spChg chg="mod">
          <ac:chgData name="Cornago, Fernando" userId="048a41c0-cb7a-447c-b2ac-f7c7348706e9" providerId="ADAL" clId="{9A5DB92F-12BF-B84C-BF79-2D8D18E29C35}" dt="2021-05-02T09:32:47.155" v="1921"/>
          <ac:spMkLst>
            <pc:docMk/>
            <pc:sldMk cId="3719256506" sldId="367"/>
            <ac:spMk id="440" creationId="{7D6907E4-1E28-C745-BF4F-ADB32C6618CC}"/>
          </ac:spMkLst>
        </pc:spChg>
        <pc:spChg chg="mod">
          <ac:chgData name="Cornago, Fernando" userId="048a41c0-cb7a-447c-b2ac-f7c7348706e9" providerId="ADAL" clId="{9A5DB92F-12BF-B84C-BF79-2D8D18E29C35}" dt="2021-05-02T09:32:47.155" v="1921"/>
          <ac:spMkLst>
            <pc:docMk/>
            <pc:sldMk cId="3719256506" sldId="367"/>
            <ac:spMk id="441" creationId="{988B85EA-20E4-4F40-92D7-B5087EC20684}"/>
          </ac:spMkLst>
        </pc:spChg>
        <pc:spChg chg="mod">
          <ac:chgData name="Cornago, Fernando" userId="048a41c0-cb7a-447c-b2ac-f7c7348706e9" providerId="ADAL" clId="{9A5DB92F-12BF-B84C-BF79-2D8D18E29C35}" dt="2021-05-02T09:32:47.155" v="1921"/>
          <ac:spMkLst>
            <pc:docMk/>
            <pc:sldMk cId="3719256506" sldId="367"/>
            <ac:spMk id="442" creationId="{6224340D-90A7-2447-AD36-6382A881D54B}"/>
          </ac:spMkLst>
        </pc:spChg>
        <pc:spChg chg="mod">
          <ac:chgData name="Cornago, Fernando" userId="048a41c0-cb7a-447c-b2ac-f7c7348706e9" providerId="ADAL" clId="{9A5DB92F-12BF-B84C-BF79-2D8D18E29C35}" dt="2021-05-02T09:32:47.155" v="1921"/>
          <ac:spMkLst>
            <pc:docMk/>
            <pc:sldMk cId="3719256506" sldId="367"/>
            <ac:spMk id="443" creationId="{80E3FCCC-253A-AB40-BC4F-27BE68E78E5E}"/>
          </ac:spMkLst>
        </pc:spChg>
        <pc:spChg chg="mod">
          <ac:chgData name="Cornago, Fernando" userId="048a41c0-cb7a-447c-b2ac-f7c7348706e9" providerId="ADAL" clId="{9A5DB92F-12BF-B84C-BF79-2D8D18E29C35}" dt="2021-05-02T09:32:47.155" v="1921"/>
          <ac:spMkLst>
            <pc:docMk/>
            <pc:sldMk cId="3719256506" sldId="367"/>
            <ac:spMk id="444" creationId="{39D3CC79-FC5B-1540-A315-9F53571B504B}"/>
          </ac:spMkLst>
        </pc:spChg>
        <pc:spChg chg="mod">
          <ac:chgData name="Cornago, Fernando" userId="048a41c0-cb7a-447c-b2ac-f7c7348706e9" providerId="ADAL" clId="{9A5DB92F-12BF-B84C-BF79-2D8D18E29C35}" dt="2021-05-02T09:32:47.155" v="1921"/>
          <ac:spMkLst>
            <pc:docMk/>
            <pc:sldMk cId="3719256506" sldId="367"/>
            <ac:spMk id="445" creationId="{9280784D-B94A-2844-BC5F-DF8A7CBFB2F6}"/>
          </ac:spMkLst>
        </pc:spChg>
        <pc:spChg chg="mod">
          <ac:chgData name="Cornago, Fernando" userId="048a41c0-cb7a-447c-b2ac-f7c7348706e9" providerId="ADAL" clId="{9A5DB92F-12BF-B84C-BF79-2D8D18E29C35}" dt="2021-05-02T09:32:47.155" v="1921"/>
          <ac:spMkLst>
            <pc:docMk/>
            <pc:sldMk cId="3719256506" sldId="367"/>
            <ac:spMk id="446" creationId="{8D988F7B-4646-8343-AA32-8824C36DCA69}"/>
          </ac:spMkLst>
        </pc:spChg>
        <pc:spChg chg="mod">
          <ac:chgData name="Cornago, Fernando" userId="048a41c0-cb7a-447c-b2ac-f7c7348706e9" providerId="ADAL" clId="{9A5DB92F-12BF-B84C-BF79-2D8D18E29C35}" dt="2021-05-02T09:32:47.155" v="1921"/>
          <ac:spMkLst>
            <pc:docMk/>
            <pc:sldMk cId="3719256506" sldId="367"/>
            <ac:spMk id="447" creationId="{FEC32B90-188B-F44C-99A2-B09E0327B06F}"/>
          </ac:spMkLst>
        </pc:spChg>
        <pc:spChg chg="mod">
          <ac:chgData name="Cornago, Fernando" userId="048a41c0-cb7a-447c-b2ac-f7c7348706e9" providerId="ADAL" clId="{9A5DB92F-12BF-B84C-BF79-2D8D18E29C35}" dt="2021-05-02T09:32:47.155" v="1921"/>
          <ac:spMkLst>
            <pc:docMk/>
            <pc:sldMk cId="3719256506" sldId="367"/>
            <ac:spMk id="448" creationId="{84F25DD1-C265-0A4E-8108-B2A475D15AEF}"/>
          </ac:spMkLst>
        </pc:spChg>
        <pc:spChg chg="mod">
          <ac:chgData name="Cornago, Fernando" userId="048a41c0-cb7a-447c-b2ac-f7c7348706e9" providerId="ADAL" clId="{9A5DB92F-12BF-B84C-BF79-2D8D18E29C35}" dt="2021-05-02T09:32:47.155" v="1921"/>
          <ac:spMkLst>
            <pc:docMk/>
            <pc:sldMk cId="3719256506" sldId="367"/>
            <ac:spMk id="449" creationId="{03069085-D432-6146-8DF3-57A5F5D7AB27}"/>
          </ac:spMkLst>
        </pc:spChg>
        <pc:spChg chg="mod">
          <ac:chgData name="Cornago, Fernando" userId="048a41c0-cb7a-447c-b2ac-f7c7348706e9" providerId="ADAL" clId="{9A5DB92F-12BF-B84C-BF79-2D8D18E29C35}" dt="2021-05-02T09:32:47.155" v="1921"/>
          <ac:spMkLst>
            <pc:docMk/>
            <pc:sldMk cId="3719256506" sldId="367"/>
            <ac:spMk id="450" creationId="{B17BCEDC-61AC-DF4C-8660-0B27C442C5F2}"/>
          </ac:spMkLst>
        </pc:spChg>
        <pc:spChg chg="add del mod">
          <ac:chgData name="Cornago, Fernando" userId="048a41c0-cb7a-447c-b2ac-f7c7348706e9" providerId="ADAL" clId="{9A5DB92F-12BF-B84C-BF79-2D8D18E29C35}" dt="2021-05-02T09:32:50.472" v="1922"/>
          <ac:spMkLst>
            <pc:docMk/>
            <pc:sldMk cId="3719256506" sldId="367"/>
            <ac:spMk id="451" creationId="{3B5B426B-67F1-4541-A2DC-A4F766256CE3}"/>
          </ac:spMkLst>
        </pc:spChg>
        <pc:spChg chg="add del mod">
          <ac:chgData name="Cornago, Fernando" userId="048a41c0-cb7a-447c-b2ac-f7c7348706e9" providerId="ADAL" clId="{9A5DB92F-12BF-B84C-BF79-2D8D18E29C35}" dt="2021-05-02T09:32:50.472" v="1922"/>
          <ac:spMkLst>
            <pc:docMk/>
            <pc:sldMk cId="3719256506" sldId="367"/>
            <ac:spMk id="452" creationId="{F516E476-325D-9A42-8763-0F16241B4369}"/>
          </ac:spMkLst>
        </pc:spChg>
        <pc:spChg chg="add del mod">
          <ac:chgData name="Cornago, Fernando" userId="048a41c0-cb7a-447c-b2ac-f7c7348706e9" providerId="ADAL" clId="{9A5DB92F-12BF-B84C-BF79-2D8D18E29C35}" dt="2021-05-02T09:32:50.472" v="1922"/>
          <ac:spMkLst>
            <pc:docMk/>
            <pc:sldMk cId="3719256506" sldId="367"/>
            <ac:spMk id="453" creationId="{5B767E61-CA12-1F42-B479-5F707F30AD30}"/>
          </ac:spMkLst>
        </pc:spChg>
        <pc:spChg chg="add del mod">
          <ac:chgData name="Cornago, Fernando" userId="048a41c0-cb7a-447c-b2ac-f7c7348706e9" providerId="ADAL" clId="{9A5DB92F-12BF-B84C-BF79-2D8D18E29C35}" dt="2021-05-02T09:32:50.472" v="1922"/>
          <ac:spMkLst>
            <pc:docMk/>
            <pc:sldMk cId="3719256506" sldId="367"/>
            <ac:spMk id="454" creationId="{ACAF17EC-3912-144B-8998-95D6B0159637}"/>
          </ac:spMkLst>
        </pc:spChg>
        <pc:spChg chg="add del mod">
          <ac:chgData name="Cornago, Fernando" userId="048a41c0-cb7a-447c-b2ac-f7c7348706e9" providerId="ADAL" clId="{9A5DB92F-12BF-B84C-BF79-2D8D18E29C35}" dt="2021-05-02T09:32:50.472" v="1922"/>
          <ac:spMkLst>
            <pc:docMk/>
            <pc:sldMk cId="3719256506" sldId="367"/>
            <ac:spMk id="455" creationId="{C8AD1FD4-87CA-F843-900B-1676569D8B69}"/>
          </ac:spMkLst>
        </pc:spChg>
        <pc:spChg chg="add del mod">
          <ac:chgData name="Cornago, Fernando" userId="048a41c0-cb7a-447c-b2ac-f7c7348706e9" providerId="ADAL" clId="{9A5DB92F-12BF-B84C-BF79-2D8D18E29C35}" dt="2021-05-02T09:32:50.472" v="1922"/>
          <ac:spMkLst>
            <pc:docMk/>
            <pc:sldMk cId="3719256506" sldId="367"/>
            <ac:spMk id="457" creationId="{3A6289FC-6352-6F48-B468-4853A7184B35}"/>
          </ac:spMkLst>
        </pc:spChg>
        <pc:spChg chg="add del mod">
          <ac:chgData name="Cornago, Fernando" userId="048a41c0-cb7a-447c-b2ac-f7c7348706e9" providerId="ADAL" clId="{9A5DB92F-12BF-B84C-BF79-2D8D18E29C35}" dt="2021-05-02T09:32:50.472" v="1922"/>
          <ac:spMkLst>
            <pc:docMk/>
            <pc:sldMk cId="3719256506" sldId="367"/>
            <ac:spMk id="459" creationId="{344E711F-840B-984C-AA30-704E29CF93D0}"/>
          </ac:spMkLst>
        </pc:spChg>
        <pc:spChg chg="add del mod">
          <ac:chgData name="Cornago, Fernando" userId="048a41c0-cb7a-447c-b2ac-f7c7348706e9" providerId="ADAL" clId="{9A5DB92F-12BF-B84C-BF79-2D8D18E29C35}" dt="2021-05-02T09:32:50.472" v="1922"/>
          <ac:spMkLst>
            <pc:docMk/>
            <pc:sldMk cId="3719256506" sldId="367"/>
            <ac:spMk id="461" creationId="{C3D80A5A-1525-1844-80EE-AA31BABC50B3}"/>
          </ac:spMkLst>
        </pc:spChg>
        <pc:spChg chg="add del mod">
          <ac:chgData name="Cornago, Fernando" userId="048a41c0-cb7a-447c-b2ac-f7c7348706e9" providerId="ADAL" clId="{9A5DB92F-12BF-B84C-BF79-2D8D18E29C35}" dt="2021-05-02T09:32:50.472" v="1922"/>
          <ac:spMkLst>
            <pc:docMk/>
            <pc:sldMk cId="3719256506" sldId="367"/>
            <ac:spMk id="463" creationId="{790743B0-33E2-CE4E-B26B-C282AC0AF593}"/>
          </ac:spMkLst>
        </pc:spChg>
        <pc:spChg chg="mod">
          <ac:chgData name="Cornago, Fernando" userId="048a41c0-cb7a-447c-b2ac-f7c7348706e9" providerId="ADAL" clId="{9A5DB92F-12BF-B84C-BF79-2D8D18E29C35}" dt="2021-05-02T09:32:47.155" v="1921"/>
          <ac:spMkLst>
            <pc:docMk/>
            <pc:sldMk cId="3719256506" sldId="367"/>
            <ac:spMk id="465" creationId="{34F64091-A745-3F49-8B99-BF0F6B1B2DF1}"/>
          </ac:spMkLst>
        </pc:spChg>
        <pc:spChg chg="mod">
          <ac:chgData name="Cornago, Fernando" userId="048a41c0-cb7a-447c-b2ac-f7c7348706e9" providerId="ADAL" clId="{9A5DB92F-12BF-B84C-BF79-2D8D18E29C35}" dt="2021-05-02T09:32:47.155" v="1921"/>
          <ac:spMkLst>
            <pc:docMk/>
            <pc:sldMk cId="3719256506" sldId="367"/>
            <ac:spMk id="466" creationId="{10C196AD-8971-3541-86F5-F153EAE18799}"/>
          </ac:spMkLst>
        </pc:spChg>
        <pc:spChg chg="add del mod">
          <ac:chgData name="Cornago, Fernando" userId="048a41c0-cb7a-447c-b2ac-f7c7348706e9" providerId="ADAL" clId="{9A5DB92F-12BF-B84C-BF79-2D8D18E29C35}" dt="2021-05-02T09:32:50.472" v="1922"/>
          <ac:spMkLst>
            <pc:docMk/>
            <pc:sldMk cId="3719256506" sldId="367"/>
            <ac:spMk id="468" creationId="{8889F270-1588-2248-8023-4011286B61E6}"/>
          </ac:spMkLst>
        </pc:spChg>
        <pc:spChg chg="add del mod">
          <ac:chgData name="Cornago, Fernando" userId="048a41c0-cb7a-447c-b2ac-f7c7348706e9" providerId="ADAL" clId="{9A5DB92F-12BF-B84C-BF79-2D8D18E29C35}" dt="2021-05-02T09:32:50.472" v="1922"/>
          <ac:spMkLst>
            <pc:docMk/>
            <pc:sldMk cId="3719256506" sldId="367"/>
            <ac:spMk id="469" creationId="{87EA81CF-412B-0143-BA0A-AF0DCF5BCC67}"/>
          </ac:spMkLst>
        </pc:spChg>
        <pc:spChg chg="add del mod">
          <ac:chgData name="Cornago, Fernando" userId="048a41c0-cb7a-447c-b2ac-f7c7348706e9" providerId="ADAL" clId="{9A5DB92F-12BF-B84C-BF79-2D8D18E29C35}" dt="2021-05-02T09:32:50.472" v="1922"/>
          <ac:spMkLst>
            <pc:docMk/>
            <pc:sldMk cId="3719256506" sldId="367"/>
            <ac:spMk id="471" creationId="{0B8331B3-F29F-214D-A979-1CD9CD47ACE1}"/>
          </ac:spMkLst>
        </pc:spChg>
        <pc:spChg chg="add del mod">
          <ac:chgData name="Cornago, Fernando" userId="048a41c0-cb7a-447c-b2ac-f7c7348706e9" providerId="ADAL" clId="{9A5DB92F-12BF-B84C-BF79-2D8D18E29C35}" dt="2021-05-02T09:32:50.472" v="1922"/>
          <ac:spMkLst>
            <pc:docMk/>
            <pc:sldMk cId="3719256506" sldId="367"/>
            <ac:spMk id="472" creationId="{328BBD65-883C-2C41-AC30-C24D4C140762}"/>
          </ac:spMkLst>
        </pc:spChg>
        <pc:spChg chg="add del mod">
          <ac:chgData name="Cornago, Fernando" userId="048a41c0-cb7a-447c-b2ac-f7c7348706e9" providerId="ADAL" clId="{9A5DB92F-12BF-B84C-BF79-2D8D18E29C35}" dt="2021-05-02T09:32:50.472" v="1922"/>
          <ac:spMkLst>
            <pc:docMk/>
            <pc:sldMk cId="3719256506" sldId="367"/>
            <ac:spMk id="474" creationId="{E3121AE2-95B6-1241-8D72-002E54D59DF9}"/>
          </ac:spMkLst>
        </pc:spChg>
        <pc:spChg chg="add del mod">
          <ac:chgData name="Cornago, Fernando" userId="048a41c0-cb7a-447c-b2ac-f7c7348706e9" providerId="ADAL" clId="{9A5DB92F-12BF-B84C-BF79-2D8D18E29C35}" dt="2021-05-02T09:32:50.472" v="1922"/>
          <ac:spMkLst>
            <pc:docMk/>
            <pc:sldMk cId="3719256506" sldId="367"/>
            <ac:spMk id="475" creationId="{DDF7F431-D263-C546-B786-9611D8335CC6}"/>
          </ac:spMkLst>
        </pc:spChg>
        <pc:spChg chg="add del mod">
          <ac:chgData name="Cornago, Fernando" userId="048a41c0-cb7a-447c-b2ac-f7c7348706e9" providerId="ADAL" clId="{9A5DB92F-12BF-B84C-BF79-2D8D18E29C35}" dt="2021-05-02T09:32:50.472" v="1922"/>
          <ac:spMkLst>
            <pc:docMk/>
            <pc:sldMk cId="3719256506" sldId="367"/>
            <ac:spMk id="476" creationId="{31A364E3-BD0E-124F-B3D4-3DC6EE2AE76F}"/>
          </ac:spMkLst>
        </pc:spChg>
        <pc:spChg chg="add del mod">
          <ac:chgData name="Cornago, Fernando" userId="048a41c0-cb7a-447c-b2ac-f7c7348706e9" providerId="ADAL" clId="{9A5DB92F-12BF-B84C-BF79-2D8D18E29C35}" dt="2021-05-02T09:32:50.472" v="1922"/>
          <ac:spMkLst>
            <pc:docMk/>
            <pc:sldMk cId="3719256506" sldId="367"/>
            <ac:spMk id="477" creationId="{2FC53D61-5AD7-C143-A02D-1F1313DA0AD8}"/>
          </ac:spMkLst>
        </pc:spChg>
        <pc:spChg chg="add del mod">
          <ac:chgData name="Cornago, Fernando" userId="048a41c0-cb7a-447c-b2ac-f7c7348706e9" providerId="ADAL" clId="{9A5DB92F-12BF-B84C-BF79-2D8D18E29C35}" dt="2021-05-02T09:32:50.472" v="1922"/>
          <ac:spMkLst>
            <pc:docMk/>
            <pc:sldMk cId="3719256506" sldId="367"/>
            <ac:spMk id="478" creationId="{C14F4685-B4D0-6741-BE66-05B1374B4BAA}"/>
          </ac:spMkLst>
        </pc:spChg>
        <pc:spChg chg="add del mod">
          <ac:chgData name="Cornago, Fernando" userId="048a41c0-cb7a-447c-b2ac-f7c7348706e9" providerId="ADAL" clId="{9A5DB92F-12BF-B84C-BF79-2D8D18E29C35}" dt="2021-05-02T09:32:50.472" v="1922"/>
          <ac:spMkLst>
            <pc:docMk/>
            <pc:sldMk cId="3719256506" sldId="367"/>
            <ac:spMk id="479" creationId="{94070A15-1CB1-874F-9AEE-AE25D98D4E76}"/>
          </ac:spMkLst>
        </pc:spChg>
        <pc:spChg chg="add del mod">
          <ac:chgData name="Cornago, Fernando" userId="048a41c0-cb7a-447c-b2ac-f7c7348706e9" providerId="ADAL" clId="{9A5DB92F-12BF-B84C-BF79-2D8D18E29C35}" dt="2021-05-02T09:32:50.472" v="1922"/>
          <ac:spMkLst>
            <pc:docMk/>
            <pc:sldMk cId="3719256506" sldId="367"/>
            <ac:spMk id="480" creationId="{0B995FEF-6840-F64D-89CD-A1C7C4E77CF3}"/>
          </ac:spMkLst>
        </pc:spChg>
        <pc:grpChg chg="del">
          <ac:chgData name="Cornago, Fernando" userId="048a41c0-cb7a-447c-b2ac-f7c7348706e9" providerId="ADAL" clId="{9A5DB92F-12BF-B84C-BF79-2D8D18E29C35}" dt="2021-05-02T09:32:28.177" v="1920" actId="478"/>
          <ac:grpSpMkLst>
            <pc:docMk/>
            <pc:sldMk cId="3719256506" sldId="367"/>
            <ac:grpSpMk id="16" creationId="{3359B188-A4E3-7B46-AC22-60DEB25C889F}"/>
          </ac:grpSpMkLst>
        </pc:grpChg>
        <pc:grpChg chg="add del mod">
          <ac:chgData name="Cornago, Fernando" userId="048a41c0-cb7a-447c-b2ac-f7c7348706e9" providerId="ADAL" clId="{9A5DB92F-12BF-B84C-BF79-2D8D18E29C35}" dt="2021-05-02T09:32:50.472" v="1922"/>
          <ac:grpSpMkLst>
            <pc:docMk/>
            <pc:sldMk cId="3719256506" sldId="367"/>
            <ac:grpSpMk id="237" creationId="{E709D9F2-58F6-3043-9BC2-8DD9BC98863A}"/>
          </ac:grpSpMkLst>
        </pc:grpChg>
        <pc:grpChg chg="add del mod">
          <ac:chgData name="Cornago, Fernando" userId="048a41c0-cb7a-447c-b2ac-f7c7348706e9" providerId="ADAL" clId="{9A5DB92F-12BF-B84C-BF79-2D8D18E29C35}" dt="2021-05-02T09:32:50.472" v="1922"/>
          <ac:grpSpMkLst>
            <pc:docMk/>
            <pc:sldMk cId="3719256506" sldId="367"/>
            <ac:grpSpMk id="240" creationId="{C8FF3BDA-E146-2E44-A886-DB08588E51DA}"/>
          </ac:grpSpMkLst>
        </pc:grpChg>
        <pc:grpChg chg="add del mod">
          <ac:chgData name="Cornago, Fernando" userId="048a41c0-cb7a-447c-b2ac-f7c7348706e9" providerId="ADAL" clId="{9A5DB92F-12BF-B84C-BF79-2D8D18E29C35}" dt="2021-05-02T09:32:50.472" v="1922"/>
          <ac:grpSpMkLst>
            <pc:docMk/>
            <pc:sldMk cId="3719256506" sldId="367"/>
            <ac:grpSpMk id="464" creationId="{A2557C3E-BA91-4243-9ECF-723223D31502}"/>
          </ac:grpSpMkLst>
        </pc:grpChg>
        <pc:picChg chg="add mod">
          <ac:chgData name="Cornago, Fernando" userId="048a41c0-cb7a-447c-b2ac-f7c7348706e9" providerId="ADAL" clId="{9A5DB92F-12BF-B84C-BF79-2D8D18E29C35}" dt="2021-05-02T09:32:59.235" v="1926" actId="1076"/>
          <ac:picMkLst>
            <pc:docMk/>
            <pc:sldMk cId="3719256506" sldId="367"/>
            <ac:picMk id="2" creationId="{FCD21D00-1018-2F46-BE37-5F4B08B10BA6}"/>
          </ac:picMkLst>
        </pc:picChg>
        <pc:inkChg chg="add del mod">
          <ac:chgData name="Cornago, Fernando" userId="048a41c0-cb7a-447c-b2ac-f7c7348706e9" providerId="ADAL" clId="{9A5DB92F-12BF-B84C-BF79-2D8D18E29C35}" dt="2021-05-02T09:32:50.472" v="1922"/>
          <ac:inkMkLst>
            <pc:docMk/>
            <pc:sldMk cId="3719256506" sldId="367"/>
            <ac:inkMk id="467" creationId="{442DD7FB-CDDC-544D-941D-BC04ABB2EF19}"/>
          </ac:inkMkLst>
        </pc:inkChg>
        <pc:cxnChg chg="add del mod">
          <ac:chgData name="Cornago, Fernando" userId="048a41c0-cb7a-447c-b2ac-f7c7348706e9" providerId="ADAL" clId="{9A5DB92F-12BF-B84C-BF79-2D8D18E29C35}" dt="2021-05-02T09:32:50.472" v="1922"/>
          <ac:cxnSpMkLst>
            <pc:docMk/>
            <pc:sldMk cId="3719256506" sldId="367"/>
            <ac:cxnSpMk id="235" creationId="{EFABF6BE-6C2C-7440-8FAC-21C004F0E7D3}"/>
          </ac:cxnSpMkLst>
        </pc:cxnChg>
        <pc:cxnChg chg="add del mod">
          <ac:chgData name="Cornago, Fernando" userId="048a41c0-cb7a-447c-b2ac-f7c7348706e9" providerId="ADAL" clId="{9A5DB92F-12BF-B84C-BF79-2D8D18E29C35}" dt="2021-05-02T09:32:50.472" v="1922"/>
          <ac:cxnSpMkLst>
            <pc:docMk/>
            <pc:sldMk cId="3719256506" sldId="367"/>
            <ac:cxnSpMk id="236" creationId="{A6B6B14C-95A8-544F-859F-9760967A2FD1}"/>
          </ac:cxnSpMkLst>
        </pc:cxnChg>
        <pc:cxnChg chg="add del mod">
          <ac:chgData name="Cornago, Fernando" userId="048a41c0-cb7a-447c-b2ac-f7c7348706e9" providerId="ADAL" clId="{9A5DB92F-12BF-B84C-BF79-2D8D18E29C35}" dt="2021-05-02T09:32:50.472" v="1922"/>
          <ac:cxnSpMkLst>
            <pc:docMk/>
            <pc:sldMk cId="3719256506" sldId="367"/>
            <ac:cxnSpMk id="456" creationId="{2DCC49B5-1B1F-D242-AE90-9DC15EAE37C6}"/>
          </ac:cxnSpMkLst>
        </pc:cxnChg>
        <pc:cxnChg chg="add del mod">
          <ac:chgData name="Cornago, Fernando" userId="048a41c0-cb7a-447c-b2ac-f7c7348706e9" providerId="ADAL" clId="{9A5DB92F-12BF-B84C-BF79-2D8D18E29C35}" dt="2021-05-02T09:32:50.472" v="1922"/>
          <ac:cxnSpMkLst>
            <pc:docMk/>
            <pc:sldMk cId="3719256506" sldId="367"/>
            <ac:cxnSpMk id="458" creationId="{B2325B6C-C488-2C4F-8823-91F68EBEED9A}"/>
          </ac:cxnSpMkLst>
        </pc:cxnChg>
        <pc:cxnChg chg="add del mod">
          <ac:chgData name="Cornago, Fernando" userId="048a41c0-cb7a-447c-b2ac-f7c7348706e9" providerId="ADAL" clId="{9A5DB92F-12BF-B84C-BF79-2D8D18E29C35}" dt="2021-05-02T09:32:50.472" v="1922"/>
          <ac:cxnSpMkLst>
            <pc:docMk/>
            <pc:sldMk cId="3719256506" sldId="367"/>
            <ac:cxnSpMk id="460" creationId="{A06E0F16-1B8C-0E4B-98D1-C3E67A580FBC}"/>
          </ac:cxnSpMkLst>
        </pc:cxnChg>
        <pc:cxnChg chg="add del mod">
          <ac:chgData name="Cornago, Fernando" userId="048a41c0-cb7a-447c-b2ac-f7c7348706e9" providerId="ADAL" clId="{9A5DB92F-12BF-B84C-BF79-2D8D18E29C35}" dt="2021-05-02T09:32:50.472" v="1922"/>
          <ac:cxnSpMkLst>
            <pc:docMk/>
            <pc:sldMk cId="3719256506" sldId="367"/>
            <ac:cxnSpMk id="462" creationId="{21138B00-2303-4040-9C28-C552394D955E}"/>
          </ac:cxnSpMkLst>
        </pc:cxnChg>
        <pc:cxnChg chg="add del mod">
          <ac:chgData name="Cornago, Fernando" userId="048a41c0-cb7a-447c-b2ac-f7c7348706e9" providerId="ADAL" clId="{9A5DB92F-12BF-B84C-BF79-2D8D18E29C35}" dt="2021-05-02T09:32:50.472" v="1922"/>
          <ac:cxnSpMkLst>
            <pc:docMk/>
            <pc:sldMk cId="3719256506" sldId="367"/>
            <ac:cxnSpMk id="470" creationId="{6EB32753-2B08-C44E-BF1E-79EBF636CD37}"/>
          </ac:cxnSpMkLst>
        </pc:cxnChg>
        <pc:cxnChg chg="add del mod">
          <ac:chgData name="Cornago, Fernando" userId="048a41c0-cb7a-447c-b2ac-f7c7348706e9" providerId="ADAL" clId="{9A5DB92F-12BF-B84C-BF79-2D8D18E29C35}" dt="2021-05-02T09:32:50.472" v="1922"/>
          <ac:cxnSpMkLst>
            <pc:docMk/>
            <pc:sldMk cId="3719256506" sldId="367"/>
            <ac:cxnSpMk id="473" creationId="{80AD7A6B-88D9-2248-AE55-A46932202E8B}"/>
          </ac:cxnSpMkLst>
        </pc:cxnChg>
        <pc:cxnChg chg="add del mod">
          <ac:chgData name="Cornago, Fernando" userId="048a41c0-cb7a-447c-b2ac-f7c7348706e9" providerId="ADAL" clId="{9A5DB92F-12BF-B84C-BF79-2D8D18E29C35}" dt="2021-05-02T09:32:50.472" v="1922"/>
          <ac:cxnSpMkLst>
            <pc:docMk/>
            <pc:sldMk cId="3719256506" sldId="367"/>
            <ac:cxnSpMk id="481" creationId="{D76CAB63-D08F-8741-8F73-465D1730E389}"/>
          </ac:cxnSpMkLst>
        </pc:cxnChg>
      </pc:sldChg>
      <pc:sldChg chg="del">
        <pc:chgData name="Cornago, Fernando" userId="048a41c0-cb7a-447c-b2ac-f7c7348706e9" providerId="ADAL" clId="{9A5DB92F-12BF-B84C-BF79-2D8D18E29C35}" dt="2021-05-02T09:42:01.048" v="1988" actId="2696"/>
        <pc:sldMkLst>
          <pc:docMk/>
          <pc:sldMk cId="4150564228" sldId="4208"/>
        </pc:sldMkLst>
      </pc:sldChg>
      <pc:sldChg chg="addSp delSp modSp del mod ord modAnim">
        <pc:chgData name="Cornago, Fernando" userId="048a41c0-cb7a-447c-b2ac-f7c7348706e9" providerId="ADAL" clId="{9A5DB92F-12BF-B84C-BF79-2D8D18E29C35}" dt="2021-05-04T07:24:40.658" v="4119" actId="2696"/>
        <pc:sldMkLst>
          <pc:docMk/>
          <pc:sldMk cId="3329268894" sldId="4210"/>
        </pc:sldMkLst>
        <pc:spChg chg="add mod">
          <ac:chgData name="Cornago, Fernando" userId="048a41c0-cb7a-447c-b2ac-f7c7348706e9" providerId="ADAL" clId="{9A5DB92F-12BF-B84C-BF79-2D8D18E29C35}" dt="2021-04-29T13:24:10.507" v="168" actId="403"/>
          <ac:spMkLst>
            <pc:docMk/>
            <pc:sldMk cId="3329268894" sldId="4210"/>
            <ac:spMk id="3" creationId="{8F7914F7-F970-954E-B469-3B2289725500}"/>
          </ac:spMkLst>
        </pc:spChg>
        <pc:spChg chg="del">
          <ac:chgData name="Cornago, Fernando" userId="048a41c0-cb7a-447c-b2ac-f7c7348706e9" providerId="ADAL" clId="{9A5DB92F-12BF-B84C-BF79-2D8D18E29C35}" dt="2021-04-29T13:23:38.109" v="133" actId="478"/>
          <ac:spMkLst>
            <pc:docMk/>
            <pc:sldMk cId="3329268894" sldId="4210"/>
            <ac:spMk id="4" creationId="{8E92EC2D-21D8-B34B-9CE1-001DFCE77B00}"/>
          </ac:spMkLst>
        </pc:spChg>
        <pc:picChg chg="del">
          <ac:chgData name="Cornago, Fernando" userId="048a41c0-cb7a-447c-b2ac-f7c7348706e9" providerId="ADAL" clId="{9A5DB92F-12BF-B84C-BF79-2D8D18E29C35}" dt="2021-04-29T13:23:36.591" v="132" actId="478"/>
          <ac:picMkLst>
            <pc:docMk/>
            <pc:sldMk cId="3329268894" sldId="4210"/>
            <ac:picMk id="2" creationId="{785EEDEE-ED82-DF47-A25C-49A178E2E1A7}"/>
          </ac:picMkLst>
        </pc:picChg>
        <pc:picChg chg="add mod">
          <ac:chgData name="Cornago, Fernando" userId="048a41c0-cb7a-447c-b2ac-f7c7348706e9" providerId="ADAL" clId="{9A5DB92F-12BF-B84C-BF79-2D8D18E29C35}" dt="2021-05-02T07:45:08.997" v="779"/>
          <ac:picMkLst>
            <pc:docMk/>
            <pc:sldMk cId="3329268894" sldId="4210"/>
            <ac:picMk id="2" creationId="{83F24E63-125F-2B4A-8A6F-551A3D63B6D0}"/>
          </ac:picMkLst>
        </pc:picChg>
        <pc:picChg chg="del">
          <ac:chgData name="Cornago, Fernando" userId="048a41c0-cb7a-447c-b2ac-f7c7348706e9" providerId="ADAL" clId="{9A5DB92F-12BF-B84C-BF79-2D8D18E29C35}" dt="2021-04-29T13:23:35.116" v="131" actId="478"/>
          <ac:picMkLst>
            <pc:docMk/>
            <pc:sldMk cId="3329268894" sldId="4210"/>
            <ac:picMk id="5" creationId="{4F31C0E6-2F3D-334E-850D-83F43230E0AB}"/>
          </ac:picMkLst>
        </pc:picChg>
      </pc:sldChg>
      <pc:sldChg chg="modSp del mod">
        <pc:chgData name="Cornago, Fernando" userId="048a41c0-cb7a-447c-b2ac-f7c7348706e9" providerId="ADAL" clId="{9A5DB92F-12BF-B84C-BF79-2D8D18E29C35}" dt="2021-05-04T07:24:40.658" v="4119" actId="2696"/>
        <pc:sldMkLst>
          <pc:docMk/>
          <pc:sldMk cId="4187092051" sldId="4211"/>
        </pc:sldMkLst>
        <pc:spChg chg="mod">
          <ac:chgData name="Cornago, Fernando" userId="048a41c0-cb7a-447c-b2ac-f7c7348706e9" providerId="ADAL" clId="{9A5DB92F-12BF-B84C-BF79-2D8D18E29C35}" dt="2021-04-29T14:52:59.764" v="745" actId="20577"/>
          <ac:spMkLst>
            <pc:docMk/>
            <pc:sldMk cId="4187092051" sldId="4211"/>
            <ac:spMk id="3" creationId="{00000000-0000-0000-0000-000000000000}"/>
          </ac:spMkLst>
        </pc:spChg>
        <pc:spChg chg="mod">
          <ac:chgData name="Cornago, Fernando" userId="048a41c0-cb7a-447c-b2ac-f7c7348706e9" providerId="ADAL" clId="{9A5DB92F-12BF-B84C-BF79-2D8D18E29C35}" dt="2021-04-29T13:21:53.622" v="39" actId="20577"/>
          <ac:spMkLst>
            <pc:docMk/>
            <pc:sldMk cId="4187092051" sldId="4211"/>
            <ac:spMk id="4" creationId="{00000000-0000-0000-0000-000000000000}"/>
          </ac:spMkLst>
        </pc:spChg>
      </pc:sldChg>
      <pc:sldChg chg="addSp delSp modSp del mod">
        <pc:chgData name="Cornago, Fernando" userId="048a41c0-cb7a-447c-b2ac-f7c7348706e9" providerId="ADAL" clId="{9A5DB92F-12BF-B84C-BF79-2D8D18E29C35}" dt="2021-05-04T07:24:40.658" v="4119" actId="2696"/>
        <pc:sldMkLst>
          <pc:docMk/>
          <pc:sldMk cId="1737949822" sldId="4212"/>
        </pc:sldMkLst>
        <pc:spChg chg="mod">
          <ac:chgData name="Cornago, Fernando" userId="048a41c0-cb7a-447c-b2ac-f7c7348706e9" providerId="ADAL" clId="{9A5DB92F-12BF-B84C-BF79-2D8D18E29C35}" dt="2021-04-29T13:23:26.392" v="130" actId="1076"/>
          <ac:spMkLst>
            <pc:docMk/>
            <pc:sldMk cId="1737949822" sldId="4212"/>
            <ac:spMk id="12" creationId="{5F9CF0C3-3F2A-234B-994F-A479917AEFE6}"/>
          </ac:spMkLst>
        </pc:spChg>
        <pc:spChg chg="mod">
          <ac:chgData name="Cornago, Fernando" userId="048a41c0-cb7a-447c-b2ac-f7c7348706e9" providerId="ADAL" clId="{9A5DB92F-12BF-B84C-BF79-2D8D18E29C35}" dt="2021-04-29T13:23:26.392" v="130" actId="1076"/>
          <ac:spMkLst>
            <pc:docMk/>
            <pc:sldMk cId="1737949822" sldId="4212"/>
            <ac:spMk id="13" creationId="{65CBC432-6048-7F43-9555-E689354B8E0D}"/>
          </ac:spMkLst>
        </pc:spChg>
        <pc:spChg chg="add mod">
          <ac:chgData name="Cornago, Fernando" userId="048a41c0-cb7a-447c-b2ac-f7c7348706e9" providerId="ADAL" clId="{9A5DB92F-12BF-B84C-BF79-2D8D18E29C35}" dt="2021-04-29T13:23:26.392" v="130" actId="1076"/>
          <ac:spMkLst>
            <pc:docMk/>
            <pc:sldMk cId="1737949822" sldId="4212"/>
            <ac:spMk id="15" creationId="{B247E750-9DEF-2A43-BA2A-E643BABEB786}"/>
          </ac:spMkLst>
        </pc:spChg>
        <pc:spChg chg="del">
          <ac:chgData name="Cornago, Fernando" userId="048a41c0-cb7a-447c-b2ac-f7c7348706e9" providerId="ADAL" clId="{9A5DB92F-12BF-B84C-BF79-2D8D18E29C35}" dt="2021-04-29T13:22:58.661" v="123" actId="478"/>
          <ac:spMkLst>
            <pc:docMk/>
            <pc:sldMk cId="1737949822" sldId="4212"/>
            <ac:spMk id="17" creationId="{511B06CD-1016-8E42-9519-B1BD73578BCE}"/>
          </ac:spMkLst>
        </pc:spChg>
        <pc:spChg chg="del">
          <ac:chgData name="Cornago, Fernando" userId="048a41c0-cb7a-447c-b2ac-f7c7348706e9" providerId="ADAL" clId="{9A5DB92F-12BF-B84C-BF79-2D8D18E29C35}" dt="2021-04-29T13:23:01.651" v="124" actId="478"/>
          <ac:spMkLst>
            <pc:docMk/>
            <pc:sldMk cId="1737949822" sldId="4212"/>
            <ac:spMk id="18" creationId="{CCE6C260-9680-B842-9803-B36A299F6D3C}"/>
          </ac:spMkLst>
        </pc:spChg>
        <pc:spChg chg="add mod">
          <ac:chgData name="Cornago, Fernando" userId="048a41c0-cb7a-447c-b2ac-f7c7348706e9" providerId="ADAL" clId="{9A5DB92F-12BF-B84C-BF79-2D8D18E29C35}" dt="2021-04-29T13:24:33.014" v="210" actId="20577"/>
          <ac:spMkLst>
            <pc:docMk/>
            <pc:sldMk cId="1737949822" sldId="4212"/>
            <ac:spMk id="19" creationId="{A036EA75-6C4E-5743-BB23-25AAB6ABB730}"/>
          </ac:spMkLst>
        </pc:spChg>
        <pc:spChg chg="add mod">
          <ac:chgData name="Cornago, Fernando" userId="048a41c0-cb7a-447c-b2ac-f7c7348706e9" providerId="ADAL" clId="{9A5DB92F-12BF-B84C-BF79-2D8D18E29C35}" dt="2021-04-29T13:23:26.392" v="130" actId="1076"/>
          <ac:spMkLst>
            <pc:docMk/>
            <pc:sldMk cId="1737949822" sldId="4212"/>
            <ac:spMk id="21" creationId="{1A7526A5-F616-884D-A6FF-DE36811CA7A9}"/>
          </ac:spMkLst>
        </pc:spChg>
        <pc:spChg chg="add mod">
          <ac:chgData name="Cornago, Fernando" userId="048a41c0-cb7a-447c-b2ac-f7c7348706e9" providerId="ADAL" clId="{9A5DB92F-12BF-B84C-BF79-2D8D18E29C35}" dt="2021-04-29T14:46:06.482" v="249" actId="20577"/>
          <ac:spMkLst>
            <pc:docMk/>
            <pc:sldMk cId="1737949822" sldId="4212"/>
            <ac:spMk id="22" creationId="{E35F2CCD-C932-2B43-8461-C0789333C74A}"/>
          </ac:spMkLst>
        </pc:spChg>
        <pc:spChg chg="add mod">
          <ac:chgData name="Cornago, Fernando" userId="048a41c0-cb7a-447c-b2ac-f7c7348706e9" providerId="ADAL" clId="{9A5DB92F-12BF-B84C-BF79-2D8D18E29C35}" dt="2021-04-29T14:46:21.392" v="259" actId="14100"/>
          <ac:spMkLst>
            <pc:docMk/>
            <pc:sldMk cId="1737949822" sldId="4212"/>
            <ac:spMk id="23" creationId="{590E5A6F-4ED5-584B-A8DA-335B2C826EBE}"/>
          </ac:spMkLst>
        </pc:spChg>
        <pc:spChg chg="add mod">
          <ac:chgData name="Cornago, Fernando" userId="048a41c0-cb7a-447c-b2ac-f7c7348706e9" providerId="ADAL" clId="{9A5DB92F-12BF-B84C-BF79-2D8D18E29C35}" dt="2021-04-29T14:46:26.095" v="261" actId="1076"/>
          <ac:spMkLst>
            <pc:docMk/>
            <pc:sldMk cId="1737949822" sldId="4212"/>
            <ac:spMk id="24" creationId="{D2EA1AC6-FBCD-F248-BDDE-0C889AFE810D}"/>
          </ac:spMkLst>
        </pc:spChg>
        <pc:picChg chg="add mod">
          <ac:chgData name="Cornago, Fernando" userId="048a41c0-cb7a-447c-b2ac-f7c7348706e9" providerId="ADAL" clId="{9A5DB92F-12BF-B84C-BF79-2D8D18E29C35}" dt="2021-04-29T13:23:26.392" v="130" actId="1076"/>
          <ac:picMkLst>
            <pc:docMk/>
            <pc:sldMk cId="1737949822" sldId="4212"/>
            <ac:picMk id="11" creationId="{4DD15064-8A11-AE49-B08A-030F7114AA14}"/>
          </ac:picMkLst>
        </pc:picChg>
        <pc:picChg chg="del">
          <ac:chgData name="Cornago, Fernando" userId="048a41c0-cb7a-447c-b2ac-f7c7348706e9" providerId="ADAL" clId="{9A5DB92F-12BF-B84C-BF79-2D8D18E29C35}" dt="2021-04-29T13:22:58.661" v="123" actId="478"/>
          <ac:picMkLst>
            <pc:docMk/>
            <pc:sldMk cId="1737949822" sldId="4212"/>
            <ac:picMk id="14" creationId="{FB7DC4C4-C445-9C41-9CA0-F679681C9821}"/>
          </ac:picMkLst>
        </pc:picChg>
        <pc:picChg chg="mod">
          <ac:chgData name="Cornago, Fernando" userId="048a41c0-cb7a-447c-b2ac-f7c7348706e9" providerId="ADAL" clId="{9A5DB92F-12BF-B84C-BF79-2D8D18E29C35}" dt="2021-04-29T13:23:26.392" v="130" actId="1076"/>
          <ac:picMkLst>
            <pc:docMk/>
            <pc:sldMk cId="1737949822" sldId="4212"/>
            <ac:picMk id="16" creationId="{E1D1C01D-1920-A644-83B7-C548B362C175}"/>
          </ac:picMkLst>
        </pc:picChg>
        <pc:picChg chg="add mod">
          <ac:chgData name="Cornago, Fernando" userId="048a41c0-cb7a-447c-b2ac-f7c7348706e9" providerId="ADAL" clId="{9A5DB92F-12BF-B84C-BF79-2D8D18E29C35}" dt="2021-04-29T13:23:26.392" v="130" actId="1076"/>
          <ac:picMkLst>
            <pc:docMk/>
            <pc:sldMk cId="1737949822" sldId="4212"/>
            <ac:picMk id="20" creationId="{BEA39222-4325-7545-BE04-184D82E42AFE}"/>
          </ac:picMkLst>
        </pc:picChg>
      </pc:sldChg>
      <pc:sldChg chg="del">
        <pc:chgData name="Cornago, Fernando" userId="048a41c0-cb7a-447c-b2ac-f7c7348706e9" providerId="ADAL" clId="{9A5DB92F-12BF-B84C-BF79-2D8D18E29C35}" dt="2021-04-29T14:49:39.891" v="585" actId="2696"/>
        <pc:sldMkLst>
          <pc:docMk/>
          <pc:sldMk cId="2407818743" sldId="4238"/>
        </pc:sldMkLst>
      </pc:sldChg>
      <pc:sldChg chg="del">
        <pc:chgData name="Cornago, Fernando" userId="048a41c0-cb7a-447c-b2ac-f7c7348706e9" providerId="ADAL" clId="{9A5DB92F-12BF-B84C-BF79-2D8D18E29C35}" dt="2021-04-29T14:49:38.929" v="584" actId="2696"/>
        <pc:sldMkLst>
          <pc:docMk/>
          <pc:sldMk cId="3269625109" sldId="4239"/>
        </pc:sldMkLst>
      </pc:sldChg>
      <pc:sldChg chg="del">
        <pc:chgData name="Cornago, Fernando" userId="048a41c0-cb7a-447c-b2ac-f7c7348706e9" providerId="ADAL" clId="{9A5DB92F-12BF-B84C-BF79-2D8D18E29C35}" dt="2021-04-29T14:49:38.337" v="583" actId="2696"/>
        <pc:sldMkLst>
          <pc:docMk/>
          <pc:sldMk cId="2370111492" sldId="4268"/>
        </pc:sldMkLst>
      </pc:sldChg>
      <pc:sldChg chg="del">
        <pc:chgData name="Cornago, Fernando" userId="048a41c0-cb7a-447c-b2ac-f7c7348706e9" providerId="ADAL" clId="{9A5DB92F-12BF-B84C-BF79-2D8D18E29C35}" dt="2021-05-02T09:42:15.591" v="1989" actId="2696"/>
        <pc:sldMkLst>
          <pc:docMk/>
          <pc:sldMk cId="42210473" sldId="4269"/>
        </pc:sldMkLst>
      </pc:sldChg>
      <pc:sldChg chg="del">
        <pc:chgData name="Cornago, Fernando" userId="048a41c0-cb7a-447c-b2ac-f7c7348706e9" providerId="ADAL" clId="{9A5DB92F-12BF-B84C-BF79-2D8D18E29C35}" dt="2021-05-02T09:42:15.591" v="1989" actId="2696"/>
        <pc:sldMkLst>
          <pc:docMk/>
          <pc:sldMk cId="3919801534" sldId="4908"/>
        </pc:sldMkLst>
      </pc:sldChg>
      <pc:sldChg chg="modSp del">
        <pc:chgData name="Cornago, Fernando" userId="048a41c0-cb7a-447c-b2ac-f7c7348706e9" providerId="ADAL" clId="{9A5DB92F-12BF-B84C-BF79-2D8D18E29C35}" dt="2021-05-04T07:12:42.768" v="3025" actId="2696"/>
        <pc:sldMkLst>
          <pc:docMk/>
          <pc:sldMk cId="3086230165" sldId="8686"/>
        </pc:sldMkLst>
        <pc:spChg chg="mod">
          <ac:chgData name="Cornago, Fernando" userId="048a41c0-cb7a-447c-b2ac-f7c7348706e9" providerId="ADAL" clId="{9A5DB92F-12BF-B84C-BF79-2D8D18E29C35}" dt="2021-04-30T15:32:44.352" v="746"/>
          <ac:spMkLst>
            <pc:docMk/>
            <pc:sldMk cId="3086230165" sldId="8686"/>
            <ac:spMk id="9" creationId="{C16A4386-5B3B-C84B-8319-5FE6E50B11CD}"/>
          </ac:spMkLst>
        </pc:spChg>
        <pc:spChg chg="mod">
          <ac:chgData name="Cornago, Fernando" userId="048a41c0-cb7a-447c-b2ac-f7c7348706e9" providerId="ADAL" clId="{9A5DB92F-12BF-B84C-BF79-2D8D18E29C35}" dt="2021-04-30T15:32:44.352" v="746"/>
          <ac:spMkLst>
            <pc:docMk/>
            <pc:sldMk cId="3086230165" sldId="8686"/>
            <ac:spMk id="12" creationId="{FE587F64-088E-4A36-A5E7-2F4349D095CA}"/>
          </ac:spMkLst>
        </pc:spChg>
        <pc:spChg chg="mod">
          <ac:chgData name="Cornago, Fernando" userId="048a41c0-cb7a-447c-b2ac-f7c7348706e9" providerId="ADAL" clId="{9A5DB92F-12BF-B84C-BF79-2D8D18E29C35}" dt="2021-04-30T15:32:44.352" v="746"/>
          <ac:spMkLst>
            <pc:docMk/>
            <pc:sldMk cId="3086230165" sldId="8686"/>
            <ac:spMk id="16" creationId="{19C6038D-F646-4442-BD93-895E74439B51}"/>
          </ac:spMkLst>
        </pc:spChg>
        <pc:spChg chg="mod">
          <ac:chgData name="Cornago, Fernando" userId="048a41c0-cb7a-447c-b2ac-f7c7348706e9" providerId="ADAL" clId="{9A5DB92F-12BF-B84C-BF79-2D8D18E29C35}" dt="2021-04-30T15:32:44.352" v="746"/>
          <ac:spMkLst>
            <pc:docMk/>
            <pc:sldMk cId="3086230165" sldId="8686"/>
            <ac:spMk id="17" creationId="{5954543A-0351-4F17-BB27-AC2CAA5EAF59}"/>
          </ac:spMkLst>
        </pc:spChg>
        <pc:spChg chg="mod">
          <ac:chgData name="Cornago, Fernando" userId="048a41c0-cb7a-447c-b2ac-f7c7348706e9" providerId="ADAL" clId="{9A5DB92F-12BF-B84C-BF79-2D8D18E29C35}" dt="2021-04-30T15:32:44.352" v="746"/>
          <ac:spMkLst>
            <pc:docMk/>
            <pc:sldMk cId="3086230165" sldId="8686"/>
            <ac:spMk id="24" creationId="{192DDD4F-DC88-8A45-B293-6F8CCE04CEB8}"/>
          </ac:spMkLst>
        </pc:spChg>
        <pc:spChg chg="mod">
          <ac:chgData name="Cornago, Fernando" userId="048a41c0-cb7a-447c-b2ac-f7c7348706e9" providerId="ADAL" clId="{9A5DB92F-12BF-B84C-BF79-2D8D18E29C35}" dt="2021-04-30T15:32:44.352" v="746"/>
          <ac:spMkLst>
            <pc:docMk/>
            <pc:sldMk cId="3086230165" sldId="8686"/>
            <ac:spMk id="30" creationId="{FE912C47-D6CE-D147-B734-08D0FEAF68C5}"/>
          </ac:spMkLst>
        </pc:spChg>
        <pc:spChg chg="mod">
          <ac:chgData name="Cornago, Fernando" userId="048a41c0-cb7a-447c-b2ac-f7c7348706e9" providerId="ADAL" clId="{9A5DB92F-12BF-B84C-BF79-2D8D18E29C35}" dt="2021-04-30T15:32:44.352" v="746"/>
          <ac:spMkLst>
            <pc:docMk/>
            <pc:sldMk cId="3086230165" sldId="8686"/>
            <ac:spMk id="33" creationId="{72064B64-32F5-450C-BCAC-DCA35055AC2D}"/>
          </ac:spMkLst>
        </pc:spChg>
        <pc:spChg chg="mod">
          <ac:chgData name="Cornago, Fernando" userId="048a41c0-cb7a-447c-b2ac-f7c7348706e9" providerId="ADAL" clId="{9A5DB92F-12BF-B84C-BF79-2D8D18E29C35}" dt="2021-04-30T15:32:44.352" v="746"/>
          <ac:spMkLst>
            <pc:docMk/>
            <pc:sldMk cId="3086230165" sldId="8686"/>
            <ac:spMk id="34" creationId="{5BC3E57F-0663-41DF-A67E-B9A6C0732E87}"/>
          </ac:spMkLst>
        </pc:spChg>
        <pc:spChg chg="mod">
          <ac:chgData name="Cornago, Fernando" userId="048a41c0-cb7a-447c-b2ac-f7c7348706e9" providerId="ADAL" clId="{9A5DB92F-12BF-B84C-BF79-2D8D18E29C35}" dt="2021-04-30T15:32:44.352" v="746"/>
          <ac:spMkLst>
            <pc:docMk/>
            <pc:sldMk cId="3086230165" sldId="8686"/>
            <ac:spMk id="43" creationId="{787B09C2-3FD9-49C0-ABCC-3F6AE45079B4}"/>
          </ac:spMkLst>
        </pc:spChg>
        <pc:spChg chg="mod">
          <ac:chgData name="Cornago, Fernando" userId="048a41c0-cb7a-447c-b2ac-f7c7348706e9" providerId="ADAL" clId="{9A5DB92F-12BF-B84C-BF79-2D8D18E29C35}" dt="2021-04-30T15:32:44.352" v="746"/>
          <ac:spMkLst>
            <pc:docMk/>
            <pc:sldMk cId="3086230165" sldId="8686"/>
            <ac:spMk id="44" creationId="{AA9E92E9-19E5-46A8-8D35-7F48620E2468}"/>
          </ac:spMkLst>
        </pc:spChg>
        <pc:spChg chg="mod">
          <ac:chgData name="Cornago, Fernando" userId="048a41c0-cb7a-447c-b2ac-f7c7348706e9" providerId="ADAL" clId="{9A5DB92F-12BF-B84C-BF79-2D8D18E29C35}" dt="2021-04-30T15:32:44.352" v="746"/>
          <ac:spMkLst>
            <pc:docMk/>
            <pc:sldMk cId="3086230165" sldId="8686"/>
            <ac:spMk id="47" creationId="{3221B38C-528A-4479-B6FA-0ADBC86B6136}"/>
          </ac:spMkLst>
        </pc:spChg>
        <pc:spChg chg="mod">
          <ac:chgData name="Cornago, Fernando" userId="048a41c0-cb7a-447c-b2ac-f7c7348706e9" providerId="ADAL" clId="{9A5DB92F-12BF-B84C-BF79-2D8D18E29C35}" dt="2021-04-30T15:32:44.352" v="746"/>
          <ac:spMkLst>
            <pc:docMk/>
            <pc:sldMk cId="3086230165" sldId="8686"/>
            <ac:spMk id="48" creationId="{605AD7CE-C60E-456D-99C1-2A0EE0F34786}"/>
          </ac:spMkLst>
        </pc:spChg>
        <pc:spChg chg="mod">
          <ac:chgData name="Cornago, Fernando" userId="048a41c0-cb7a-447c-b2ac-f7c7348706e9" providerId="ADAL" clId="{9A5DB92F-12BF-B84C-BF79-2D8D18E29C35}" dt="2021-04-30T15:32:44.352" v="746"/>
          <ac:spMkLst>
            <pc:docMk/>
            <pc:sldMk cId="3086230165" sldId="8686"/>
            <ac:spMk id="51" creationId="{26576804-0C5E-440D-B469-B46311FD1123}"/>
          </ac:spMkLst>
        </pc:spChg>
        <pc:spChg chg="mod">
          <ac:chgData name="Cornago, Fernando" userId="048a41c0-cb7a-447c-b2ac-f7c7348706e9" providerId="ADAL" clId="{9A5DB92F-12BF-B84C-BF79-2D8D18E29C35}" dt="2021-04-30T15:32:44.352" v="746"/>
          <ac:spMkLst>
            <pc:docMk/>
            <pc:sldMk cId="3086230165" sldId="8686"/>
            <ac:spMk id="52" creationId="{6EB7AB63-CDB6-4ADC-8AB1-401C09913516}"/>
          </ac:spMkLst>
        </pc:spChg>
        <pc:grpChg chg="mod">
          <ac:chgData name="Cornago, Fernando" userId="048a41c0-cb7a-447c-b2ac-f7c7348706e9" providerId="ADAL" clId="{9A5DB92F-12BF-B84C-BF79-2D8D18E29C35}" dt="2021-04-30T15:32:44.352" v="746"/>
          <ac:grpSpMkLst>
            <pc:docMk/>
            <pc:sldMk cId="3086230165" sldId="8686"/>
            <ac:grpSpMk id="1" creationId="{00000000-0000-0000-0000-000000000000}"/>
          </ac:grpSpMkLst>
        </pc:grpChg>
        <pc:grpChg chg="mod">
          <ac:chgData name="Cornago, Fernando" userId="048a41c0-cb7a-447c-b2ac-f7c7348706e9" providerId="ADAL" clId="{9A5DB92F-12BF-B84C-BF79-2D8D18E29C35}" dt="2021-04-30T15:32:44.352" v="746"/>
          <ac:grpSpMkLst>
            <pc:docMk/>
            <pc:sldMk cId="3086230165" sldId="8686"/>
            <ac:grpSpMk id="7" creationId="{FAD14135-82D9-47C5-9ECF-48F5DF61C496}"/>
          </ac:grpSpMkLst>
        </pc:grpChg>
        <pc:graphicFrameChg chg="mod">
          <ac:chgData name="Cornago, Fernando" userId="048a41c0-cb7a-447c-b2ac-f7c7348706e9" providerId="ADAL" clId="{9A5DB92F-12BF-B84C-BF79-2D8D18E29C35}" dt="2021-04-30T15:32:44.352" v="746"/>
          <ac:graphicFrameMkLst>
            <pc:docMk/>
            <pc:sldMk cId="3086230165" sldId="8686"/>
            <ac:graphicFrameMk id="10" creationId="{F8674A31-7537-45CF-8D54-C0D6981A62B4}"/>
          </ac:graphicFrameMkLst>
        </pc:graphicFrameChg>
        <pc:picChg chg="mod">
          <ac:chgData name="Cornago, Fernando" userId="048a41c0-cb7a-447c-b2ac-f7c7348706e9" providerId="ADAL" clId="{9A5DB92F-12BF-B84C-BF79-2D8D18E29C35}" dt="2021-04-30T15:32:44.352" v="746"/>
          <ac:picMkLst>
            <pc:docMk/>
            <pc:sldMk cId="3086230165" sldId="8686"/>
            <ac:picMk id="2" creationId="{DE871DC2-1F23-4D58-A318-FAF526279836}"/>
          </ac:picMkLst>
        </pc:picChg>
        <pc:picChg chg="mod">
          <ac:chgData name="Cornago, Fernando" userId="048a41c0-cb7a-447c-b2ac-f7c7348706e9" providerId="ADAL" clId="{9A5DB92F-12BF-B84C-BF79-2D8D18E29C35}" dt="2021-04-30T15:32:44.352" v="746"/>
          <ac:picMkLst>
            <pc:docMk/>
            <pc:sldMk cId="3086230165" sldId="8686"/>
            <ac:picMk id="46" creationId="{F342C1E5-22C7-49FF-A5BB-38D938BC9B9B}"/>
          </ac:picMkLst>
        </pc:picChg>
        <pc:picChg chg="mod">
          <ac:chgData name="Cornago, Fernando" userId="048a41c0-cb7a-447c-b2ac-f7c7348706e9" providerId="ADAL" clId="{9A5DB92F-12BF-B84C-BF79-2D8D18E29C35}" dt="2021-04-30T15:32:44.352" v="746"/>
          <ac:picMkLst>
            <pc:docMk/>
            <pc:sldMk cId="3086230165" sldId="8686"/>
            <ac:picMk id="11268" creationId="{90B45497-FE84-4427-8F67-548F50D535D8}"/>
          </ac:picMkLst>
        </pc:picChg>
        <pc:picChg chg="mod">
          <ac:chgData name="Cornago, Fernando" userId="048a41c0-cb7a-447c-b2ac-f7c7348706e9" providerId="ADAL" clId="{9A5DB92F-12BF-B84C-BF79-2D8D18E29C35}" dt="2021-04-30T15:32:44.352" v="746"/>
          <ac:picMkLst>
            <pc:docMk/>
            <pc:sldMk cId="3086230165" sldId="8686"/>
            <ac:picMk id="11270" creationId="{D9D23777-D432-46AE-BB6B-733FD89F3FDE}"/>
          </ac:picMkLst>
        </pc:picChg>
        <pc:picChg chg="mod">
          <ac:chgData name="Cornago, Fernando" userId="048a41c0-cb7a-447c-b2ac-f7c7348706e9" providerId="ADAL" clId="{9A5DB92F-12BF-B84C-BF79-2D8D18E29C35}" dt="2021-04-30T15:32:44.352" v="746"/>
          <ac:picMkLst>
            <pc:docMk/>
            <pc:sldMk cId="3086230165" sldId="8686"/>
            <ac:picMk id="11272" creationId="{717D0C71-0659-4CB5-98B5-F7AC2A7BAAEB}"/>
          </ac:picMkLst>
        </pc:picChg>
        <pc:picChg chg="mod">
          <ac:chgData name="Cornago, Fernando" userId="048a41c0-cb7a-447c-b2ac-f7c7348706e9" providerId="ADAL" clId="{9A5DB92F-12BF-B84C-BF79-2D8D18E29C35}" dt="2021-04-30T15:32:44.352" v="746"/>
          <ac:picMkLst>
            <pc:docMk/>
            <pc:sldMk cId="3086230165" sldId="8686"/>
            <ac:picMk id="11274" creationId="{11B794DF-725C-4A44-9492-E9115003C3E1}"/>
          </ac:picMkLst>
        </pc:picChg>
        <pc:picChg chg="mod">
          <ac:chgData name="Cornago, Fernando" userId="048a41c0-cb7a-447c-b2ac-f7c7348706e9" providerId="ADAL" clId="{9A5DB92F-12BF-B84C-BF79-2D8D18E29C35}" dt="2021-04-30T15:32:44.352" v="746"/>
          <ac:picMkLst>
            <pc:docMk/>
            <pc:sldMk cId="3086230165" sldId="8686"/>
            <ac:picMk id="11276" creationId="{73952460-2229-41F8-9C78-DC77537D88A2}"/>
          </ac:picMkLst>
        </pc:picChg>
        <pc:picChg chg="mod">
          <ac:chgData name="Cornago, Fernando" userId="048a41c0-cb7a-447c-b2ac-f7c7348706e9" providerId="ADAL" clId="{9A5DB92F-12BF-B84C-BF79-2D8D18E29C35}" dt="2021-04-30T15:32:44.352" v="746"/>
          <ac:picMkLst>
            <pc:docMk/>
            <pc:sldMk cId="3086230165" sldId="8686"/>
            <ac:picMk id="11278" creationId="{222B8E28-D13C-4FD7-AF48-72AA521D385F}"/>
          </ac:picMkLst>
        </pc:picChg>
        <pc:picChg chg="mod">
          <ac:chgData name="Cornago, Fernando" userId="048a41c0-cb7a-447c-b2ac-f7c7348706e9" providerId="ADAL" clId="{9A5DB92F-12BF-B84C-BF79-2D8D18E29C35}" dt="2021-04-30T15:32:44.352" v="746"/>
          <ac:picMkLst>
            <pc:docMk/>
            <pc:sldMk cId="3086230165" sldId="8686"/>
            <ac:picMk id="11280" creationId="{87842C39-FD99-454D-9FE1-B9D45AFAEDED}"/>
          </ac:picMkLst>
        </pc:picChg>
        <pc:cxnChg chg="mod">
          <ac:chgData name="Cornago, Fernando" userId="048a41c0-cb7a-447c-b2ac-f7c7348706e9" providerId="ADAL" clId="{9A5DB92F-12BF-B84C-BF79-2D8D18E29C35}" dt="2021-04-30T15:32:44.352" v="746"/>
          <ac:cxnSpMkLst>
            <pc:docMk/>
            <pc:sldMk cId="3086230165" sldId="8686"/>
            <ac:cxnSpMk id="49" creationId="{509A9D8D-CEC3-4A01-BA30-2FC4E50A1717}"/>
          </ac:cxnSpMkLst>
        </pc:cxnChg>
        <pc:cxnChg chg="mod">
          <ac:chgData name="Cornago, Fernando" userId="048a41c0-cb7a-447c-b2ac-f7c7348706e9" providerId="ADAL" clId="{9A5DB92F-12BF-B84C-BF79-2D8D18E29C35}" dt="2021-04-30T15:32:44.352" v="746"/>
          <ac:cxnSpMkLst>
            <pc:docMk/>
            <pc:sldMk cId="3086230165" sldId="8686"/>
            <ac:cxnSpMk id="53" creationId="{816A6630-1015-4CBB-BC4E-A9705241A14D}"/>
          </ac:cxnSpMkLst>
        </pc:cxnChg>
      </pc:sldChg>
      <pc:sldChg chg="del">
        <pc:chgData name="Cornago, Fernando" userId="048a41c0-cb7a-447c-b2ac-f7c7348706e9" providerId="ADAL" clId="{9A5DB92F-12BF-B84C-BF79-2D8D18E29C35}" dt="2021-05-04T07:12:42.768" v="3025" actId="2696"/>
        <pc:sldMkLst>
          <pc:docMk/>
          <pc:sldMk cId="1958243436" sldId="8717"/>
        </pc:sldMkLst>
      </pc:sldChg>
      <pc:sldChg chg="del">
        <pc:chgData name="Cornago, Fernando" userId="048a41c0-cb7a-447c-b2ac-f7c7348706e9" providerId="ADAL" clId="{9A5DB92F-12BF-B84C-BF79-2D8D18E29C35}" dt="2021-05-02T09:42:15.591" v="1989" actId="2696"/>
        <pc:sldMkLst>
          <pc:docMk/>
          <pc:sldMk cId="1606365903" sldId="2134804581"/>
        </pc:sldMkLst>
      </pc:sldChg>
      <pc:sldChg chg="del">
        <pc:chgData name="Cornago, Fernando" userId="048a41c0-cb7a-447c-b2ac-f7c7348706e9" providerId="ADAL" clId="{9A5DB92F-12BF-B84C-BF79-2D8D18E29C35}" dt="2021-05-02T09:42:01.048" v="1988" actId="2696"/>
        <pc:sldMkLst>
          <pc:docMk/>
          <pc:sldMk cId="3070004961" sldId="2134804583"/>
        </pc:sldMkLst>
      </pc:sldChg>
      <pc:sldChg chg="del">
        <pc:chgData name="Cornago, Fernando" userId="048a41c0-cb7a-447c-b2ac-f7c7348706e9" providerId="ADAL" clId="{9A5DB92F-12BF-B84C-BF79-2D8D18E29C35}" dt="2021-05-02T09:42:15.591" v="1989" actId="2696"/>
        <pc:sldMkLst>
          <pc:docMk/>
          <pc:sldMk cId="691916984" sldId="2134804584"/>
        </pc:sldMkLst>
      </pc:sldChg>
      <pc:sldChg chg="del">
        <pc:chgData name="Cornago, Fernando" userId="048a41c0-cb7a-447c-b2ac-f7c7348706e9" providerId="ADAL" clId="{9A5DB92F-12BF-B84C-BF79-2D8D18E29C35}" dt="2021-05-02T09:42:15.591" v="1989" actId="2696"/>
        <pc:sldMkLst>
          <pc:docMk/>
          <pc:sldMk cId="3724447281" sldId="2134804587"/>
        </pc:sldMkLst>
      </pc:sldChg>
      <pc:sldChg chg="del">
        <pc:chgData name="Cornago, Fernando" userId="048a41c0-cb7a-447c-b2ac-f7c7348706e9" providerId="ADAL" clId="{9A5DB92F-12BF-B84C-BF79-2D8D18E29C35}" dt="2021-05-02T09:42:15.591" v="1989" actId="2696"/>
        <pc:sldMkLst>
          <pc:docMk/>
          <pc:sldMk cId="2098507423" sldId="2134804589"/>
        </pc:sldMkLst>
      </pc:sldChg>
      <pc:sldChg chg="del">
        <pc:chgData name="Cornago, Fernando" userId="048a41c0-cb7a-447c-b2ac-f7c7348706e9" providerId="ADAL" clId="{9A5DB92F-12BF-B84C-BF79-2D8D18E29C35}" dt="2021-05-02T09:42:15.591" v="1989" actId="2696"/>
        <pc:sldMkLst>
          <pc:docMk/>
          <pc:sldMk cId="3934166094" sldId="2134804590"/>
        </pc:sldMkLst>
      </pc:sldChg>
      <pc:sldChg chg="del">
        <pc:chgData name="Cornago, Fernando" userId="048a41c0-cb7a-447c-b2ac-f7c7348706e9" providerId="ADAL" clId="{9A5DB92F-12BF-B84C-BF79-2D8D18E29C35}" dt="2021-05-02T09:42:15.591" v="1989" actId="2696"/>
        <pc:sldMkLst>
          <pc:docMk/>
          <pc:sldMk cId="3701047989" sldId="2134805880"/>
        </pc:sldMkLst>
      </pc:sldChg>
      <pc:sldChg chg="del">
        <pc:chgData name="Cornago, Fernando" userId="048a41c0-cb7a-447c-b2ac-f7c7348706e9" providerId="ADAL" clId="{9A5DB92F-12BF-B84C-BF79-2D8D18E29C35}" dt="2021-05-02T09:42:15.591" v="1989" actId="2696"/>
        <pc:sldMkLst>
          <pc:docMk/>
          <pc:sldMk cId="795272633" sldId="2134806411"/>
        </pc:sldMkLst>
      </pc:sldChg>
      <pc:sldChg chg="del">
        <pc:chgData name="Cornago, Fernando" userId="048a41c0-cb7a-447c-b2ac-f7c7348706e9" providerId="ADAL" clId="{9A5DB92F-12BF-B84C-BF79-2D8D18E29C35}" dt="2021-05-02T09:42:01.048" v="1988" actId="2696"/>
        <pc:sldMkLst>
          <pc:docMk/>
          <pc:sldMk cId="1321588068" sldId="2134806412"/>
        </pc:sldMkLst>
      </pc:sldChg>
      <pc:sldChg chg="del">
        <pc:chgData name="Cornago, Fernando" userId="048a41c0-cb7a-447c-b2ac-f7c7348706e9" providerId="ADAL" clId="{9A5DB92F-12BF-B84C-BF79-2D8D18E29C35}" dt="2021-05-02T09:42:01.048" v="1988" actId="2696"/>
        <pc:sldMkLst>
          <pc:docMk/>
          <pc:sldMk cId="842167388" sldId="2134806414"/>
        </pc:sldMkLst>
      </pc:sldChg>
      <pc:sldChg chg="del">
        <pc:chgData name="Cornago, Fernando" userId="048a41c0-cb7a-447c-b2ac-f7c7348706e9" providerId="ADAL" clId="{9A5DB92F-12BF-B84C-BF79-2D8D18E29C35}" dt="2021-05-02T09:42:01.048" v="1988" actId="2696"/>
        <pc:sldMkLst>
          <pc:docMk/>
          <pc:sldMk cId="497398283" sldId="2134806415"/>
        </pc:sldMkLst>
      </pc:sldChg>
      <pc:sldChg chg="del">
        <pc:chgData name="Cornago, Fernando" userId="048a41c0-cb7a-447c-b2ac-f7c7348706e9" providerId="ADAL" clId="{9A5DB92F-12BF-B84C-BF79-2D8D18E29C35}" dt="2021-05-02T09:42:01.048" v="1988" actId="2696"/>
        <pc:sldMkLst>
          <pc:docMk/>
          <pc:sldMk cId="2702790180" sldId="2134806416"/>
        </pc:sldMkLst>
      </pc:sldChg>
      <pc:sldChg chg="del">
        <pc:chgData name="Cornago, Fernando" userId="048a41c0-cb7a-447c-b2ac-f7c7348706e9" providerId="ADAL" clId="{9A5DB92F-12BF-B84C-BF79-2D8D18E29C35}" dt="2021-05-02T09:42:01.048" v="1988" actId="2696"/>
        <pc:sldMkLst>
          <pc:docMk/>
          <pc:sldMk cId="2983291835" sldId="2134806417"/>
        </pc:sldMkLst>
      </pc:sldChg>
      <pc:sldChg chg="del">
        <pc:chgData name="Cornago, Fernando" userId="048a41c0-cb7a-447c-b2ac-f7c7348706e9" providerId="ADAL" clId="{9A5DB92F-12BF-B84C-BF79-2D8D18E29C35}" dt="2021-05-02T09:42:01.048" v="1988" actId="2696"/>
        <pc:sldMkLst>
          <pc:docMk/>
          <pc:sldMk cId="3808321195" sldId="2134806418"/>
        </pc:sldMkLst>
      </pc:sldChg>
      <pc:sldChg chg="del">
        <pc:chgData name="Cornago, Fernando" userId="048a41c0-cb7a-447c-b2ac-f7c7348706e9" providerId="ADAL" clId="{9A5DB92F-12BF-B84C-BF79-2D8D18E29C35}" dt="2021-05-02T09:42:01.048" v="1988" actId="2696"/>
        <pc:sldMkLst>
          <pc:docMk/>
          <pc:sldMk cId="2843841287" sldId="2134806419"/>
        </pc:sldMkLst>
      </pc:sldChg>
      <pc:sldChg chg="del">
        <pc:chgData name="Cornago, Fernando" userId="048a41c0-cb7a-447c-b2ac-f7c7348706e9" providerId="ADAL" clId="{9A5DB92F-12BF-B84C-BF79-2D8D18E29C35}" dt="2021-05-02T09:42:01.048" v="1988" actId="2696"/>
        <pc:sldMkLst>
          <pc:docMk/>
          <pc:sldMk cId="2945913276" sldId="2134806420"/>
        </pc:sldMkLst>
      </pc:sldChg>
      <pc:sldChg chg="del">
        <pc:chgData name="Cornago, Fernando" userId="048a41c0-cb7a-447c-b2ac-f7c7348706e9" providerId="ADAL" clId="{9A5DB92F-12BF-B84C-BF79-2D8D18E29C35}" dt="2021-05-02T09:42:01.048" v="1988" actId="2696"/>
        <pc:sldMkLst>
          <pc:docMk/>
          <pc:sldMk cId="131279455" sldId="2134806421"/>
        </pc:sldMkLst>
      </pc:sldChg>
      <pc:sldChg chg="del">
        <pc:chgData name="Cornago, Fernando" userId="048a41c0-cb7a-447c-b2ac-f7c7348706e9" providerId="ADAL" clId="{9A5DB92F-12BF-B84C-BF79-2D8D18E29C35}" dt="2021-05-02T09:42:15.591" v="1989" actId="2696"/>
        <pc:sldMkLst>
          <pc:docMk/>
          <pc:sldMk cId="1649412314" sldId="2134806423"/>
        </pc:sldMkLst>
      </pc:sldChg>
      <pc:sldChg chg="del">
        <pc:chgData name="Cornago, Fernando" userId="048a41c0-cb7a-447c-b2ac-f7c7348706e9" providerId="ADAL" clId="{9A5DB92F-12BF-B84C-BF79-2D8D18E29C35}" dt="2021-05-02T09:42:01.048" v="1988" actId="2696"/>
        <pc:sldMkLst>
          <pc:docMk/>
          <pc:sldMk cId="2785670093" sldId="2134806424"/>
        </pc:sldMkLst>
      </pc:sldChg>
      <pc:sldChg chg="del">
        <pc:chgData name="Cornago, Fernando" userId="048a41c0-cb7a-447c-b2ac-f7c7348706e9" providerId="ADAL" clId="{9A5DB92F-12BF-B84C-BF79-2D8D18E29C35}" dt="2021-05-02T09:42:01.048" v="1988" actId="2696"/>
        <pc:sldMkLst>
          <pc:docMk/>
          <pc:sldMk cId="1053811112" sldId="2134806425"/>
        </pc:sldMkLst>
      </pc:sldChg>
      <pc:sldChg chg="del">
        <pc:chgData name="Cornago, Fernando" userId="048a41c0-cb7a-447c-b2ac-f7c7348706e9" providerId="ADAL" clId="{9A5DB92F-12BF-B84C-BF79-2D8D18E29C35}" dt="2021-05-02T09:42:01.048" v="1988" actId="2696"/>
        <pc:sldMkLst>
          <pc:docMk/>
          <pc:sldMk cId="293792105" sldId="2134806426"/>
        </pc:sldMkLst>
      </pc:sldChg>
      <pc:sldChg chg="del">
        <pc:chgData name="Cornago, Fernando" userId="048a41c0-cb7a-447c-b2ac-f7c7348706e9" providerId="ADAL" clId="{9A5DB92F-12BF-B84C-BF79-2D8D18E29C35}" dt="2021-05-02T09:42:01.048" v="1988" actId="2696"/>
        <pc:sldMkLst>
          <pc:docMk/>
          <pc:sldMk cId="2567841848" sldId="2134806427"/>
        </pc:sldMkLst>
      </pc:sldChg>
      <pc:sldChg chg="modSp del">
        <pc:chgData name="Cornago, Fernando" userId="048a41c0-cb7a-447c-b2ac-f7c7348706e9" providerId="ADAL" clId="{9A5DB92F-12BF-B84C-BF79-2D8D18E29C35}" dt="2021-05-02T09:42:01.048" v="1988" actId="2696"/>
        <pc:sldMkLst>
          <pc:docMk/>
          <pc:sldMk cId="1515118004" sldId="2134806428"/>
        </pc:sldMkLst>
        <pc:spChg chg="mod">
          <ac:chgData name="Cornago, Fernando" userId="048a41c0-cb7a-447c-b2ac-f7c7348706e9" providerId="ADAL" clId="{9A5DB92F-12BF-B84C-BF79-2D8D18E29C35}" dt="2021-04-30T15:32:44.352" v="746"/>
          <ac:spMkLst>
            <pc:docMk/>
            <pc:sldMk cId="1515118004" sldId="2134806428"/>
            <ac:spMk id="2" creationId="{94A475C9-FD3A-48C1-A03D-BD33B7B8E6D6}"/>
          </ac:spMkLst>
        </pc:spChg>
        <pc:spChg chg="mod">
          <ac:chgData name="Cornago, Fernando" userId="048a41c0-cb7a-447c-b2ac-f7c7348706e9" providerId="ADAL" clId="{9A5DB92F-12BF-B84C-BF79-2D8D18E29C35}" dt="2021-04-30T15:32:44.352" v="746"/>
          <ac:spMkLst>
            <pc:docMk/>
            <pc:sldMk cId="1515118004" sldId="2134806428"/>
            <ac:spMk id="3" creationId="{044B32DA-0647-4B12-BBB3-0167FD54139B}"/>
          </ac:spMkLst>
        </pc:spChg>
        <pc:spChg chg="mod">
          <ac:chgData name="Cornago, Fernando" userId="048a41c0-cb7a-447c-b2ac-f7c7348706e9" providerId="ADAL" clId="{9A5DB92F-12BF-B84C-BF79-2D8D18E29C35}" dt="2021-04-30T15:32:44.352" v="746"/>
          <ac:spMkLst>
            <pc:docMk/>
            <pc:sldMk cId="1515118004" sldId="2134806428"/>
            <ac:spMk id="33" creationId="{92058D74-7F60-EC41-AA69-922521D5DDA8}"/>
          </ac:spMkLst>
        </pc:spChg>
        <pc:spChg chg="mod">
          <ac:chgData name="Cornago, Fernando" userId="048a41c0-cb7a-447c-b2ac-f7c7348706e9" providerId="ADAL" clId="{9A5DB92F-12BF-B84C-BF79-2D8D18E29C35}" dt="2021-04-30T15:32:44.352" v="746"/>
          <ac:spMkLst>
            <pc:docMk/>
            <pc:sldMk cId="1515118004" sldId="2134806428"/>
            <ac:spMk id="44" creationId="{764127A5-DEC9-3B4D-B138-04BB5414984B}"/>
          </ac:spMkLst>
        </pc:spChg>
        <pc:spChg chg="mod">
          <ac:chgData name="Cornago, Fernando" userId="048a41c0-cb7a-447c-b2ac-f7c7348706e9" providerId="ADAL" clId="{9A5DB92F-12BF-B84C-BF79-2D8D18E29C35}" dt="2021-04-30T15:32:44.352" v="746"/>
          <ac:spMkLst>
            <pc:docMk/>
            <pc:sldMk cId="1515118004" sldId="2134806428"/>
            <ac:spMk id="45" creationId="{8ED1FAEB-14B1-FA42-BCE2-733A6D045DFD}"/>
          </ac:spMkLst>
        </pc:spChg>
        <pc:spChg chg="mod">
          <ac:chgData name="Cornago, Fernando" userId="048a41c0-cb7a-447c-b2ac-f7c7348706e9" providerId="ADAL" clId="{9A5DB92F-12BF-B84C-BF79-2D8D18E29C35}" dt="2021-04-30T15:32:44.352" v="746"/>
          <ac:spMkLst>
            <pc:docMk/>
            <pc:sldMk cId="1515118004" sldId="2134806428"/>
            <ac:spMk id="50" creationId="{4ECD68A2-AB49-43E5-B52B-392C940728DE}"/>
          </ac:spMkLst>
        </pc:spChg>
        <pc:spChg chg="mod">
          <ac:chgData name="Cornago, Fernando" userId="048a41c0-cb7a-447c-b2ac-f7c7348706e9" providerId="ADAL" clId="{9A5DB92F-12BF-B84C-BF79-2D8D18E29C35}" dt="2021-04-30T15:32:44.352" v="746"/>
          <ac:spMkLst>
            <pc:docMk/>
            <pc:sldMk cId="1515118004" sldId="2134806428"/>
            <ac:spMk id="53" creationId="{B16A4089-C5A2-446A-BC59-9FB6DB6DDFF6}"/>
          </ac:spMkLst>
        </pc:spChg>
        <pc:spChg chg="mod">
          <ac:chgData name="Cornago, Fernando" userId="048a41c0-cb7a-447c-b2ac-f7c7348706e9" providerId="ADAL" clId="{9A5DB92F-12BF-B84C-BF79-2D8D18E29C35}" dt="2021-04-30T15:32:44.352" v="746"/>
          <ac:spMkLst>
            <pc:docMk/>
            <pc:sldMk cId="1515118004" sldId="2134806428"/>
            <ac:spMk id="54" creationId="{42EA12E1-5012-47AF-878E-32F428E81F17}"/>
          </ac:spMkLst>
        </pc:spChg>
        <pc:spChg chg="mod">
          <ac:chgData name="Cornago, Fernando" userId="048a41c0-cb7a-447c-b2ac-f7c7348706e9" providerId="ADAL" clId="{9A5DB92F-12BF-B84C-BF79-2D8D18E29C35}" dt="2021-04-30T15:32:44.352" v="746"/>
          <ac:spMkLst>
            <pc:docMk/>
            <pc:sldMk cId="1515118004" sldId="2134806428"/>
            <ac:spMk id="60" creationId="{856BC06A-118E-5C4B-B6CD-DB1AFA766685}"/>
          </ac:spMkLst>
        </pc:spChg>
        <pc:spChg chg="mod">
          <ac:chgData name="Cornago, Fernando" userId="048a41c0-cb7a-447c-b2ac-f7c7348706e9" providerId="ADAL" clId="{9A5DB92F-12BF-B84C-BF79-2D8D18E29C35}" dt="2021-04-30T15:32:44.352" v="746"/>
          <ac:spMkLst>
            <pc:docMk/>
            <pc:sldMk cId="1515118004" sldId="2134806428"/>
            <ac:spMk id="63" creationId="{86BECAE2-DDEB-4E52-A88F-6568C999F64D}"/>
          </ac:spMkLst>
        </pc:spChg>
        <pc:spChg chg="mod">
          <ac:chgData name="Cornago, Fernando" userId="048a41c0-cb7a-447c-b2ac-f7c7348706e9" providerId="ADAL" clId="{9A5DB92F-12BF-B84C-BF79-2D8D18E29C35}" dt="2021-04-30T15:32:44.352" v="746"/>
          <ac:spMkLst>
            <pc:docMk/>
            <pc:sldMk cId="1515118004" sldId="2134806428"/>
            <ac:spMk id="64" creationId="{85509AA0-5B56-4EE9-A95D-68C23CD0E45F}"/>
          </ac:spMkLst>
        </pc:spChg>
        <pc:spChg chg="mod">
          <ac:chgData name="Cornago, Fernando" userId="048a41c0-cb7a-447c-b2ac-f7c7348706e9" providerId="ADAL" clId="{9A5DB92F-12BF-B84C-BF79-2D8D18E29C35}" dt="2021-04-30T15:32:44.352" v="746"/>
          <ac:spMkLst>
            <pc:docMk/>
            <pc:sldMk cId="1515118004" sldId="2134806428"/>
            <ac:spMk id="66" creationId="{13743BA0-80D7-4A7D-B9F3-C2F2CEED601D}"/>
          </ac:spMkLst>
        </pc:spChg>
        <pc:spChg chg="mod">
          <ac:chgData name="Cornago, Fernando" userId="048a41c0-cb7a-447c-b2ac-f7c7348706e9" providerId="ADAL" clId="{9A5DB92F-12BF-B84C-BF79-2D8D18E29C35}" dt="2021-04-30T15:32:44.352" v="746"/>
          <ac:spMkLst>
            <pc:docMk/>
            <pc:sldMk cId="1515118004" sldId="2134806428"/>
            <ac:spMk id="68" creationId="{13AD3B36-4C86-4B55-A001-3AD6F01E21BE}"/>
          </ac:spMkLst>
        </pc:spChg>
        <pc:spChg chg="mod">
          <ac:chgData name="Cornago, Fernando" userId="048a41c0-cb7a-447c-b2ac-f7c7348706e9" providerId="ADAL" clId="{9A5DB92F-12BF-B84C-BF79-2D8D18E29C35}" dt="2021-04-30T15:32:44.352" v="746"/>
          <ac:spMkLst>
            <pc:docMk/>
            <pc:sldMk cId="1515118004" sldId="2134806428"/>
            <ac:spMk id="69" creationId="{8431E39F-EBA0-41DE-8C5F-34767BA0A35C}"/>
          </ac:spMkLst>
        </pc:spChg>
        <pc:spChg chg="mod">
          <ac:chgData name="Cornago, Fernando" userId="048a41c0-cb7a-447c-b2ac-f7c7348706e9" providerId="ADAL" clId="{9A5DB92F-12BF-B84C-BF79-2D8D18E29C35}" dt="2021-04-30T15:32:44.352" v="746"/>
          <ac:spMkLst>
            <pc:docMk/>
            <pc:sldMk cId="1515118004" sldId="2134806428"/>
            <ac:spMk id="71" creationId="{608318F2-9177-C343-B990-4818AD23A336}"/>
          </ac:spMkLst>
        </pc:spChg>
        <pc:spChg chg="mod">
          <ac:chgData name="Cornago, Fernando" userId="048a41c0-cb7a-447c-b2ac-f7c7348706e9" providerId="ADAL" clId="{9A5DB92F-12BF-B84C-BF79-2D8D18E29C35}" dt="2021-04-30T15:32:44.352" v="746"/>
          <ac:spMkLst>
            <pc:docMk/>
            <pc:sldMk cId="1515118004" sldId="2134806428"/>
            <ac:spMk id="72" creationId="{D0987BCB-36DA-4643-8239-4F3C47665AE3}"/>
          </ac:spMkLst>
        </pc:spChg>
        <pc:spChg chg="mod">
          <ac:chgData name="Cornago, Fernando" userId="048a41c0-cb7a-447c-b2ac-f7c7348706e9" providerId="ADAL" clId="{9A5DB92F-12BF-B84C-BF79-2D8D18E29C35}" dt="2021-04-30T15:32:44.352" v="746"/>
          <ac:spMkLst>
            <pc:docMk/>
            <pc:sldMk cId="1515118004" sldId="2134806428"/>
            <ac:spMk id="73" creationId="{BB3434DB-C86A-DB4A-A8D0-1EA8D9602776}"/>
          </ac:spMkLst>
        </pc:spChg>
        <pc:spChg chg="mod">
          <ac:chgData name="Cornago, Fernando" userId="048a41c0-cb7a-447c-b2ac-f7c7348706e9" providerId="ADAL" clId="{9A5DB92F-12BF-B84C-BF79-2D8D18E29C35}" dt="2021-04-30T15:32:44.352" v="746"/>
          <ac:spMkLst>
            <pc:docMk/>
            <pc:sldMk cId="1515118004" sldId="2134806428"/>
            <ac:spMk id="74" creationId="{D74862C0-0F8A-1141-B710-BE2919E81964}"/>
          </ac:spMkLst>
        </pc:spChg>
        <pc:spChg chg="mod">
          <ac:chgData name="Cornago, Fernando" userId="048a41c0-cb7a-447c-b2ac-f7c7348706e9" providerId="ADAL" clId="{9A5DB92F-12BF-B84C-BF79-2D8D18E29C35}" dt="2021-04-30T15:32:44.352" v="746"/>
          <ac:spMkLst>
            <pc:docMk/>
            <pc:sldMk cId="1515118004" sldId="2134806428"/>
            <ac:spMk id="75" creationId="{1AEDBE8F-B9D3-F846-B473-903756DE98F1}"/>
          </ac:spMkLst>
        </pc:spChg>
        <pc:spChg chg="mod">
          <ac:chgData name="Cornago, Fernando" userId="048a41c0-cb7a-447c-b2ac-f7c7348706e9" providerId="ADAL" clId="{9A5DB92F-12BF-B84C-BF79-2D8D18E29C35}" dt="2021-04-30T15:32:44.352" v="746"/>
          <ac:spMkLst>
            <pc:docMk/>
            <pc:sldMk cId="1515118004" sldId="2134806428"/>
            <ac:spMk id="77" creationId="{2504D1B2-1C48-C04E-8E03-97598CB0EC8F}"/>
          </ac:spMkLst>
        </pc:spChg>
        <pc:spChg chg="mod">
          <ac:chgData name="Cornago, Fernando" userId="048a41c0-cb7a-447c-b2ac-f7c7348706e9" providerId="ADAL" clId="{9A5DB92F-12BF-B84C-BF79-2D8D18E29C35}" dt="2021-04-30T15:32:44.352" v="746"/>
          <ac:spMkLst>
            <pc:docMk/>
            <pc:sldMk cId="1515118004" sldId="2134806428"/>
            <ac:spMk id="78" creationId="{5C7CB61D-B2AE-8F42-955F-9AB5D59EDF16}"/>
          </ac:spMkLst>
        </pc:spChg>
        <pc:spChg chg="mod">
          <ac:chgData name="Cornago, Fernando" userId="048a41c0-cb7a-447c-b2ac-f7c7348706e9" providerId="ADAL" clId="{9A5DB92F-12BF-B84C-BF79-2D8D18E29C35}" dt="2021-04-30T15:32:44.352" v="746"/>
          <ac:spMkLst>
            <pc:docMk/>
            <pc:sldMk cId="1515118004" sldId="2134806428"/>
            <ac:spMk id="79" creationId="{E7128F2C-11F7-244D-8F2B-AA0C002421BB}"/>
          </ac:spMkLst>
        </pc:spChg>
        <pc:spChg chg="mod">
          <ac:chgData name="Cornago, Fernando" userId="048a41c0-cb7a-447c-b2ac-f7c7348706e9" providerId="ADAL" clId="{9A5DB92F-12BF-B84C-BF79-2D8D18E29C35}" dt="2021-04-30T15:32:44.352" v="746"/>
          <ac:spMkLst>
            <pc:docMk/>
            <pc:sldMk cId="1515118004" sldId="2134806428"/>
            <ac:spMk id="80" creationId="{B600C071-271B-014A-B0B9-F8D3EB29D996}"/>
          </ac:spMkLst>
        </pc:spChg>
        <pc:spChg chg="mod">
          <ac:chgData name="Cornago, Fernando" userId="048a41c0-cb7a-447c-b2ac-f7c7348706e9" providerId="ADAL" clId="{9A5DB92F-12BF-B84C-BF79-2D8D18E29C35}" dt="2021-04-30T15:32:44.352" v="746"/>
          <ac:spMkLst>
            <pc:docMk/>
            <pc:sldMk cId="1515118004" sldId="2134806428"/>
            <ac:spMk id="81" creationId="{CEED97E9-E8D3-5E40-B266-83945B5CDFAA}"/>
          </ac:spMkLst>
        </pc:spChg>
        <pc:spChg chg="mod">
          <ac:chgData name="Cornago, Fernando" userId="048a41c0-cb7a-447c-b2ac-f7c7348706e9" providerId="ADAL" clId="{9A5DB92F-12BF-B84C-BF79-2D8D18E29C35}" dt="2021-04-30T15:32:44.352" v="746"/>
          <ac:spMkLst>
            <pc:docMk/>
            <pc:sldMk cId="1515118004" sldId="2134806428"/>
            <ac:spMk id="84" creationId="{CA56CC15-7EC2-974D-8D38-9AE590D41AB8}"/>
          </ac:spMkLst>
        </pc:spChg>
        <pc:spChg chg="mod">
          <ac:chgData name="Cornago, Fernando" userId="048a41c0-cb7a-447c-b2ac-f7c7348706e9" providerId="ADAL" clId="{9A5DB92F-12BF-B84C-BF79-2D8D18E29C35}" dt="2021-04-30T15:32:44.352" v="746"/>
          <ac:spMkLst>
            <pc:docMk/>
            <pc:sldMk cId="1515118004" sldId="2134806428"/>
            <ac:spMk id="85" creationId="{F71EF7C7-9999-4720-A077-49146DCD8ABB}"/>
          </ac:spMkLst>
        </pc:spChg>
        <pc:spChg chg="mod">
          <ac:chgData name="Cornago, Fernando" userId="048a41c0-cb7a-447c-b2ac-f7c7348706e9" providerId="ADAL" clId="{9A5DB92F-12BF-B84C-BF79-2D8D18E29C35}" dt="2021-04-30T15:32:44.352" v="746"/>
          <ac:spMkLst>
            <pc:docMk/>
            <pc:sldMk cId="1515118004" sldId="2134806428"/>
            <ac:spMk id="86" creationId="{C55AC561-2C62-1E4A-AFCF-FDE75F72E391}"/>
          </ac:spMkLst>
        </pc:spChg>
        <pc:spChg chg="mod">
          <ac:chgData name="Cornago, Fernando" userId="048a41c0-cb7a-447c-b2ac-f7c7348706e9" providerId="ADAL" clId="{9A5DB92F-12BF-B84C-BF79-2D8D18E29C35}" dt="2021-04-30T15:32:44.352" v="746"/>
          <ac:spMkLst>
            <pc:docMk/>
            <pc:sldMk cId="1515118004" sldId="2134806428"/>
            <ac:spMk id="87" creationId="{D1DBFF24-015B-4896-9E85-650584A6848B}"/>
          </ac:spMkLst>
        </pc:spChg>
        <pc:spChg chg="mod">
          <ac:chgData name="Cornago, Fernando" userId="048a41c0-cb7a-447c-b2ac-f7c7348706e9" providerId="ADAL" clId="{9A5DB92F-12BF-B84C-BF79-2D8D18E29C35}" dt="2021-04-30T15:32:44.352" v="746"/>
          <ac:spMkLst>
            <pc:docMk/>
            <pc:sldMk cId="1515118004" sldId="2134806428"/>
            <ac:spMk id="88" creationId="{F8ACBCDA-FA2E-A44C-BB71-FA1D7C40AF52}"/>
          </ac:spMkLst>
        </pc:spChg>
        <pc:spChg chg="mod">
          <ac:chgData name="Cornago, Fernando" userId="048a41c0-cb7a-447c-b2ac-f7c7348706e9" providerId="ADAL" clId="{9A5DB92F-12BF-B84C-BF79-2D8D18E29C35}" dt="2021-04-30T15:32:44.352" v="746"/>
          <ac:spMkLst>
            <pc:docMk/>
            <pc:sldMk cId="1515118004" sldId="2134806428"/>
            <ac:spMk id="89" creationId="{6C9F4B76-A915-BF46-9757-14B8F79CFEE9}"/>
          </ac:spMkLst>
        </pc:spChg>
        <pc:spChg chg="mod">
          <ac:chgData name="Cornago, Fernando" userId="048a41c0-cb7a-447c-b2ac-f7c7348706e9" providerId="ADAL" clId="{9A5DB92F-12BF-B84C-BF79-2D8D18E29C35}" dt="2021-04-30T15:32:44.352" v="746"/>
          <ac:spMkLst>
            <pc:docMk/>
            <pc:sldMk cId="1515118004" sldId="2134806428"/>
            <ac:spMk id="90" creationId="{B17E50A5-695F-1B44-810C-FB570E76D960}"/>
          </ac:spMkLst>
        </pc:spChg>
        <pc:spChg chg="mod">
          <ac:chgData name="Cornago, Fernando" userId="048a41c0-cb7a-447c-b2ac-f7c7348706e9" providerId="ADAL" clId="{9A5DB92F-12BF-B84C-BF79-2D8D18E29C35}" dt="2021-04-30T15:32:44.352" v="746"/>
          <ac:spMkLst>
            <pc:docMk/>
            <pc:sldMk cId="1515118004" sldId="2134806428"/>
            <ac:spMk id="93" creationId="{D8B37370-9154-4538-84C0-3E45798F1981}"/>
          </ac:spMkLst>
        </pc:spChg>
        <pc:spChg chg="mod">
          <ac:chgData name="Cornago, Fernando" userId="048a41c0-cb7a-447c-b2ac-f7c7348706e9" providerId="ADAL" clId="{9A5DB92F-12BF-B84C-BF79-2D8D18E29C35}" dt="2021-04-30T15:32:44.352" v="746"/>
          <ac:spMkLst>
            <pc:docMk/>
            <pc:sldMk cId="1515118004" sldId="2134806428"/>
            <ac:spMk id="94" creationId="{5A23C466-D930-4A8F-97BF-393B201ACC72}"/>
          </ac:spMkLst>
        </pc:spChg>
        <pc:spChg chg="mod">
          <ac:chgData name="Cornago, Fernando" userId="048a41c0-cb7a-447c-b2ac-f7c7348706e9" providerId="ADAL" clId="{9A5DB92F-12BF-B84C-BF79-2D8D18E29C35}" dt="2021-04-30T15:32:44.352" v="746"/>
          <ac:spMkLst>
            <pc:docMk/>
            <pc:sldMk cId="1515118004" sldId="2134806428"/>
            <ac:spMk id="95" creationId="{88F2D545-836B-44F4-A064-C3464BF019D0}"/>
          </ac:spMkLst>
        </pc:spChg>
        <pc:spChg chg="mod">
          <ac:chgData name="Cornago, Fernando" userId="048a41c0-cb7a-447c-b2ac-f7c7348706e9" providerId="ADAL" clId="{9A5DB92F-12BF-B84C-BF79-2D8D18E29C35}" dt="2021-04-30T15:32:44.352" v="746"/>
          <ac:spMkLst>
            <pc:docMk/>
            <pc:sldMk cId="1515118004" sldId="2134806428"/>
            <ac:spMk id="102" creationId="{9C6B7F4E-3FED-460F-9F3D-BEAAEEACA85B}"/>
          </ac:spMkLst>
        </pc:spChg>
        <pc:spChg chg="mod">
          <ac:chgData name="Cornago, Fernando" userId="048a41c0-cb7a-447c-b2ac-f7c7348706e9" providerId="ADAL" clId="{9A5DB92F-12BF-B84C-BF79-2D8D18E29C35}" dt="2021-04-30T15:32:44.352" v="746"/>
          <ac:spMkLst>
            <pc:docMk/>
            <pc:sldMk cId="1515118004" sldId="2134806428"/>
            <ac:spMk id="103" creationId="{9EDCBF3D-C186-44CE-AB19-995EA7EA5496}"/>
          </ac:spMkLst>
        </pc:spChg>
        <pc:spChg chg="mod">
          <ac:chgData name="Cornago, Fernando" userId="048a41c0-cb7a-447c-b2ac-f7c7348706e9" providerId="ADAL" clId="{9A5DB92F-12BF-B84C-BF79-2D8D18E29C35}" dt="2021-04-30T15:32:44.352" v="746"/>
          <ac:spMkLst>
            <pc:docMk/>
            <pc:sldMk cId="1515118004" sldId="2134806428"/>
            <ac:spMk id="104" creationId="{AD85C82E-D930-46E4-9935-B42BB31A24A5}"/>
          </ac:spMkLst>
        </pc:spChg>
        <pc:spChg chg="mod">
          <ac:chgData name="Cornago, Fernando" userId="048a41c0-cb7a-447c-b2ac-f7c7348706e9" providerId="ADAL" clId="{9A5DB92F-12BF-B84C-BF79-2D8D18E29C35}" dt="2021-04-30T15:32:44.352" v="746"/>
          <ac:spMkLst>
            <pc:docMk/>
            <pc:sldMk cId="1515118004" sldId="2134806428"/>
            <ac:spMk id="107" creationId="{B72D6374-F117-4C96-A5D2-381A66F8A1DE}"/>
          </ac:spMkLst>
        </pc:spChg>
        <pc:spChg chg="mod">
          <ac:chgData name="Cornago, Fernando" userId="048a41c0-cb7a-447c-b2ac-f7c7348706e9" providerId="ADAL" clId="{9A5DB92F-12BF-B84C-BF79-2D8D18E29C35}" dt="2021-04-30T15:32:44.352" v="746"/>
          <ac:spMkLst>
            <pc:docMk/>
            <pc:sldMk cId="1515118004" sldId="2134806428"/>
            <ac:spMk id="109" creationId="{7746873B-702F-4D09-B12D-496A21426D09}"/>
          </ac:spMkLst>
        </pc:spChg>
        <pc:spChg chg="mod">
          <ac:chgData name="Cornago, Fernando" userId="048a41c0-cb7a-447c-b2ac-f7c7348706e9" providerId="ADAL" clId="{9A5DB92F-12BF-B84C-BF79-2D8D18E29C35}" dt="2021-04-30T15:32:44.352" v="746"/>
          <ac:spMkLst>
            <pc:docMk/>
            <pc:sldMk cId="1515118004" sldId="2134806428"/>
            <ac:spMk id="111" creationId="{6E693736-0971-48F8-B384-25325CBFC388}"/>
          </ac:spMkLst>
        </pc:spChg>
        <pc:spChg chg="mod">
          <ac:chgData name="Cornago, Fernando" userId="048a41c0-cb7a-447c-b2ac-f7c7348706e9" providerId="ADAL" clId="{9A5DB92F-12BF-B84C-BF79-2D8D18E29C35}" dt="2021-04-30T15:32:44.352" v="746"/>
          <ac:spMkLst>
            <pc:docMk/>
            <pc:sldMk cId="1515118004" sldId="2134806428"/>
            <ac:spMk id="113" creationId="{81D3F2EA-9CAA-4CFD-A19F-2D75205848A0}"/>
          </ac:spMkLst>
        </pc:spChg>
        <pc:spChg chg="mod">
          <ac:chgData name="Cornago, Fernando" userId="048a41c0-cb7a-447c-b2ac-f7c7348706e9" providerId="ADAL" clId="{9A5DB92F-12BF-B84C-BF79-2D8D18E29C35}" dt="2021-04-30T15:32:44.352" v="746"/>
          <ac:spMkLst>
            <pc:docMk/>
            <pc:sldMk cId="1515118004" sldId="2134806428"/>
            <ac:spMk id="114" creationId="{911287DD-D5D7-4C5D-BDA2-1DB1FA7FD747}"/>
          </ac:spMkLst>
        </pc:spChg>
        <pc:spChg chg="mod">
          <ac:chgData name="Cornago, Fernando" userId="048a41c0-cb7a-447c-b2ac-f7c7348706e9" providerId="ADAL" clId="{9A5DB92F-12BF-B84C-BF79-2D8D18E29C35}" dt="2021-04-30T15:32:44.352" v="746"/>
          <ac:spMkLst>
            <pc:docMk/>
            <pc:sldMk cId="1515118004" sldId="2134806428"/>
            <ac:spMk id="118" creationId="{CD999BE8-3EBD-48E0-B0FA-A629B2F57D0B}"/>
          </ac:spMkLst>
        </pc:spChg>
        <pc:spChg chg="mod">
          <ac:chgData name="Cornago, Fernando" userId="048a41c0-cb7a-447c-b2ac-f7c7348706e9" providerId="ADAL" clId="{9A5DB92F-12BF-B84C-BF79-2D8D18E29C35}" dt="2021-04-30T15:32:44.352" v="746"/>
          <ac:spMkLst>
            <pc:docMk/>
            <pc:sldMk cId="1515118004" sldId="2134806428"/>
            <ac:spMk id="121" creationId="{F638B0C5-F568-49F9-902A-ED48A0FFA943}"/>
          </ac:spMkLst>
        </pc:spChg>
        <pc:spChg chg="mod">
          <ac:chgData name="Cornago, Fernando" userId="048a41c0-cb7a-447c-b2ac-f7c7348706e9" providerId="ADAL" clId="{9A5DB92F-12BF-B84C-BF79-2D8D18E29C35}" dt="2021-04-30T15:32:44.352" v="746"/>
          <ac:spMkLst>
            <pc:docMk/>
            <pc:sldMk cId="1515118004" sldId="2134806428"/>
            <ac:spMk id="122" creationId="{8143F36B-DD1F-4FC5-8876-C774212171AF}"/>
          </ac:spMkLst>
        </pc:spChg>
        <pc:spChg chg="mod">
          <ac:chgData name="Cornago, Fernando" userId="048a41c0-cb7a-447c-b2ac-f7c7348706e9" providerId="ADAL" clId="{9A5DB92F-12BF-B84C-BF79-2D8D18E29C35}" dt="2021-04-30T15:32:44.352" v="746"/>
          <ac:spMkLst>
            <pc:docMk/>
            <pc:sldMk cId="1515118004" sldId="2134806428"/>
            <ac:spMk id="123" creationId="{5C401F10-2656-4F58-82C5-1EB38575AC4C}"/>
          </ac:spMkLst>
        </pc:spChg>
        <pc:spChg chg="mod">
          <ac:chgData name="Cornago, Fernando" userId="048a41c0-cb7a-447c-b2ac-f7c7348706e9" providerId="ADAL" clId="{9A5DB92F-12BF-B84C-BF79-2D8D18E29C35}" dt="2021-04-30T15:32:44.352" v="746"/>
          <ac:spMkLst>
            <pc:docMk/>
            <pc:sldMk cId="1515118004" sldId="2134806428"/>
            <ac:spMk id="124" creationId="{C3A7CAC5-0E49-4B7F-9EEF-42C950F2B60C}"/>
          </ac:spMkLst>
        </pc:spChg>
        <pc:spChg chg="mod">
          <ac:chgData name="Cornago, Fernando" userId="048a41c0-cb7a-447c-b2ac-f7c7348706e9" providerId="ADAL" clId="{9A5DB92F-12BF-B84C-BF79-2D8D18E29C35}" dt="2021-04-30T15:32:44.352" v="746"/>
          <ac:spMkLst>
            <pc:docMk/>
            <pc:sldMk cId="1515118004" sldId="2134806428"/>
            <ac:spMk id="125" creationId="{AC65C4E2-7343-4246-8C0E-C140360DE683}"/>
          </ac:spMkLst>
        </pc:spChg>
        <pc:grpChg chg="mod">
          <ac:chgData name="Cornago, Fernando" userId="048a41c0-cb7a-447c-b2ac-f7c7348706e9" providerId="ADAL" clId="{9A5DB92F-12BF-B84C-BF79-2D8D18E29C35}" dt="2021-04-30T15:32:44.352" v="746"/>
          <ac:grpSpMkLst>
            <pc:docMk/>
            <pc:sldMk cId="1515118004" sldId="2134806428"/>
            <ac:grpSpMk id="1" creationId="{00000000-0000-0000-0000-000000000000}"/>
          </ac:grpSpMkLst>
        </pc:grpChg>
        <pc:grpChg chg="mod">
          <ac:chgData name="Cornago, Fernando" userId="048a41c0-cb7a-447c-b2ac-f7c7348706e9" providerId="ADAL" clId="{9A5DB92F-12BF-B84C-BF79-2D8D18E29C35}" dt="2021-04-30T15:32:44.352" v="746"/>
          <ac:grpSpMkLst>
            <pc:docMk/>
            <pc:sldMk cId="1515118004" sldId="2134806428"/>
            <ac:grpSpMk id="15" creationId="{8968A5D6-6912-4111-9A4A-DF80C1BA6EBD}"/>
          </ac:grpSpMkLst>
        </pc:grpChg>
        <pc:grpChg chg="mod">
          <ac:chgData name="Cornago, Fernando" userId="048a41c0-cb7a-447c-b2ac-f7c7348706e9" providerId="ADAL" clId="{9A5DB92F-12BF-B84C-BF79-2D8D18E29C35}" dt="2021-04-30T15:32:44.352" v="746"/>
          <ac:grpSpMkLst>
            <pc:docMk/>
            <pc:sldMk cId="1515118004" sldId="2134806428"/>
            <ac:grpSpMk id="49" creationId="{20CD95F7-0AA2-4CE8-AF9D-AC8952EDECA3}"/>
          </ac:grpSpMkLst>
        </pc:grpChg>
        <pc:grpChg chg="mod">
          <ac:chgData name="Cornago, Fernando" userId="048a41c0-cb7a-447c-b2ac-f7c7348706e9" providerId="ADAL" clId="{9A5DB92F-12BF-B84C-BF79-2D8D18E29C35}" dt="2021-04-30T15:32:44.352" v="746"/>
          <ac:grpSpMkLst>
            <pc:docMk/>
            <pc:sldMk cId="1515118004" sldId="2134806428"/>
            <ac:grpSpMk id="76" creationId="{5638D29A-FD24-FD41-AD45-AE90B9ACF463}"/>
          </ac:grpSpMkLst>
        </pc:grpChg>
        <pc:graphicFrameChg chg="mod">
          <ac:chgData name="Cornago, Fernando" userId="048a41c0-cb7a-447c-b2ac-f7c7348706e9" providerId="ADAL" clId="{9A5DB92F-12BF-B84C-BF79-2D8D18E29C35}" dt="2021-04-30T15:32:44.352" v="746"/>
          <ac:graphicFrameMkLst>
            <pc:docMk/>
            <pc:sldMk cId="1515118004" sldId="2134806428"/>
            <ac:graphicFrameMk id="55" creationId="{843CAEEF-A236-472A-84E5-A5DB6F2E2199}"/>
          </ac:graphicFrameMkLst>
        </pc:graphicFrameChg>
        <pc:picChg chg="mod">
          <ac:chgData name="Cornago, Fernando" userId="048a41c0-cb7a-447c-b2ac-f7c7348706e9" providerId="ADAL" clId="{9A5DB92F-12BF-B84C-BF79-2D8D18E29C35}" dt="2021-04-30T15:32:44.352" v="746"/>
          <ac:picMkLst>
            <pc:docMk/>
            <pc:sldMk cId="1515118004" sldId="2134806428"/>
            <ac:picMk id="42" creationId="{BB6C55BB-1AA5-4F48-8BC6-17C6CD283B55}"/>
          </ac:picMkLst>
        </pc:picChg>
        <pc:picChg chg="mod">
          <ac:chgData name="Cornago, Fernando" userId="048a41c0-cb7a-447c-b2ac-f7c7348706e9" providerId="ADAL" clId="{9A5DB92F-12BF-B84C-BF79-2D8D18E29C35}" dt="2021-04-30T15:32:44.352" v="746"/>
          <ac:picMkLst>
            <pc:docMk/>
            <pc:sldMk cId="1515118004" sldId="2134806428"/>
            <ac:picMk id="43" creationId="{8C0A47A9-BCB3-41C0-93CD-1EA1B1637A84}"/>
          </ac:picMkLst>
        </pc:picChg>
        <pc:cxnChg chg="mod">
          <ac:chgData name="Cornago, Fernando" userId="048a41c0-cb7a-447c-b2ac-f7c7348706e9" providerId="ADAL" clId="{9A5DB92F-12BF-B84C-BF79-2D8D18E29C35}" dt="2021-04-30T15:32:44.352" v="746"/>
          <ac:cxnSpMkLst>
            <pc:docMk/>
            <pc:sldMk cId="1515118004" sldId="2134806428"/>
            <ac:cxnSpMk id="11" creationId="{5875A00D-759F-4D73-AF41-ED776BB86E5B}"/>
          </ac:cxnSpMkLst>
        </pc:cxnChg>
        <pc:cxnChg chg="mod">
          <ac:chgData name="Cornago, Fernando" userId="048a41c0-cb7a-447c-b2ac-f7c7348706e9" providerId="ADAL" clId="{9A5DB92F-12BF-B84C-BF79-2D8D18E29C35}" dt="2021-04-30T15:32:44.352" v="746"/>
          <ac:cxnSpMkLst>
            <pc:docMk/>
            <pc:sldMk cId="1515118004" sldId="2134806428"/>
            <ac:cxnSpMk id="30" creationId="{4A18478A-383C-44D1-AEC8-3E8DF69A78ED}"/>
          </ac:cxnSpMkLst>
        </pc:cxnChg>
        <pc:cxnChg chg="mod">
          <ac:chgData name="Cornago, Fernando" userId="048a41c0-cb7a-447c-b2ac-f7c7348706e9" providerId="ADAL" clId="{9A5DB92F-12BF-B84C-BF79-2D8D18E29C35}" dt="2021-04-30T15:32:44.352" v="746"/>
          <ac:cxnSpMkLst>
            <pc:docMk/>
            <pc:sldMk cId="1515118004" sldId="2134806428"/>
            <ac:cxnSpMk id="82" creationId="{BD949F58-8AA2-F04F-A27E-F874B916AA1C}"/>
          </ac:cxnSpMkLst>
        </pc:cxnChg>
        <pc:cxnChg chg="mod">
          <ac:chgData name="Cornago, Fernando" userId="048a41c0-cb7a-447c-b2ac-f7c7348706e9" providerId="ADAL" clId="{9A5DB92F-12BF-B84C-BF79-2D8D18E29C35}" dt="2021-04-30T15:32:44.352" v="746"/>
          <ac:cxnSpMkLst>
            <pc:docMk/>
            <pc:sldMk cId="1515118004" sldId="2134806428"/>
            <ac:cxnSpMk id="83" creationId="{B4DF299B-EB37-4F44-BC94-AA2F007D8500}"/>
          </ac:cxnSpMkLst>
        </pc:cxnChg>
        <pc:cxnChg chg="mod">
          <ac:chgData name="Cornago, Fernando" userId="048a41c0-cb7a-447c-b2ac-f7c7348706e9" providerId="ADAL" clId="{9A5DB92F-12BF-B84C-BF79-2D8D18E29C35}" dt="2021-04-30T15:32:44.352" v="746"/>
          <ac:cxnSpMkLst>
            <pc:docMk/>
            <pc:sldMk cId="1515118004" sldId="2134806428"/>
            <ac:cxnSpMk id="96" creationId="{3552E3E3-C970-4B21-9D57-08B4A86680BC}"/>
          </ac:cxnSpMkLst>
        </pc:cxnChg>
        <pc:cxnChg chg="mod">
          <ac:chgData name="Cornago, Fernando" userId="048a41c0-cb7a-447c-b2ac-f7c7348706e9" providerId="ADAL" clId="{9A5DB92F-12BF-B84C-BF79-2D8D18E29C35}" dt="2021-04-30T15:32:44.352" v="746"/>
          <ac:cxnSpMkLst>
            <pc:docMk/>
            <pc:sldMk cId="1515118004" sldId="2134806428"/>
            <ac:cxnSpMk id="97" creationId="{06E99288-11AA-4387-8089-17A657B67B87}"/>
          </ac:cxnSpMkLst>
        </pc:cxnChg>
        <pc:cxnChg chg="mod">
          <ac:chgData name="Cornago, Fernando" userId="048a41c0-cb7a-447c-b2ac-f7c7348706e9" providerId="ADAL" clId="{9A5DB92F-12BF-B84C-BF79-2D8D18E29C35}" dt="2021-04-30T15:32:44.352" v="746"/>
          <ac:cxnSpMkLst>
            <pc:docMk/>
            <pc:sldMk cId="1515118004" sldId="2134806428"/>
            <ac:cxnSpMk id="99" creationId="{F7647136-E0B5-4DB8-92A1-E86937CD3E54}"/>
          </ac:cxnSpMkLst>
        </pc:cxnChg>
        <pc:cxnChg chg="mod">
          <ac:chgData name="Cornago, Fernando" userId="048a41c0-cb7a-447c-b2ac-f7c7348706e9" providerId="ADAL" clId="{9A5DB92F-12BF-B84C-BF79-2D8D18E29C35}" dt="2021-04-30T15:32:44.352" v="746"/>
          <ac:cxnSpMkLst>
            <pc:docMk/>
            <pc:sldMk cId="1515118004" sldId="2134806428"/>
            <ac:cxnSpMk id="100" creationId="{72422448-8A39-45A7-AA80-C7FF3F0B1CEA}"/>
          </ac:cxnSpMkLst>
        </pc:cxnChg>
        <pc:cxnChg chg="mod">
          <ac:chgData name="Cornago, Fernando" userId="048a41c0-cb7a-447c-b2ac-f7c7348706e9" providerId="ADAL" clId="{9A5DB92F-12BF-B84C-BF79-2D8D18E29C35}" dt="2021-04-30T15:32:44.352" v="746"/>
          <ac:cxnSpMkLst>
            <pc:docMk/>
            <pc:sldMk cId="1515118004" sldId="2134806428"/>
            <ac:cxnSpMk id="101" creationId="{1EA516F6-A385-4C4E-B9CB-B454AC9A6BC2}"/>
          </ac:cxnSpMkLst>
        </pc:cxnChg>
        <pc:cxnChg chg="mod">
          <ac:chgData name="Cornago, Fernando" userId="048a41c0-cb7a-447c-b2ac-f7c7348706e9" providerId="ADAL" clId="{9A5DB92F-12BF-B84C-BF79-2D8D18E29C35}" dt="2021-04-30T15:32:44.352" v="746"/>
          <ac:cxnSpMkLst>
            <pc:docMk/>
            <pc:sldMk cId="1515118004" sldId="2134806428"/>
            <ac:cxnSpMk id="119" creationId="{89219156-A8C0-4568-8F66-FBDE8213A748}"/>
          </ac:cxnSpMkLst>
        </pc:cxnChg>
      </pc:sldChg>
      <pc:sldChg chg="del">
        <pc:chgData name="Cornago, Fernando" userId="048a41c0-cb7a-447c-b2ac-f7c7348706e9" providerId="ADAL" clId="{9A5DB92F-12BF-B84C-BF79-2D8D18E29C35}" dt="2021-05-04T07:12:42.768" v="3025" actId="2696"/>
        <pc:sldMkLst>
          <pc:docMk/>
          <pc:sldMk cId="1070377807" sldId="2134806430"/>
        </pc:sldMkLst>
      </pc:sldChg>
      <pc:sldChg chg="addSp modSp add del mod">
        <pc:chgData name="Cornago, Fernando" userId="048a41c0-cb7a-447c-b2ac-f7c7348706e9" providerId="ADAL" clId="{9A5DB92F-12BF-B84C-BF79-2D8D18E29C35}" dt="2021-05-02T08:04:01.047" v="1281" actId="2696"/>
        <pc:sldMkLst>
          <pc:docMk/>
          <pc:sldMk cId="4265591609" sldId="2134806431"/>
        </pc:sldMkLst>
        <pc:spChg chg="mod">
          <ac:chgData name="Cornago, Fernando" userId="048a41c0-cb7a-447c-b2ac-f7c7348706e9" providerId="ADAL" clId="{9A5DB92F-12BF-B84C-BF79-2D8D18E29C35}" dt="2021-04-29T14:47:33.018" v="344" actId="20577"/>
          <ac:spMkLst>
            <pc:docMk/>
            <pc:sldMk cId="4265591609" sldId="2134806431"/>
            <ac:spMk id="3" creationId="{8F7914F7-F970-954E-B469-3B2289725500}"/>
          </ac:spMkLst>
        </pc:spChg>
        <pc:picChg chg="add mod">
          <ac:chgData name="Cornago, Fernando" userId="048a41c0-cb7a-447c-b2ac-f7c7348706e9" providerId="ADAL" clId="{9A5DB92F-12BF-B84C-BF79-2D8D18E29C35}" dt="2021-04-30T15:40:28.744" v="769" actId="167"/>
          <ac:picMkLst>
            <pc:docMk/>
            <pc:sldMk cId="4265591609" sldId="2134806431"/>
            <ac:picMk id="4" creationId="{31DB8554-F20D-FF47-AEB3-928B306DF9BA}"/>
          </ac:picMkLst>
        </pc:picChg>
      </pc:sldChg>
      <pc:sldChg chg="addSp modSp add del mod modNotesTx">
        <pc:chgData name="Cornago, Fernando" userId="048a41c0-cb7a-447c-b2ac-f7c7348706e9" providerId="ADAL" clId="{9A5DB92F-12BF-B84C-BF79-2D8D18E29C35}" dt="2021-05-04T07:24:40.658" v="4119" actId="2696"/>
        <pc:sldMkLst>
          <pc:docMk/>
          <pc:sldMk cId="743967386" sldId="2134806432"/>
        </pc:sldMkLst>
        <pc:spChg chg="mod">
          <ac:chgData name="Cornago, Fernando" userId="048a41c0-cb7a-447c-b2ac-f7c7348706e9" providerId="ADAL" clId="{9A5DB92F-12BF-B84C-BF79-2D8D18E29C35}" dt="2021-04-29T14:47:50.564" v="383" actId="20577"/>
          <ac:spMkLst>
            <pc:docMk/>
            <pc:sldMk cId="743967386" sldId="2134806432"/>
            <ac:spMk id="3" creationId="{8F7914F7-F970-954E-B469-3B2289725500}"/>
          </ac:spMkLst>
        </pc:spChg>
        <pc:picChg chg="add mod">
          <ac:chgData name="Cornago, Fernando" userId="048a41c0-cb7a-447c-b2ac-f7c7348706e9" providerId="ADAL" clId="{9A5DB92F-12BF-B84C-BF79-2D8D18E29C35}" dt="2021-04-30T16:10:11.133" v="772" actId="962"/>
          <ac:picMkLst>
            <pc:docMk/>
            <pc:sldMk cId="743967386" sldId="2134806432"/>
            <ac:picMk id="4" creationId="{D4E7637E-A544-F14E-B539-4A782B514B29}"/>
          </ac:picMkLst>
        </pc:picChg>
      </pc:sldChg>
      <pc:sldChg chg="addSp delSp modSp add del mod">
        <pc:chgData name="Cornago, Fernando" userId="048a41c0-cb7a-447c-b2ac-f7c7348706e9" providerId="ADAL" clId="{9A5DB92F-12BF-B84C-BF79-2D8D18E29C35}" dt="2021-05-04T07:24:40.658" v="4119" actId="2696"/>
        <pc:sldMkLst>
          <pc:docMk/>
          <pc:sldMk cId="289312590" sldId="2134806433"/>
        </pc:sldMkLst>
        <pc:spChg chg="del mod">
          <ac:chgData name="Cornago, Fernando" userId="048a41c0-cb7a-447c-b2ac-f7c7348706e9" providerId="ADAL" clId="{9A5DB92F-12BF-B84C-BF79-2D8D18E29C35}" dt="2021-05-02T10:18:22.358" v="2065" actId="478"/>
          <ac:spMkLst>
            <pc:docMk/>
            <pc:sldMk cId="289312590" sldId="2134806433"/>
            <ac:spMk id="3" creationId="{8F7914F7-F970-954E-B469-3B2289725500}"/>
          </ac:spMkLst>
        </pc:spChg>
        <pc:spChg chg="add del mod">
          <ac:chgData name="Cornago, Fernando" userId="048a41c0-cb7a-447c-b2ac-f7c7348706e9" providerId="ADAL" clId="{9A5DB92F-12BF-B84C-BF79-2D8D18E29C35}" dt="2021-05-02T10:18:42.545" v="2071"/>
          <ac:spMkLst>
            <pc:docMk/>
            <pc:sldMk cId="289312590" sldId="2134806433"/>
            <ac:spMk id="5" creationId="{CE00EC2F-BAF3-CA42-9A1C-152A3DE363D5}"/>
          </ac:spMkLst>
        </pc:spChg>
        <pc:spChg chg="add mod">
          <ac:chgData name="Cornago, Fernando" userId="048a41c0-cb7a-447c-b2ac-f7c7348706e9" providerId="ADAL" clId="{9A5DB92F-12BF-B84C-BF79-2D8D18E29C35}" dt="2021-05-02T13:50:11.560" v="2505" actId="20577"/>
          <ac:spMkLst>
            <pc:docMk/>
            <pc:sldMk cId="289312590" sldId="2134806433"/>
            <ac:spMk id="6" creationId="{E04A1D67-0EEF-F548-83E5-3BCCEC8C2454}"/>
          </ac:spMkLst>
        </pc:spChg>
        <pc:spChg chg="add mod">
          <ac:chgData name="Cornago, Fernando" userId="048a41c0-cb7a-447c-b2ac-f7c7348706e9" providerId="ADAL" clId="{9A5DB92F-12BF-B84C-BF79-2D8D18E29C35}" dt="2021-05-02T13:57:23.961" v="2948" actId="108"/>
          <ac:spMkLst>
            <pc:docMk/>
            <pc:sldMk cId="289312590" sldId="2134806433"/>
            <ac:spMk id="7" creationId="{A3CA62FD-BC02-4C41-AAA4-749B657C4369}"/>
          </ac:spMkLst>
        </pc:spChg>
        <pc:spChg chg="add mod">
          <ac:chgData name="Cornago, Fernando" userId="048a41c0-cb7a-447c-b2ac-f7c7348706e9" providerId="ADAL" clId="{9A5DB92F-12BF-B84C-BF79-2D8D18E29C35}" dt="2021-05-02T13:57:28.746" v="2949" actId="108"/>
          <ac:spMkLst>
            <pc:docMk/>
            <pc:sldMk cId="289312590" sldId="2134806433"/>
            <ac:spMk id="8" creationId="{8BC17CD2-F1C1-6A49-ADC4-317D5C69CAD5}"/>
          </ac:spMkLst>
        </pc:spChg>
        <pc:picChg chg="add mod modCrop">
          <ac:chgData name="Cornago, Fernando" userId="048a41c0-cb7a-447c-b2ac-f7c7348706e9" providerId="ADAL" clId="{9A5DB92F-12BF-B84C-BF79-2D8D18E29C35}" dt="2021-05-02T19:11:28.977" v="3024" actId="1076"/>
          <ac:picMkLst>
            <pc:docMk/>
            <pc:sldMk cId="289312590" sldId="2134806433"/>
            <ac:picMk id="2" creationId="{A432CB93-E000-A743-AE60-BC4850E18542}"/>
          </ac:picMkLst>
        </pc:picChg>
        <pc:picChg chg="add mod modCrop">
          <ac:chgData name="Cornago, Fernando" userId="048a41c0-cb7a-447c-b2ac-f7c7348706e9" providerId="ADAL" clId="{9A5DB92F-12BF-B84C-BF79-2D8D18E29C35}" dt="2021-05-02T13:51:46.046" v="2636" actId="1076"/>
          <ac:picMkLst>
            <pc:docMk/>
            <pc:sldMk cId="289312590" sldId="2134806433"/>
            <ac:picMk id="4" creationId="{329A74D1-E678-3247-99DD-5C432960E739}"/>
          </ac:picMkLst>
        </pc:picChg>
      </pc:sldChg>
      <pc:sldChg chg="addSp delSp modSp add del mod">
        <pc:chgData name="Cornago, Fernando" userId="048a41c0-cb7a-447c-b2ac-f7c7348706e9" providerId="ADAL" clId="{9A5DB92F-12BF-B84C-BF79-2D8D18E29C35}" dt="2021-05-04T07:24:40.658" v="4119" actId="2696"/>
        <pc:sldMkLst>
          <pc:docMk/>
          <pc:sldMk cId="216162378" sldId="2134806434"/>
        </pc:sldMkLst>
        <pc:spChg chg="mod">
          <ac:chgData name="Cornago, Fernando" userId="048a41c0-cb7a-447c-b2ac-f7c7348706e9" providerId="ADAL" clId="{9A5DB92F-12BF-B84C-BF79-2D8D18E29C35}" dt="2021-04-29T14:48:42.304" v="486" actId="20577"/>
          <ac:spMkLst>
            <pc:docMk/>
            <pc:sldMk cId="216162378" sldId="2134806434"/>
            <ac:spMk id="3" creationId="{8F7914F7-F970-954E-B469-3B2289725500}"/>
          </ac:spMkLst>
        </pc:spChg>
        <pc:spChg chg="add del mod">
          <ac:chgData name="Cornago, Fernando" userId="048a41c0-cb7a-447c-b2ac-f7c7348706e9" providerId="ADAL" clId="{9A5DB92F-12BF-B84C-BF79-2D8D18E29C35}" dt="2021-04-30T15:39:57.389" v="765" actId="478"/>
          <ac:spMkLst>
            <pc:docMk/>
            <pc:sldMk cId="216162378" sldId="2134806434"/>
            <ac:spMk id="4" creationId="{5E40D12B-68AA-5C4E-BC44-DBC1C6F837C7}"/>
          </ac:spMkLst>
        </pc:spChg>
        <pc:spChg chg="add del mod">
          <ac:chgData name="Cornago, Fernando" userId="048a41c0-cb7a-447c-b2ac-f7c7348706e9" providerId="ADAL" clId="{9A5DB92F-12BF-B84C-BF79-2D8D18E29C35}" dt="2021-04-30T15:39:58.967" v="766" actId="478"/>
          <ac:spMkLst>
            <pc:docMk/>
            <pc:sldMk cId="216162378" sldId="2134806434"/>
            <ac:spMk id="5" creationId="{E0043F1E-8196-B84A-BCDB-703F890E59C8}"/>
          </ac:spMkLst>
        </pc:spChg>
        <pc:spChg chg="add del mod">
          <ac:chgData name="Cornago, Fernando" userId="048a41c0-cb7a-447c-b2ac-f7c7348706e9" providerId="ADAL" clId="{9A5DB92F-12BF-B84C-BF79-2D8D18E29C35}" dt="2021-04-30T15:39:59.712" v="767" actId="478"/>
          <ac:spMkLst>
            <pc:docMk/>
            <pc:sldMk cId="216162378" sldId="2134806434"/>
            <ac:spMk id="6" creationId="{6685C3B2-3942-CA44-AED6-F9A4931520EC}"/>
          </ac:spMkLst>
        </pc:spChg>
      </pc:sldChg>
      <pc:sldChg chg="addSp delSp modSp add del mod setBg addAnim delAnim setClrOvrMap">
        <pc:chgData name="Cornago, Fernando" userId="048a41c0-cb7a-447c-b2ac-f7c7348706e9" providerId="ADAL" clId="{9A5DB92F-12BF-B84C-BF79-2D8D18E29C35}" dt="2021-05-04T07:24:40.658" v="4119" actId="2696"/>
        <pc:sldMkLst>
          <pc:docMk/>
          <pc:sldMk cId="3164473560" sldId="2134806435"/>
        </pc:sldMkLst>
        <pc:spChg chg="add del mod">
          <ac:chgData name="Cornago, Fernando" userId="048a41c0-cb7a-447c-b2ac-f7c7348706e9" providerId="ADAL" clId="{9A5DB92F-12BF-B84C-BF79-2D8D18E29C35}" dt="2021-05-02T09:38:52.400" v="1952" actId="478"/>
          <ac:spMkLst>
            <pc:docMk/>
            <pc:sldMk cId="3164473560" sldId="2134806435"/>
            <ac:spMk id="2" creationId="{F88C6FAE-A0F4-5F42-9404-871E646847B4}"/>
          </ac:spMkLst>
        </pc:spChg>
        <pc:spChg chg="mod ord">
          <ac:chgData name="Cornago, Fernando" userId="048a41c0-cb7a-447c-b2ac-f7c7348706e9" providerId="ADAL" clId="{9A5DB92F-12BF-B84C-BF79-2D8D18E29C35}" dt="2021-05-02T09:37:28.509" v="1950" actId="122"/>
          <ac:spMkLst>
            <pc:docMk/>
            <pc:sldMk cId="3164473560" sldId="2134806435"/>
            <ac:spMk id="3" creationId="{8F7914F7-F970-954E-B469-3B2289725500}"/>
          </ac:spMkLst>
        </pc:spChg>
        <pc:spChg chg="add mod">
          <ac:chgData name="Cornago, Fernando" userId="048a41c0-cb7a-447c-b2ac-f7c7348706e9" providerId="ADAL" clId="{9A5DB92F-12BF-B84C-BF79-2D8D18E29C35}" dt="2021-05-02T09:40:48.643" v="1973" actId="1076"/>
          <ac:spMkLst>
            <pc:docMk/>
            <pc:sldMk cId="3164473560" sldId="2134806435"/>
            <ac:spMk id="5" creationId="{F5707DBC-E3D1-7647-8272-EC0D67CF11E9}"/>
          </ac:spMkLst>
        </pc:spChg>
        <pc:spChg chg="add mod">
          <ac:chgData name="Cornago, Fernando" userId="048a41c0-cb7a-447c-b2ac-f7c7348706e9" providerId="ADAL" clId="{9A5DB92F-12BF-B84C-BF79-2D8D18E29C35}" dt="2021-05-02T09:40:58.964" v="1979" actId="1076"/>
          <ac:spMkLst>
            <pc:docMk/>
            <pc:sldMk cId="3164473560" sldId="2134806435"/>
            <ac:spMk id="12" creationId="{049C17A5-EF14-6646-8583-1043B35177D6}"/>
          </ac:spMkLst>
        </pc:spChg>
        <pc:spChg chg="add mod">
          <ac:chgData name="Cornago, Fernando" userId="048a41c0-cb7a-447c-b2ac-f7c7348706e9" providerId="ADAL" clId="{9A5DB92F-12BF-B84C-BF79-2D8D18E29C35}" dt="2021-05-02T09:41:05.284" v="1981" actId="1076"/>
          <ac:spMkLst>
            <pc:docMk/>
            <pc:sldMk cId="3164473560" sldId="2134806435"/>
            <ac:spMk id="13" creationId="{6CD86A72-9825-6B4F-ACEE-4C05862B128D}"/>
          </ac:spMkLst>
        </pc:spChg>
        <pc:spChg chg="add mod">
          <ac:chgData name="Cornago, Fernando" userId="048a41c0-cb7a-447c-b2ac-f7c7348706e9" providerId="ADAL" clId="{9A5DB92F-12BF-B84C-BF79-2D8D18E29C35}" dt="2021-05-02T09:41:09.690" v="1983" actId="1076"/>
          <ac:spMkLst>
            <pc:docMk/>
            <pc:sldMk cId="3164473560" sldId="2134806435"/>
            <ac:spMk id="14" creationId="{9ED67C43-838C-0149-94EA-864551E3DD30}"/>
          </ac:spMkLst>
        </pc:spChg>
        <pc:spChg chg="add mod">
          <ac:chgData name="Cornago, Fernando" userId="048a41c0-cb7a-447c-b2ac-f7c7348706e9" providerId="ADAL" clId="{9A5DB92F-12BF-B84C-BF79-2D8D18E29C35}" dt="2021-05-02T09:41:14.456" v="1985" actId="1076"/>
          <ac:spMkLst>
            <pc:docMk/>
            <pc:sldMk cId="3164473560" sldId="2134806435"/>
            <ac:spMk id="15" creationId="{A472B3D9-94CE-3444-8894-92AA97088616}"/>
          </ac:spMkLst>
        </pc:spChg>
        <pc:spChg chg="add mod">
          <ac:chgData name="Cornago, Fernando" userId="048a41c0-cb7a-447c-b2ac-f7c7348706e9" providerId="ADAL" clId="{9A5DB92F-12BF-B84C-BF79-2D8D18E29C35}" dt="2021-05-02T09:41:19.244" v="1987" actId="1076"/>
          <ac:spMkLst>
            <pc:docMk/>
            <pc:sldMk cId="3164473560" sldId="2134806435"/>
            <ac:spMk id="16" creationId="{1557C8FD-E62C-7F48-B57F-BE72B2D62D04}"/>
          </ac:spMkLst>
        </pc:spChg>
        <pc:spChg chg="add del">
          <ac:chgData name="Cornago, Fernando" userId="048a41c0-cb7a-447c-b2ac-f7c7348706e9" providerId="ADAL" clId="{9A5DB92F-12BF-B84C-BF79-2D8D18E29C35}" dt="2021-05-02T09:36:06.497" v="1934" actId="26606"/>
          <ac:spMkLst>
            <pc:docMk/>
            <pc:sldMk cId="3164473560" sldId="2134806435"/>
            <ac:spMk id="71" creationId="{37C89E4B-3C9F-44B9-8B86-D9E3D112D8EC}"/>
          </ac:spMkLst>
        </pc:spChg>
        <pc:spChg chg="add del">
          <ac:chgData name="Cornago, Fernando" userId="048a41c0-cb7a-447c-b2ac-f7c7348706e9" providerId="ADAL" clId="{9A5DB92F-12BF-B84C-BF79-2D8D18E29C35}" dt="2021-05-02T09:36:06.624" v="1936" actId="26606"/>
          <ac:spMkLst>
            <pc:docMk/>
            <pc:sldMk cId="3164473560" sldId="2134806435"/>
            <ac:spMk id="46084" creationId="{2E614F1C-2D93-42D0-B229-768199449923}"/>
          </ac:spMkLst>
        </pc:spChg>
        <pc:spChg chg="add">
          <ac:chgData name="Cornago, Fernando" userId="048a41c0-cb7a-447c-b2ac-f7c7348706e9" providerId="ADAL" clId="{9A5DB92F-12BF-B84C-BF79-2D8D18E29C35}" dt="2021-05-02T09:36:06.632" v="1937" actId="26606"/>
          <ac:spMkLst>
            <pc:docMk/>
            <pc:sldMk cId="3164473560" sldId="2134806435"/>
            <ac:spMk id="46086" creationId="{E49CC64F-7275-4E33-961B-0C5CDC439875}"/>
          </ac:spMkLst>
        </pc:spChg>
        <pc:picChg chg="add del mod modCrop">
          <ac:chgData name="Cornago, Fernando" userId="048a41c0-cb7a-447c-b2ac-f7c7348706e9" providerId="ADAL" clId="{9A5DB92F-12BF-B84C-BF79-2D8D18E29C35}" dt="2021-05-02T09:39:57.527" v="1963"/>
          <ac:picMkLst>
            <pc:docMk/>
            <pc:sldMk cId="3164473560" sldId="2134806435"/>
            <ac:picMk id="4" creationId="{39648258-61A0-2A4D-9FC5-0F3FA80AC63E}"/>
          </ac:picMkLst>
        </pc:picChg>
        <pc:picChg chg="add mod">
          <ac:chgData name="Cornago, Fernando" userId="048a41c0-cb7a-447c-b2ac-f7c7348706e9" providerId="ADAL" clId="{9A5DB92F-12BF-B84C-BF79-2D8D18E29C35}" dt="2021-05-02T09:36:06.632" v="1937" actId="26606"/>
          <ac:picMkLst>
            <pc:docMk/>
            <pc:sldMk cId="3164473560" sldId="2134806435"/>
            <ac:picMk id="46082" creationId="{4F9348AA-EDCE-FA4D-8531-6310E03E7EF8}"/>
          </ac:picMkLst>
        </pc:picChg>
        <pc:cxnChg chg="add del">
          <ac:chgData name="Cornago, Fernando" userId="048a41c0-cb7a-447c-b2ac-f7c7348706e9" providerId="ADAL" clId="{9A5DB92F-12BF-B84C-BF79-2D8D18E29C35}" dt="2021-05-02T09:36:06.497" v="1934" actId="26606"/>
          <ac:cxnSpMkLst>
            <pc:docMk/>
            <pc:sldMk cId="3164473560" sldId="2134806435"/>
            <ac:cxnSpMk id="73" creationId="{AA2EAA10-076F-46BD-8F0F-B9A2FB77A85C}"/>
          </ac:cxnSpMkLst>
        </pc:cxnChg>
        <pc:cxnChg chg="add del">
          <ac:chgData name="Cornago, Fernando" userId="048a41c0-cb7a-447c-b2ac-f7c7348706e9" providerId="ADAL" clId="{9A5DB92F-12BF-B84C-BF79-2D8D18E29C35}" dt="2021-05-02T09:36:06.497" v="1934" actId="26606"/>
          <ac:cxnSpMkLst>
            <pc:docMk/>
            <pc:sldMk cId="3164473560" sldId="2134806435"/>
            <ac:cxnSpMk id="75" creationId="{D891E407-403B-4764-86C9-33A56D3BCAA3}"/>
          </ac:cxnSpMkLst>
        </pc:cxnChg>
      </pc:sldChg>
      <pc:sldChg chg="add del">
        <pc:chgData name="Cornago, Fernando" userId="048a41c0-cb7a-447c-b2ac-f7c7348706e9" providerId="ADAL" clId="{9A5DB92F-12BF-B84C-BF79-2D8D18E29C35}" dt="2021-04-29T14:49:37.542" v="582" actId="2696"/>
        <pc:sldMkLst>
          <pc:docMk/>
          <pc:sldMk cId="2467870961" sldId="2134806436"/>
        </pc:sldMkLst>
      </pc:sldChg>
      <pc:sldChg chg="modSp add del mod">
        <pc:chgData name="Cornago, Fernando" userId="048a41c0-cb7a-447c-b2ac-f7c7348706e9" providerId="ADAL" clId="{9A5DB92F-12BF-B84C-BF79-2D8D18E29C35}" dt="2021-05-02T07:21:18.064" v="778" actId="2696"/>
        <pc:sldMkLst>
          <pc:docMk/>
          <pc:sldMk cId="3223914588" sldId="2134806437"/>
        </pc:sldMkLst>
        <pc:spChg chg="mod">
          <ac:chgData name="Cornago, Fernando" userId="048a41c0-cb7a-447c-b2ac-f7c7348706e9" providerId="ADAL" clId="{9A5DB92F-12BF-B84C-BF79-2D8D18E29C35}" dt="2021-04-29T14:47:58.855" v="398" actId="20577"/>
          <ac:spMkLst>
            <pc:docMk/>
            <pc:sldMk cId="3223914588" sldId="2134806437"/>
            <ac:spMk id="3" creationId="{8F7914F7-F970-954E-B469-3B2289725500}"/>
          </ac:spMkLst>
        </pc:spChg>
      </pc:sldChg>
      <pc:sldChg chg="modSp add del mod">
        <pc:chgData name="Cornago, Fernando" userId="048a41c0-cb7a-447c-b2ac-f7c7348706e9" providerId="ADAL" clId="{9A5DB92F-12BF-B84C-BF79-2D8D18E29C35}" dt="2021-05-02T08:35:57.513" v="1907" actId="2696"/>
        <pc:sldMkLst>
          <pc:docMk/>
          <pc:sldMk cId="1867300716" sldId="2134806438"/>
        </pc:sldMkLst>
        <pc:spChg chg="mod">
          <ac:chgData name="Cornago, Fernando" userId="048a41c0-cb7a-447c-b2ac-f7c7348706e9" providerId="ADAL" clId="{9A5DB92F-12BF-B84C-BF79-2D8D18E29C35}" dt="2021-04-29T14:48:07.677" v="405" actId="20577"/>
          <ac:spMkLst>
            <pc:docMk/>
            <pc:sldMk cId="1867300716" sldId="2134806438"/>
            <ac:spMk id="3" creationId="{8F7914F7-F970-954E-B469-3B2289725500}"/>
          </ac:spMkLst>
        </pc:spChg>
      </pc:sldChg>
      <pc:sldChg chg="addSp modSp add del mod">
        <pc:chgData name="Cornago, Fernando" userId="048a41c0-cb7a-447c-b2ac-f7c7348706e9" providerId="ADAL" clId="{9A5DB92F-12BF-B84C-BF79-2D8D18E29C35}" dt="2021-05-04T07:24:40.658" v="4119" actId="2696"/>
        <pc:sldMkLst>
          <pc:docMk/>
          <pc:sldMk cId="3732382427" sldId="2134806439"/>
        </pc:sldMkLst>
        <pc:spChg chg="mod">
          <ac:chgData name="Cornago, Fernando" userId="048a41c0-cb7a-447c-b2ac-f7c7348706e9" providerId="ADAL" clId="{9A5DB92F-12BF-B84C-BF79-2D8D18E29C35}" dt="2021-04-29T14:51:07.433" v="640" actId="1076"/>
          <ac:spMkLst>
            <pc:docMk/>
            <pc:sldMk cId="3732382427" sldId="2134806439"/>
            <ac:spMk id="3" creationId="{8F7914F7-F970-954E-B469-3B2289725500}"/>
          </ac:spMkLst>
        </pc:spChg>
        <pc:picChg chg="add mod">
          <ac:chgData name="Cornago, Fernando" userId="048a41c0-cb7a-447c-b2ac-f7c7348706e9" providerId="ADAL" clId="{9A5DB92F-12BF-B84C-BF79-2D8D18E29C35}" dt="2021-04-29T14:50:53.756" v="619" actId="1076"/>
          <ac:picMkLst>
            <pc:docMk/>
            <pc:sldMk cId="3732382427" sldId="2134806439"/>
            <ac:picMk id="39938" creationId="{6B732116-2B2D-0543-A347-F6EFC45B1556}"/>
          </ac:picMkLst>
        </pc:picChg>
      </pc:sldChg>
      <pc:sldChg chg="addSp delSp modSp new del mod">
        <pc:chgData name="Cornago, Fernando" userId="048a41c0-cb7a-447c-b2ac-f7c7348706e9" providerId="ADAL" clId="{9A5DB92F-12BF-B84C-BF79-2D8D18E29C35}" dt="2021-05-02T09:33:33.800" v="1928" actId="2696"/>
        <pc:sldMkLst>
          <pc:docMk/>
          <pc:sldMk cId="3523455829" sldId="2134806440"/>
        </pc:sldMkLst>
        <pc:spChg chg="del">
          <ac:chgData name="Cornago, Fernando" userId="048a41c0-cb7a-447c-b2ac-f7c7348706e9" providerId="ADAL" clId="{9A5DB92F-12BF-B84C-BF79-2D8D18E29C35}" dt="2021-04-29T14:51:47.397" v="664" actId="478"/>
          <ac:spMkLst>
            <pc:docMk/>
            <pc:sldMk cId="3523455829" sldId="2134806440"/>
            <ac:spMk id="2" creationId="{E6776FE9-D7B6-8449-B85E-DE283DE4BD4D}"/>
          </ac:spMkLst>
        </pc:spChg>
        <pc:spChg chg="del">
          <ac:chgData name="Cornago, Fernando" userId="048a41c0-cb7a-447c-b2ac-f7c7348706e9" providerId="ADAL" clId="{9A5DB92F-12BF-B84C-BF79-2D8D18E29C35}" dt="2021-04-29T14:51:49.066" v="665" actId="478"/>
          <ac:spMkLst>
            <pc:docMk/>
            <pc:sldMk cId="3523455829" sldId="2134806440"/>
            <ac:spMk id="3" creationId="{93A57656-4F3E-B146-92DA-6A923FB3F620}"/>
          </ac:spMkLst>
        </pc:spChg>
        <pc:spChg chg="add mod">
          <ac:chgData name="Cornago, Fernando" userId="048a41c0-cb7a-447c-b2ac-f7c7348706e9" providerId="ADAL" clId="{9A5DB92F-12BF-B84C-BF79-2D8D18E29C35}" dt="2021-04-29T14:52:03.715" v="712" actId="20577"/>
          <ac:spMkLst>
            <pc:docMk/>
            <pc:sldMk cId="3523455829" sldId="2134806440"/>
            <ac:spMk id="4" creationId="{BA1DEFB6-0C4D-6E40-B0DE-A843D43DB95B}"/>
          </ac:spMkLst>
        </pc:spChg>
      </pc:sldChg>
      <pc:sldChg chg="modSp new del mod">
        <pc:chgData name="Cornago, Fernando" userId="048a41c0-cb7a-447c-b2ac-f7c7348706e9" providerId="ADAL" clId="{9A5DB92F-12BF-B84C-BF79-2D8D18E29C35}" dt="2021-05-04T07:12:42.768" v="3025" actId="2696"/>
        <pc:sldMkLst>
          <pc:docMk/>
          <pc:sldMk cId="3346513434" sldId="2134806441"/>
        </pc:sldMkLst>
        <pc:spChg chg="mod">
          <ac:chgData name="Cornago, Fernando" userId="048a41c0-cb7a-447c-b2ac-f7c7348706e9" providerId="ADAL" clId="{9A5DB92F-12BF-B84C-BF79-2D8D18E29C35}" dt="2021-04-29T14:52:44.092" v="740" actId="20577"/>
          <ac:spMkLst>
            <pc:docMk/>
            <pc:sldMk cId="3346513434" sldId="2134806441"/>
            <ac:spMk id="2" creationId="{AFCD7B72-895F-144D-B3C8-B15637A7CD9C}"/>
          </ac:spMkLst>
        </pc:spChg>
      </pc:sldChg>
      <pc:sldChg chg="addSp modSp add del mod modTransition modNotesTx">
        <pc:chgData name="Cornago, Fernando" userId="048a41c0-cb7a-447c-b2ac-f7c7348706e9" providerId="ADAL" clId="{9A5DB92F-12BF-B84C-BF79-2D8D18E29C35}" dt="2021-05-04T07:24:40.658" v="4119" actId="2696"/>
        <pc:sldMkLst>
          <pc:docMk/>
          <pc:sldMk cId="2687831318" sldId="2147137824"/>
        </pc:sldMkLst>
        <pc:spChg chg="add mod">
          <ac:chgData name="Cornago, Fernando" userId="048a41c0-cb7a-447c-b2ac-f7c7348706e9" providerId="ADAL" clId="{9A5DB92F-12BF-B84C-BF79-2D8D18E29C35}" dt="2021-05-02T07:56:53.194" v="933" actId="20577"/>
          <ac:spMkLst>
            <pc:docMk/>
            <pc:sldMk cId="2687831318" sldId="2147137824"/>
            <ac:spMk id="3" creationId="{572581ED-9E01-CD4E-BDDD-02BD639A57FD}"/>
          </ac:spMkLst>
        </pc:spChg>
        <pc:spChg chg="add mod">
          <ac:chgData name="Cornago, Fernando" userId="048a41c0-cb7a-447c-b2ac-f7c7348706e9" providerId="ADAL" clId="{9A5DB92F-12BF-B84C-BF79-2D8D18E29C35}" dt="2021-05-02T07:56:56.866" v="934" actId="1076"/>
          <ac:spMkLst>
            <pc:docMk/>
            <pc:sldMk cId="2687831318" sldId="2147137824"/>
            <ac:spMk id="4" creationId="{BCCC1F76-FC51-8241-BF3C-C099A4BD467D}"/>
          </ac:spMkLst>
        </pc:spChg>
      </pc:sldChg>
      <pc:sldChg chg="addSp modSp add del mod modTransition">
        <pc:chgData name="Cornago, Fernando" userId="048a41c0-cb7a-447c-b2ac-f7c7348706e9" providerId="ADAL" clId="{9A5DB92F-12BF-B84C-BF79-2D8D18E29C35}" dt="2021-05-04T07:24:40.658" v="4119" actId="2696"/>
        <pc:sldMkLst>
          <pc:docMk/>
          <pc:sldMk cId="1942678002" sldId="2147137891"/>
        </pc:sldMkLst>
        <pc:picChg chg="add mod modCrop">
          <ac:chgData name="Cornago, Fernando" userId="048a41c0-cb7a-447c-b2ac-f7c7348706e9" providerId="ADAL" clId="{9A5DB92F-12BF-B84C-BF79-2D8D18E29C35}" dt="2021-05-02T09:50:05.831" v="2043" actId="1076"/>
          <ac:picMkLst>
            <pc:docMk/>
            <pc:sldMk cId="1942678002" sldId="2147137891"/>
            <ac:picMk id="3" creationId="{864601F5-B6D8-2144-A85F-69A8B3F07FF3}"/>
          </ac:picMkLst>
        </pc:picChg>
      </pc:sldChg>
      <pc:sldChg chg="add del modTransition">
        <pc:chgData name="Cornago, Fernando" userId="048a41c0-cb7a-447c-b2ac-f7c7348706e9" providerId="ADAL" clId="{9A5DB92F-12BF-B84C-BF79-2D8D18E29C35}" dt="2021-05-04T07:24:40.658" v="4119" actId="2696"/>
        <pc:sldMkLst>
          <pc:docMk/>
          <pc:sldMk cId="3815471648" sldId="2147137914"/>
        </pc:sldMkLst>
      </pc:sldChg>
      <pc:sldChg chg="addSp delSp modSp add del mod">
        <pc:chgData name="Cornago, Fernando" userId="048a41c0-cb7a-447c-b2ac-f7c7348706e9" providerId="ADAL" clId="{9A5DB92F-12BF-B84C-BF79-2D8D18E29C35}" dt="2021-05-02T09:33:35.430" v="1929" actId="2696"/>
        <pc:sldMkLst>
          <pc:docMk/>
          <pc:sldMk cId="586742855" sldId="2147138061"/>
        </pc:sldMkLst>
        <pc:spChg chg="del mod">
          <ac:chgData name="Cornago, Fernando" userId="048a41c0-cb7a-447c-b2ac-f7c7348706e9" providerId="ADAL" clId="{9A5DB92F-12BF-B84C-BF79-2D8D18E29C35}" dt="2021-04-30T15:32:48.440" v="748" actId="478"/>
          <ac:spMkLst>
            <pc:docMk/>
            <pc:sldMk cId="586742855" sldId="2147138061"/>
            <ac:spMk id="4" creationId="{EEF07C82-0F6E-4AB6-8851-53BFC937DCAB}"/>
          </ac:spMkLst>
        </pc:spChg>
        <pc:spChg chg="add del mod">
          <ac:chgData name="Cornago, Fernando" userId="048a41c0-cb7a-447c-b2ac-f7c7348706e9" providerId="ADAL" clId="{9A5DB92F-12BF-B84C-BF79-2D8D18E29C35}" dt="2021-04-30T15:32:50.956" v="749" actId="478"/>
          <ac:spMkLst>
            <pc:docMk/>
            <pc:sldMk cId="586742855" sldId="2147138061"/>
            <ac:spMk id="6" creationId="{CAA1D872-9E79-4541-A753-295B14610B98}"/>
          </ac:spMkLst>
        </pc:spChg>
      </pc:sldChg>
      <pc:sldChg chg="addSp delSp modSp new del mod setBg setClrOvrMap">
        <pc:chgData name="Cornago, Fernando" userId="048a41c0-cb7a-447c-b2ac-f7c7348706e9" providerId="ADAL" clId="{9A5DB92F-12BF-B84C-BF79-2D8D18E29C35}" dt="2021-05-04T07:24:40.658" v="4119" actId="2696"/>
        <pc:sldMkLst>
          <pc:docMk/>
          <pc:sldMk cId="2678512907" sldId="2147138062"/>
        </pc:sldMkLst>
        <pc:spChg chg="del">
          <ac:chgData name="Cornago, Fernando" userId="048a41c0-cb7a-447c-b2ac-f7c7348706e9" providerId="ADAL" clId="{9A5DB92F-12BF-B84C-BF79-2D8D18E29C35}" dt="2021-04-30T15:36:34.377" v="751" actId="478"/>
          <ac:spMkLst>
            <pc:docMk/>
            <pc:sldMk cId="2678512907" sldId="2147138062"/>
            <ac:spMk id="2" creationId="{5A8BEE67-84FC-9D4E-93AF-77E02C83906B}"/>
          </ac:spMkLst>
        </pc:spChg>
        <pc:spChg chg="del">
          <ac:chgData name="Cornago, Fernando" userId="048a41c0-cb7a-447c-b2ac-f7c7348706e9" providerId="ADAL" clId="{9A5DB92F-12BF-B84C-BF79-2D8D18E29C35}" dt="2021-04-30T15:36:35.601" v="752" actId="478"/>
          <ac:spMkLst>
            <pc:docMk/>
            <pc:sldMk cId="2678512907" sldId="2147138062"/>
            <ac:spMk id="3" creationId="{87692114-53F7-B040-A655-660DAD666E88}"/>
          </ac:spMkLst>
        </pc:spChg>
        <pc:picChg chg="add mod">
          <ac:chgData name="Cornago, Fernando" userId="048a41c0-cb7a-447c-b2ac-f7c7348706e9" providerId="ADAL" clId="{9A5DB92F-12BF-B84C-BF79-2D8D18E29C35}" dt="2021-04-30T15:36:59.880" v="755"/>
          <ac:picMkLst>
            <pc:docMk/>
            <pc:sldMk cId="2678512907" sldId="2147138062"/>
            <ac:picMk id="40962" creationId="{3080FD8D-207A-064A-A310-9E8DBB365274}"/>
          </ac:picMkLst>
        </pc:picChg>
      </pc:sldChg>
      <pc:sldChg chg="addSp delSp modSp new del mod setBg setClrOvrMap">
        <pc:chgData name="Cornago, Fernando" userId="048a41c0-cb7a-447c-b2ac-f7c7348706e9" providerId="ADAL" clId="{9A5DB92F-12BF-B84C-BF79-2D8D18E29C35}" dt="2021-05-04T07:24:40.658" v="4119" actId="2696"/>
        <pc:sldMkLst>
          <pc:docMk/>
          <pc:sldMk cId="94028256" sldId="2147138063"/>
        </pc:sldMkLst>
        <pc:spChg chg="del">
          <ac:chgData name="Cornago, Fernando" userId="048a41c0-cb7a-447c-b2ac-f7c7348706e9" providerId="ADAL" clId="{9A5DB92F-12BF-B84C-BF79-2D8D18E29C35}" dt="2021-04-30T15:39:29.469" v="763" actId="26606"/>
          <ac:spMkLst>
            <pc:docMk/>
            <pc:sldMk cId="94028256" sldId="2147138063"/>
            <ac:spMk id="2" creationId="{97F677C3-54D7-0E4A-B076-50281ED097D0}"/>
          </ac:spMkLst>
        </pc:spChg>
        <pc:spChg chg="del">
          <ac:chgData name="Cornago, Fernando" userId="048a41c0-cb7a-447c-b2ac-f7c7348706e9" providerId="ADAL" clId="{9A5DB92F-12BF-B84C-BF79-2D8D18E29C35}" dt="2021-04-30T15:39:29.469" v="763" actId="26606"/>
          <ac:spMkLst>
            <pc:docMk/>
            <pc:sldMk cId="94028256" sldId="2147138063"/>
            <ac:spMk id="3" creationId="{1A82B6D1-8377-FA4B-9B30-BC2A6803318C}"/>
          </ac:spMkLst>
        </pc:spChg>
        <pc:picChg chg="add mod">
          <ac:chgData name="Cornago, Fernando" userId="048a41c0-cb7a-447c-b2ac-f7c7348706e9" providerId="ADAL" clId="{9A5DB92F-12BF-B84C-BF79-2D8D18E29C35}" dt="2021-04-30T15:39:29.469" v="763" actId="26606"/>
          <ac:picMkLst>
            <pc:docMk/>
            <pc:sldMk cId="94028256" sldId="2147138063"/>
            <ac:picMk id="43010" creationId="{979E73CA-22A8-EC44-A903-06A5ABCE1F5B}"/>
          </ac:picMkLst>
        </pc:picChg>
      </pc:sldChg>
      <pc:sldChg chg="addSp delSp modSp new del mod setBg setClrOvrMap">
        <pc:chgData name="Cornago, Fernando" userId="048a41c0-cb7a-447c-b2ac-f7c7348706e9" providerId="ADAL" clId="{9A5DB92F-12BF-B84C-BF79-2D8D18E29C35}" dt="2021-05-04T07:24:40.658" v="4119" actId="2696"/>
        <pc:sldMkLst>
          <pc:docMk/>
          <pc:sldMk cId="1125576883" sldId="2147138064"/>
        </pc:sldMkLst>
        <pc:spChg chg="del">
          <ac:chgData name="Cornago, Fernando" userId="048a41c0-cb7a-447c-b2ac-f7c7348706e9" providerId="ADAL" clId="{9A5DB92F-12BF-B84C-BF79-2D8D18E29C35}" dt="2021-04-30T15:37:22.873" v="758" actId="478"/>
          <ac:spMkLst>
            <pc:docMk/>
            <pc:sldMk cId="1125576883" sldId="2147138064"/>
            <ac:spMk id="2" creationId="{20CD5B63-077E-BD48-BA76-FBD9298329EF}"/>
          </ac:spMkLst>
        </pc:spChg>
        <pc:spChg chg="del">
          <ac:chgData name="Cornago, Fernando" userId="048a41c0-cb7a-447c-b2ac-f7c7348706e9" providerId="ADAL" clId="{9A5DB92F-12BF-B84C-BF79-2D8D18E29C35}" dt="2021-04-30T15:37:23.893" v="759" actId="478"/>
          <ac:spMkLst>
            <pc:docMk/>
            <pc:sldMk cId="1125576883" sldId="2147138064"/>
            <ac:spMk id="3" creationId="{EC913974-2A96-304E-9FB0-6ED0B59977FE}"/>
          </ac:spMkLst>
        </pc:spChg>
        <pc:picChg chg="add mod">
          <ac:chgData name="Cornago, Fernando" userId="048a41c0-cb7a-447c-b2ac-f7c7348706e9" providerId="ADAL" clId="{9A5DB92F-12BF-B84C-BF79-2D8D18E29C35}" dt="2021-04-30T15:39:42.948" v="764" actId="26606"/>
          <ac:picMkLst>
            <pc:docMk/>
            <pc:sldMk cId="1125576883" sldId="2147138064"/>
            <ac:picMk id="41986" creationId="{D74A891A-035E-0A47-BF0C-E8AFD7344B39}"/>
          </ac:picMkLst>
        </pc:picChg>
      </pc:sldChg>
      <pc:sldChg chg="add del">
        <pc:chgData name="Cornago, Fernando" userId="048a41c0-cb7a-447c-b2ac-f7c7348706e9" providerId="ADAL" clId="{9A5DB92F-12BF-B84C-BF79-2D8D18E29C35}" dt="2021-05-02T07:55:19.491" v="913"/>
        <pc:sldMkLst>
          <pc:docMk/>
          <pc:sldMk cId="3579837186" sldId="2147138065"/>
        </pc:sldMkLst>
      </pc:sldChg>
      <pc:sldChg chg="addSp delSp modSp add del mod modAnim modNotesTx">
        <pc:chgData name="Cornago, Fernando" userId="048a41c0-cb7a-447c-b2ac-f7c7348706e9" providerId="ADAL" clId="{9A5DB92F-12BF-B84C-BF79-2D8D18E29C35}" dt="2021-05-04T07:24:40.658" v="4119" actId="2696"/>
        <pc:sldMkLst>
          <pc:docMk/>
          <pc:sldMk cId="4091927555" sldId="2147138065"/>
        </pc:sldMkLst>
        <pc:spChg chg="add del mod">
          <ac:chgData name="Cornago, Fernando" userId="048a41c0-cb7a-447c-b2ac-f7c7348706e9" providerId="ADAL" clId="{9A5DB92F-12BF-B84C-BF79-2D8D18E29C35}" dt="2021-05-02T09:43:42.894" v="2003" actId="478"/>
          <ac:spMkLst>
            <pc:docMk/>
            <pc:sldMk cId="4091927555" sldId="2147138065"/>
            <ac:spMk id="2" creationId="{384AB239-03E1-3348-8795-1120524508BC}"/>
          </ac:spMkLst>
        </pc:spChg>
        <pc:spChg chg="add mod">
          <ac:chgData name="Cornago, Fernando" userId="048a41c0-cb7a-447c-b2ac-f7c7348706e9" providerId="ADAL" clId="{9A5DB92F-12BF-B84C-BF79-2D8D18E29C35}" dt="2021-05-02T09:44:47.956" v="2016" actId="14100"/>
          <ac:spMkLst>
            <pc:docMk/>
            <pc:sldMk cId="4091927555" sldId="2147138065"/>
            <ac:spMk id="4" creationId="{B5E7EEFA-BFD1-B745-9603-44121130852D}"/>
          </ac:spMkLst>
        </pc:spChg>
        <pc:spChg chg="add del mod">
          <ac:chgData name="Cornago, Fernando" userId="048a41c0-cb7a-447c-b2ac-f7c7348706e9" providerId="ADAL" clId="{9A5DB92F-12BF-B84C-BF79-2D8D18E29C35}" dt="2021-05-02T08:14:49.350" v="1629"/>
          <ac:spMkLst>
            <pc:docMk/>
            <pc:sldMk cId="4091927555" sldId="2147138065"/>
            <ac:spMk id="227" creationId="{56B28A7B-579F-C546-8361-7FE9AFC2ACEE}"/>
          </ac:spMkLst>
        </pc:spChg>
        <pc:spChg chg="add del mod">
          <ac:chgData name="Cornago, Fernando" userId="048a41c0-cb7a-447c-b2ac-f7c7348706e9" providerId="ADAL" clId="{9A5DB92F-12BF-B84C-BF79-2D8D18E29C35}" dt="2021-05-02T09:43:13.876" v="1998" actId="478"/>
          <ac:spMkLst>
            <pc:docMk/>
            <pc:sldMk cId="4091927555" sldId="2147138065"/>
            <ac:spMk id="227" creationId="{661F4C86-49CE-FA4C-B237-C5CE78D5B0D3}"/>
          </ac:spMkLst>
        </pc:spChg>
        <pc:spChg chg="add mod">
          <ac:chgData name="Cornago, Fernando" userId="048a41c0-cb7a-447c-b2ac-f7c7348706e9" providerId="ADAL" clId="{9A5DB92F-12BF-B84C-BF79-2D8D18E29C35}" dt="2021-05-02T08:15:06.700" v="1683" actId="20577"/>
          <ac:spMkLst>
            <pc:docMk/>
            <pc:sldMk cId="4091927555" sldId="2147138065"/>
            <ac:spMk id="229" creationId="{B7CACFBA-EC95-5645-9DEA-EB2FB413F632}"/>
          </ac:spMkLst>
        </pc:spChg>
        <pc:spChg chg="add del mod">
          <ac:chgData name="Cornago, Fernando" userId="048a41c0-cb7a-447c-b2ac-f7c7348706e9" providerId="ADAL" clId="{9A5DB92F-12BF-B84C-BF79-2D8D18E29C35}" dt="2021-05-02T09:43:41.912" v="2002" actId="478"/>
          <ac:spMkLst>
            <pc:docMk/>
            <pc:sldMk cId="4091927555" sldId="2147138065"/>
            <ac:spMk id="230" creationId="{033A9AB9-31EA-B440-9DB4-B22D1B8354F3}"/>
          </ac:spMkLst>
        </pc:spChg>
        <pc:spChg chg="add mod">
          <ac:chgData name="Cornago, Fernando" userId="048a41c0-cb7a-447c-b2ac-f7c7348706e9" providerId="ADAL" clId="{9A5DB92F-12BF-B84C-BF79-2D8D18E29C35}" dt="2021-05-02T09:44:39.912" v="2014" actId="14100"/>
          <ac:spMkLst>
            <pc:docMk/>
            <pc:sldMk cId="4091927555" sldId="2147138065"/>
            <ac:spMk id="231" creationId="{4E76D54F-145E-174C-A085-E91E83A6F96F}"/>
          </ac:spMkLst>
        </pc:spChg>
        <pc:spChg chg="add mod">
          <ac:chgData name="Cornago, Fernando" userId="048a41c0-cb7a-447c-b2ac-f7c7348706e9" providerId="ADAL" clId="{9A5DB92F-12BF-B84C-BF79-2D8D18E29C35}" dt="2021-05-02T14:04:15.108" v="3022" actId="207"/>
          <ac:spMkLst>
            <pc:docMk/>
            <pc:sldMk cId="4091927555" sldId="2147138065"/>
            <ac:spMk id="238" creationId="{1639F248-EE58-1043-8D53-6E49A16E1160}"/>
          </ac:spMkLst>
        </pc:spChg>
        <pc:picChg chg="del">
          <ac:chgData name="Cornago, Fernando" userId="048a41c0-cb7a-447c-b2ac-f7c7348706e9" providerId="ADAL" clId="{9A5DB92F-12BF-B84C-BF79-2D8D18E29C35}" dt="2021-05-02T09:43:45.517" v="2004" actId="478"/>
          <ac:picMkLst>
            <pc:docMk/>
            <pc:sldMk cId="4091927555" sldId="2147138065"/>
            <ac:picMk id="226" creationId="{50E1B06B-26A6-40AD-B43A-5B86ED66C69C}"/>
          </ac:picMkLst>
        </pc:picChg>
        <pc:cxnChg chg="add del mod">
          <ac:chgData name="Cornago, Fernando" userId="048a41c0-cb7a-447c-b2ac-f7c7348706e9" providerId="ADAL" clId="{9A5DB92F-12BF-B84C-BF79-2D8D18E29C35}" dt="2021-05-02T09:45:31.989" v="2020" actId="478"/>
          <ac:cxnSpMkLst>
            <pc:docMk/>
            <pc:sldMk cId="4091927555" sldId="2147138065"/>
            <ac:cxnSpMk id="7" creationId="{D7BDC8E5-1DD8-8944-A0B0-E07ADDC42182}"/>
          </ac:cxnSpMkLst>
        </pc:cxnChg>
        <pc:cxnChg chg="add del mod">
          <ac:chgData name="Cornago, Fernando" userId="048a41c0-cb7a-447c-b2ac-f7c7348706e9" providerId="ADAL" clId="{9A5DB92F-12BF-B84C-BF79-2D8D18E29C35}" dt="2021-05-02T09:46:27.194" v="2029" actId="478"/>
          <ac:cxnSpMkLst>
            <pc:docMk/>
            <pc:sldMk cId="4091927555" sldId="2147138065"/>
            <ac:cxnSpMk id="234" creationId="{F28499B7-69D1-4443-9B3B-1CBDCC91AF07}"/>
          </ac:cxnSpMkLst>
        </pc:cxnChg>
      </pc:sldChg>
      <pc:sldChg chg="new add del">
        <pc:chgData name="Cornago, Fernando" userId="048a41c0-cb7a-447c-b2ac-f7c7348706e9" providerId="ADAL" clId="{9A5DB92F-12BF-B84C-BF79-2D8D18E29C35}" dt="2021-05-02T09:33:21.738" v="1927" actId="2696"/>
        <pc:sldMkLst>
          <pc:docMk/>
          <pc:sldMk cId="2114730525" sldId="2147138066"/>
        </pc:sldMkLst>
      </pc:sldChg>
      <pc:sldChg chg="addSp delSp modSp add mod modTransition modNotesTx">
        <pc:chgData name="Cornago, Fernando" userId="048a41c0-cb7a-447c-b2ac-f7c7348706e9" providerId="ADAL" clId="{9A5DB92F-12BF-B84C-BF79-2D8D18E29C35}" dt="2021-05-04T11:40:31.309" v="5302" actId="20577"/>
        <pc:sldMkLst>
          <pc:docMk/>
          <pc:sldMk cId="3438323186" sldId="2147138066"/>
        </pc:sldMkLst>
        <pc:spChg chg="mod">
          <ac:chgData name="Cornago, Fernando" userId="048a41c0-cb7a-447c-b2ac-f7c7348706e9" providerId="ADAL" clId="{9A5DB92F-12BF-B84C-BF79-2D8D18E29C35}" dt="2021-05-02T14:01:27.056" v="2952"/>
          <ac:spMkLst>
            <pc:docMk/>
            <pc:sldMk cId="3438323186" sldId="2147138066"/>
            <ac:spMk id="3" creationId="{37389E0E-1C45-1249-AB17-FB2D636CB6E1}"/>
          </ac:spMkLst>
        </pc:spChg>
        <pc:spChg chg="mod">
          <ac:chgData name="Cornago, Fernando" userId="048a41c0-cb7a-447c-b2ac-f7c7348706e9" providerId="ADAL" clId="{9A5DB92F-12BF-B84C-BF79-2D8D18E29C35}" dt="2021-05-02T14:01:27.056" v="2952"/>
          <ac:spMkLst>
            <pc:docMk/>
            <pc:sldMk cId="3438323186" sldId="2147138066"/>
            <ac:spMk id="4" creationId="{3276097E-4A21-D045-ADAF-E6772D892916}"/>
          </ac:spMkLst>
        </pc:spChg>
        <pc:spChg chg="mod">
          <ac:chgData name="Cornago, Fernando" userId="048a41c0-cb7a-447c-b2ac-f7c7348706e9" providerId="ADAL" clId="{9A5DB92F-12BF-B84C-BF79-2D8D18E29C35}" dt="2021-05-02T14:01:27.056" v="2952"/>
          <ac:spMkLst>
            <pc:docMk/>
            <pc:sldMk cId="3438323186" sldId="2147138066"/>
            <ac:spMk id="5" creationId="{0C432F67-46D0-1440-A639-D0606B357EEF}"/>
          </ac:spMkLst>
        </pc:spChg>
        <pc:spChg chg="add del mod">
          <ac:chgData name="Cornago, Fernando" userId="048a41c0-cb7a-447c-b2ac-f7c7348706e9" providerId="ADAL" clId="{9A5DB92F-12BF-B84C-BF79-2D8D18E29C35}" dt="2021-05-02T14:01:39.677" v="2954"/>
          <ac:spMkLst>
            <pc:docMk/>
            <pc:sldMk cId="3438323186" sldId="2147138066"/>
            <ac:spMk id="8" creationId="{9E4A4A1B-2FA3-DB45-9312-30D99C2A79B6}"/>
          </ac:spMkLst>
        </pc:spChg>
        <pc:spChg chg="add mod">
          <ac:chgData name="Cornago, Fernando" userId="048a41c0-cb7a-447c-b2ac-f7c7348706e9" providerId="ADAL" clId="{9A5DB92F-12BF-B84C-BF79-2D8D18E29C35}" dt="2021-05-02T14:02:21.097" v="2999" actId="1076"/>
          <ac:spMkLst>
            <pc:docMk/>
            <pc:sldMk cId="3438323186" sldId="2147138066"/>
            <ac:spMk id="9" creationId="{919FBF60-1B39-034E-B729-3C7D7B568CC9}"/>
          </ac:spMkLst>
        </pc:spChg>
        <pc:picChg chg="mod">
          <ac:chgData name="Cornago, Fernando" userId="048a41c0-cb7a-447c-b2ac-f7c7348706e9" providerId="ADAL" clId="{9A5DB92F-12BF-B84C-BF79-2D8D18E29C35}" dt="2021-05-02T14:01:46.708" v="2959" actId="1076"/>
          <ac:picMkLst>
            <pc:docMk/>
            <pc:sldMk cId="3438323186" sldId="2147138066"/>
            <ac:picMk id="7" creationId="{072F45B5-E9C9-2643-A945-186B6347ACBD}"/>
          </ac:picMkLst>
        </pc:picChg>
      </pc:sldChg>
      <pc:sldChg chg="delSp modSp add mod">
        <pc:chgData name="Cornago, Fernando" userId="048a41c0-cb7a-447c-b2ac-f7c7348706e9" providerId="ADAL" clId="{9A5DB92F-12BF-B84C-BF79-2D8D18E29C35}" dt="2021-05-02T14:02:50.733" v="3010" actId="20577"/>
        <pc:sldMkLst>
          <pc:docMk/>
          <pc:sldMk cId="3720836716" sldId="2147138067"/>
        </pc:sldMkLst>
        <pc:spChg chg="mod">
          <ac:chgData name="Cornago, Fernando" userId="048a41c0-cb7a-447c-b2ac-f7c7348706e9" providerId="ADAL" clId="{9A5DB92F-12BF-B84C-BF79-2D8D18E29C35}" dt="2021-05-02T14:02:50.733" v="3010" actId="20577"/>
          <ac:spMkLst>
            <pc:docMk/>
            <pc:sldMk cId="3720836716" sldId="2147138067"/>
            <ac:spMk id="3" creationId="{8F7914F7-F970-954E-B469-3B2289725500}"/>
          </ac:spMkLst>
        </pc:spChg>
        <pc:picChg chg="del">
          <ac:chgData name="Cornago, Fernando" userId="048a41c0-cb7a-447c-b2ac-f7c7348706e9" providerId="ADAL" clId="{9A5DB92F-12BF-B84C-BF79-2D8D18E29C35}" dt="2021-05-02T14:02:31.396" v="3001" actId="478"/>
          <ac:picMkLst>
            <pc:docMk/>
            <pc:sldMk cId="3720836716" sldId="2147138067"/>
            <ac:picMk id="39938" creationId="{6B732116-2B2D-0543-A347-F6EFC45B1556}"/>
          </ac:picMkLst>
        </pc:picChg>
      </pc:sldChg>
      <pc:sldChg chg="modSp add mod">
        <pc:chgData name="Cornago, Fernando" userId="048a41c0-cb7a-447c-b2ac-f7c7348706e9" providerId="ADAL" clId="{9A5DB92F-12BF-B84C-BF79-2D8D18E29C35}" dt="2021-05-02T14:02:57.206" v="3018" actId="20577"/>
        <pc:sldMkLst>
          <pc:docMk/>
          <pc:sldMk cId="1704077457" sldId="2147138068"/>
        </pc:sldMkLst>
        <pc:spChg chg="mod">
          <ac:chgData name="Cornago, Fernando" userId="048a41c0-cb7a-447c-b2ac-f7c7348706e9" providerId="ADAL" clId="{9A5DB92F-12BF-B84C-BF79-2D8D18E29C35}" dt="2021-05-02T14:02:57.206" v="3018" actId="20577"/>
          <ac:spMkLst>
            <pc:docMk/>
            <pc:sldMk cId="1704077457" sldId="2147138068"/>
            <ac:spMk id="3" creationId="{8F7914F7-F970-954E-B469-3B2289725500}"/>
          </ac:spMkLst>
        </pc:spChg>
      </pc:sldChg>
      <pc:sldChg chg="add">
        <pc:chgData name="Cornago, Fernando" userId="048a41c0-cb7a-447c-b2ac-f7c7348706e9" providerId="ADAL" clId="{9A5DB92F-12BF-B84C-BF79-2D8D18E29C35}" dt="2021-05-04T07:24:29.737" v="4118"/>
        <pc:sldMkLst>
          <pc:docMk/>
          <pc:sldMk cId="1086523999" sldId="2147138070"/>
        </pc:sldMkLst>
      </pc:sldChg>
      <pc:sldChg chg="add del">
        <pc:chgData name="Cornago, Fernando" userId="048a41c0-cb7a-447c-b2ac-f7c7348706e9" providerId="ADAL" clId="{9A5DB92F-12BF-B84C-BF79-2D8D18E29C35}" dt="2021-05-04T07:24:29.576" v="4117"/>
        <pc:sldMkLst>
          <pc:docMk/>
          <pc:sldMk cId="4072767558" sldId="2147138070"/>
        </pc:sldMkLst>
      </pc:sldChg>
      <pc:sldChg chg="add">
        <pc:chgData name="Cornago, Fernando" userId="048a41c0-cb7a-447c-b2ac-f7c7348706e9" providerId="ADAL" clId="{9A5DB92F-12BF-B84C-BF79-2D8D18E29C35}" dt="2021-05-04T07:24:29.737" v="4118"/>
        <pc:sldMkLst>
          <pc:docMk/>
          <pc:sldMk cId="1501743375" sldId="2147138071"/>
        </pc:sldMkLst>
      </pc:sldChg>
      <pc:sldChg chg="add del setBg">
        <pc:chgData name="Cornago, Fernando" userId="048a41c0-cb7a-447c-b2ac-f7c7348706e9" providerId="ADAL" clId="{9A5DB92F-12BF-B84C-BF79-2D8D18E29C35}" dt="2021-05-04T07:24:29.576" v="4117"/>
        <pc:sldMkLst>
          <pc:docMk/>
          <pc:sldMk cId="3672147129" sldId="2147138071"/>
        </pc:sldMkLst>
      </pc:sldChg>
      <pc:sldChg chg="add del setBg">
        <pc:chgData name="Cornago, Fernando" userId="048a41c0-cb7a-447c-b2ac-f7c7348706e9" providerId="ADAL" clId="{9A5DB92F-12BF-B84C-BF79-2D8D18E29C35}" dt="2021-05-04T07:24:29.576" v="4117"/>
        <pc:sldMkLst>
          <pc:docMk/>
          <pc:sldMk cId="1751001402" sldId="2147138072"/>
        </pc:sldMkLst>
      </pc:sldChg>
      <pc:sldChg chg="add modNotesTx">
        <pc:chgData name="Cornago, Fernando" userId="048a41c0-cb7a-447c-b2ac-f7c7348706e9" providerId="ADAL" clId="{9A5DB92F-12BF-B84C-BF79-2D8D18E29C35}" dt="2021-05-04T07:26:32.643" v="4172" actId="20577"/>
        <pc:sldMkLst>
          <pc:docMk/>
          <pc:sldMk cId="4294279443" sldId="2147138072"/>
        </pc:sldMkLst>
      </pc:sldChg>
      <pc:sldChg chg="add del modTransition">
        <pc:chgData name="Cornago, Fernando" userId="048a41c0-cb7a-447c-b2ac-f7c7348706e9" providerId="ADAL" clId="{9A5DB92F-12BF-B84C-BF79-2D8D18E29C35}" dt="2021-05-04T07:24:29.576" v="4117"/>
        <pc:sldMkLst>
          <pc:docMk/>
          <pc:sldMk cId="349590773" sldId="2147138073"/>
        </pc:sldMkLst>
      </pc:sldChg>
      <pc:sldChg chg="add modNotesTx">
        <pc:chgData name="Cornago, Fernando" userId="048a41c0-cb7a-447c-b2ac-f7c7348706e9" providerId="ADAL" clId="{9A5DB92F-12BF-B84C-BF79-2D8D18E29C35}" dt="2021-05-04T11:44:28.043" v="5421" actId="20577"/>
        <pc:sldMkLst>
          <pc:docMk/>
          <pc:sldMk cId="2659084250" sldId="2147138073"/>
        </pc:sldMkLst>
      </pc:sldChg>
      <pc:sldChg chg="add modAnim modNotesTx">
        <pc:chgData name="Cornago, Fernando" userId="048a41c0-cb7a-447c-b2ac-f7c7348706e9" providerId="ADAL" clId="{9A5DB92F-12BF-B84C-BF79-2D8D18E29C35}" dt="2021-05-04T08:19:53.923" v="4324"/>
        <pc:sldMkLst>
          <pc:docMk/>
          <pc:sldMk cId="2219661542" sldId="2147138074"/>
        </pc:sldMkLst>
      </pc:sldChg>
      <pc:sldChg chg="add del">
        <pc:chgData name="Cornago, Fernando" userId="048a41c0-cb7a-447c-b2ac-f7c7348706e9" providerId="ADAL" clId="{9A5DB92F-12BF-B84C-BF79-2D8D18E29C35}" dt="2021-05-04T07:24:29.576" v="4117"/>
        <pc:sldMkLst>
          <pc:docMk/>
          <pc:sldMk cId="3959705300" sldId="2147138074"/>
        </pc:sldMkLst>
      </pc:sldChg>
      <pc:sldChg chg="add del">
        <pc:chgData name="Cornago, Fernando" userId="048a41c0-cb7a-447c-b2ac-f7c7348706e9" providerId="ADAL" clId="{9A5DB92F-12BF-B84C-BF79-2D8D18E29C35}" dt="2021-05-04T07:24:29.576" v="4117"/>
        <pc:sldMkLst>
          <pc:docMk/>
          <pc:sldMk cId="1414539209" sldId="2147138075"/>
        </pc:sldMkLst>
      </pc:sldChg>
      <pc:sldChg chg="add modNotesTx">
        <pc:chgData name="Cornago, Fernando" userId="048a41c0-cb7a-447c-b2ac-f7c7348706e9" providerId="ADAL" clId="{9A5DB92F-12BF-B84C-BF79-2D8D18E29C35}" dt="2021-05-04T11:24:30.689" v="4420" actId="113"/>
        <pc:sldMkLst>
          <pc:docMk/>
          <pc:sldMk cId="2599151710" sldId="2147138075"/>
        </pc:sldMkLst>
      </pc:sldChg>
      <pc:sldChg chg="add modNotesTx">
        <pc:chgData name="Cornago, Fernando" userId="048a41c0-cb7a-447c-b2ac-f7c7348706e9" providerId="ADAL" clId="{9A5DB92F-12BF-B84C-BF79-2D8D18E29C35}" dt="2021-05-04T11:47:44.450" v="5423" actId="20577"/>
        <pc:sldMkLst>
          <pc:docMk/>
          <pc:sldMk cId="106082968" sldId="2147138076"/>
        </pc:sldMkLst>
      </pc:sldChg>
      <pc:sldChg chg="add del modTransition">
        <pc:chgData name="Cornago, Fernando" userId="048a41c0-cb7a-447c-b2ac-f7c7348706e9" providerId="ADAL" clId="{9A5DB92F-12BF-B84C-BF79-2D8D18E29C35}" dt="2021-05-04T07:24:29.576" v="4117"/>
        <pc:sldMkLst>
          <pc:docMk/>
          <pc:sldMk cId="721233337" sldId="2147138076"/>
        </pc:sldMkLst>
      </pc:sldChg>
      <pc:sldChg chg="add modNotesTx">
        <pc:chgData name="Cornago, Fernando" userId="048a41c0-cb7a-447c-b2ac-f7c7348706e9" providerId="ADAL" clId="{9A5DB92F-12BF-B84C-BF79-2D8D18E29C35}" dt="2021-05-04T11:48:59.935" v="5428" actId="20577"/>
        <pc:sldMkLst>
          <pc:docMk/>
          <pc:sldMk cId="1560301727" sldId="2147138077"/>
        </pc:sldMkLst>
      </pc:sldChg>
      <pc:sldChg chg="add del modTransition">
        <pc:chgData name="Cornago, Fernando" userId="048a41c0-cb7a-447c-b2ac-f7c7348706e9" providerId="ADAL" clId="{9A5DB92F-12BF-B84C-BF79-2D8D18E29C35}" dt="2021-05-04T07:24:29.576" v="4117"/>
        <pc:sldMkLst>
          <pc:docMk/>
          <pc:sldMk cId="2716935452" sldId="2147138077"/>
        </pc:sldMkLst>
      </pc:sldChg>
      <pc:sldChg chg="add">
        <pc:chgData name="Cornago, Fernando" userId="048a41c0-cb7a-447c-b2ac-f7c7348706e9" providerId="ADAL" clId="{9A5DB92F-12BF-B84C-BF79-2D8D18E29C35}" dt="2021-05-04T07:24:29.737" v="4118"/>
        <pc:sldMkLst>
          <pc:docMk/>
          <pc:sldMk cId="227695542" sldId="2147138078"/>
        </pc:sldMkLst>
      </pc:sldChg>
      <pc:sldChg chg="add del">
        <pc:chgData name="Cornago, Fernando" userId="048a41c0-cb7a-447c-b2ac-f7c7348706e9" providerId="ADAL" clId="{9A5DB92F-12BF-B84C-BF79-2D8D18E29C35}" dt="2021-05-04T07:24:29.576" v="4117"/>
        <pc:sldMkLst>
          <pc:docMk/>
          <pc:sldMk cId="2224096328" sldId="2147138078"/>
        </pc:sldMkLst>
      </pc:sldChg>
      <pc:sldChg chg="add del">
        <pc:chgData name="Cornago, Fernando" userId="048a41c0-cb7a-447c-b2ac-f7c7348706e9" providerId="ADAL" clId="{9A5DB92F-12BF-B84C-BF79-2D8D18E29C35}" dt="2021-05-04T07:24:29.576" v="4117"/>
        <pc:sldMkLst>
          <pc:docMk/>
          <pc:sldMk cId="294435561" sldId="2147138079"/>
        </pc:sldMkLst>
      </pc:sldChg>
      <pc:sldChg chg="add modNotesTx">
        <pc:chgData name="Cornago, Fernando" userId="048a41c0-cb7a-447c-b2ac-f7c7348706e9" providerId="ADAL" clId="{9A5DB92F-12BF-B84C-BF79-2D8D18E29C35}" dt="2021-05-04T11:33:22.002" v="4860" actId="20577"/>
        <pc:sldMkLst>
          <pc:docMk/>
          <pc:sldMk cId="1684981123" sldId="2147138079"/>
        </pc:sldMkLst>
      </pc:sldChg>
      <pc:sldChg chg="add modNotesTx">
        <pc:chgData name="Cornago, Fernando" userId="048a41c0-cb7a-447c-b2ac-f7c7348706e9" providerId="ADAL" clId="{9A5DB92F-12BF-B84C-BF79-2D8D18E29C35}" dt="2021-05-04T11:33:39.966" v="4874" actId="20577"/>
        <pc:sldMkLst>
          <pc:docMk/>
          <pc:sldMk cId="384075365" sldId="2147138080"/>
        </pc:sldMkLst>
      </pc:sldChg>
      <pc:sldChg chg="add del setBg">
        <pc:chgData name="Cornago, Fernando" userId="048a41c0-cb7a-447c-b2ac-f7c7348706e9" providerId="ADAL" clId="{9A5DB92F-12BF-B84C-BF79-2D8D18E29C35}" dt="2021-05-04T07:24:29.576" v="4117"/>
        <pc:sldMkLst>
          <pc:docMk/>
          <pc:sldMk cId="3331516709" sldId="2147138080"/>
        </pc:sldMkLst>
      </pc:sldChg>
      <pc:sldChg chg="add del setBg">
        <pc:chgData name="Cornago, Fernando" userId="048a41c0-cb7a-447c-b2ac-f7c7348706e9" providerId="ADAL" clId="{9A5DB92F-12BF-B84C-BF79-2D8D18E29C35}" dt="2021-05-04T07:24:29.576" v="4117"/>
        <pc:sldMkLst>
          <pc:docMk/>
          <pc:sldMk cId="2790790327" sldId="2147138081"/>
        </pc:sldMkLst>
      </pc:sldChg>
      <pc:sldChg chg="add">
        <pc:chgData name="Cornago, Fernando" userId="048a41c0-cb7a-447c-b2ac-f7c7348706e9" providerId="ADAL" clId="{9A5DB92F-12BF-B84C-BF79-2D8D18E29C35}" dt="2021-05-04T07:24:29.737" v="4118"/>
        <pc:sldMkLst>
          <pc:docMk/>
          <pc:sldMk cId="2872164168" sldId="2147138081"/>
        </pc:sldMkLst>
      </pc:sldChg>
      <pc:sldChg chg="add modNotesTx">
        <pc:chgData name="Cornago, Fernando" userId="048a41c0-cb7a-447c-b2ac-f7c7348706e9" providerId="ADAL" clId="{9A5DB92F-12BF-B84C-BF79-2D8D18E29C35}" dt="2021-05-04T11:34:55.812" v="4919" actId="20577"/>
        <pc:sldMkLst>
          <pc:docMk/>
          <pc:sldMk cId="1979278536" sldId="2147138082"/>
        </pc:sldMkLst>
      </pc:sldChg>
      <pc:sldChg chg="add del setBg">
        <pc:chgData name="Cornago, Fernando" userId="048a41c0-cb7a-447c-b2ac-f7c7348706e9" providerId="ADAL" clId="{9A5DB92F-12BF-B84C-BF79-2D8D18E29C35}" dt="2021-05-04T07:24:29.576" v="4117"/>
        <pc:sldMkLst>
          <pc:docMk/>
          <pc:sldMk cId="3421271222" sldId="2147138082"/>
        </pc:sldMkLst>
      </pc:sldChg>
      <pc:sldChg chg="add del modNotesTx">
        <pc:chgData name="Cornago, Fernando" userId="048a41c0-cb7a-447c-b2ac-f7c7348706e9" providerId="ADAL" clId="{9A5DB92F-12BF-B84C-BF79-2D8D18E29C35}" dt="2021-05-04T11:35:04.626" v="4920" actId="20577"/>
        <pc:sldMkLst>
          <pc:docMk/>
          <pc:sldMk cId="1002785194" sldId="2147138083"/>
        </pc:sldMkLst>
      </pc:sldChg>
      <pc:sldChg chg="addSp delSp add del setBg delDesignElem">
        <pc:chgData name="Cornago, Fernando" userId="048a41c0-cb7a-447c-b2ac-f7c7348706e9" providerId="ADAL" clId="{9A5DB92F-12BF-B84C-BF79-2D8D18E29C35}" dt="2021-05-04T07:24:29.576" v="4117"/>
        <pc:sldMkLst>
          <pc:docMk/>
          <pc:sldMk cId="273971660" sldId="2147138084"/>
        </pc:sldMkLst>
        <pc:spChg chg="add del">
          <ac:chgData name="Cornago, Fernando" userId="048a41c0-cb7a-447c-b2ac-f7c7348706e9" providerId="ADAL" clId="{9A5DB92F-12BF-B84C-BF79-2D8D18E29C35}" dt="2021-05-04T07:24:29.576" v="4117"/>
          <ac:spMkLst>
            <pc:docMk/>
            <pc:sldMk cId="273971660" sldId="2147138084"/>
            <ac:spMk id="46086" creationId="{E49CC64F-7275-4E33-961B-0C5CDC439875}"/>
          </ac:spMkLst>
        </pc:spChg>
      </pc:sldChg>
      <pc:sldChg chg="add modNotesTx">
        <pc:chgData name="Cornago, Fernando" userId="048a41c0-cb7a-447c-b2ac-f7c7348706e9" providerId="ADAL" clId="{9A5DB92F-12BF-B84C-BF79-2D8D18E29C35}" dt="2021-05-04T11:37:06.026" v="4933" actId="20577"/>
        <pc:sldMkLst>
          <pc:docMk/>
          <pc:sldMk cId="1745481433" sldId="2147138084"/>
        </pc:sldMkLst>
      </pc:sldChg>
    </pc:docChg>
  </pc:docChgLst>
  <pc:docChgLst>
    <pc:chgData name="Eichten, Daniel" userId="4322d661-a6ba-4ab3-9ce9-93460e8d5200" providerId="ADAL" clId="{80EFD019-6A77-2B49-8AD7-34594C326B37}"/>
    <pc:docChg chg="undo custSel modSld">
      <pc:chgData name="Eichten, Daniel" userId="4322d661-a6ba-4ab3-9ce9-93460e8d5200" providerId="ADAL" clId="{80EFD019-6A77-2B49-8AD7-34594C326B37}" dt="2020-06-17T08:51:11.826" v="97"/>
      <pc:docMkLst>
        <pc:docMk/>
      </pc:docMkLst>
      <pc:sldChg chg="modNotesTx">
        <pc:chgData name="Eichten, Daniel" userId="4322d661-a6ba-4ab3-9ce9-93460e8d5200" providerId="ADAL" clId="{80EFD019-6A77-2B49-8AD7-34594C326B37}" dt="2020-06-17T08:47:45.632" v="96" actId="20577"/>
        <pc:sldMkLst>
          <pc:docMk/>
          <pc:sldMk cId="718676876" sldId="337"/>
        </pc:sldMkLst>
      </pc:sldChg>
      <pc:sldChg chg="modNotesTx">
        <pc:chgData name="Eichten, Daniel" userId="4322d661-a6ba-4ab3-9ce9-93460e8d5200" providerId="ADAL" clId="{80EFD019-6A77-2B49-8AD7-34594C326B37}" dt="2020-06-17T08:44:52.289" v="91" actId="20577"/>
        <pc:sldMkLst>
          <pc:docMk/>
          <pc:sldMk cId="1495075936" sldId="349"/>
        </pc:sldMkLst>
      </pc:sldChg>
      <pc:sldChg chg="modNotesTx">
        <pc:chgData name="Eichten, Daniel" userId="4322d661-a6ba-4ab3-9ce9-93460e8d5200" providerId="ADAL" clId="{80EFD019-6A77-2B49-8AD7-34594C326B37}" dt="2020-06-17T08:45:46.163" v="94" actId="20577"/>
        <pc:sldMkLst>
          <pc:docMk/>
          <pc:sldMk cId="4092422131" sldId="350"/>
        </pc:sldMkLst>
      </pc:sldChg>
      <pc:sldChg chg="modNotesTx">
        <pc:chgData name="Eichten, Daniel" userId="4322d661-a6ba-4ab3-9ce9-93460e8d5200" providerId="ADAL" clId="{80EFD019-6A77-2B49-8AD7-34594C326B37}" dt="2020-06-17T08:46:14.509" v="95" actId="6549"/>
        <pc:sldMkLst>
          <pc:docMk/>
          <pc:sldMk cId="1710370991" sldId="352"/>
        </pc:sldMkLst>
      </pc:sldChg>
      <pc:sldChg chg="modSp">
        <pc:chgData name="Eichten, Daniel" userId="4322d661-a6ba-4ab3-9ce9-93460e8d5200" providerId="ADAL" clId="{80EFD019-6A77-2B49-8AD7-34594C326B37}" dt="2020-06-11T11:17:19.144" v="83" actId="14826"/>
        <pc:sldMkLst>
          <pc:docMk/>
          <pc:sldMk cId="1737949822" sldId="4212"/>
        </pc:sldMkLst>
        <pc:spChg chg="mod">
          <ac:chgData name="Eichten, Daniel" userId="4322d661-a6ba-4ab3-9ce9-93460e8d5200" providerId="ADAL" clId="{80EFD019-6A77-2B49-8AD7-34594C326B37}" dt="2020-06-11T11:10:49.456" v="73" actId="14100"/>
          <ac:spMkLst>
            <pc:docMk/>
            <pc:sldMk cId="1737949822" sldId="4212"/>
            <ac:spMk id="13" creationId="{65CBC432-6048-7F43-9555-E689354B8E0D}"/>
          </ac:spMkLst>
        </pc:spChg>
        <pc:spChg chg="mod">
          <ac:chgData name="Eichten, Daniel" userId="4322d661-a6ba-4ab3-9ce9-93460e8d5200" providerId="ADAL" clId="{80EFD019-6A77-2B49-8AD7-34594C326B37}" dt="2020-06-11T11:11:09.417" v="76" actId="122"/>
          <ac:spMkLst>
            <pc:docMk/>
            <pc:sldMk cId="1737949822" sldId="4212"/>
            <ac:spMk id="18" creationId="{CCE6C260-9680-B842-9803-B36A299F6D3C}"/>
          </ac:spMkLst>
        </pc:spChg>
        <pc:picChg chg="mod">
          <ac:chgData name="Eichten, Daniel" userId="4322d661-a6ba-4ab3-9ce9-93460e8d5200" providerId="ADAL" clId="{80EFD019-6A77-2B49-8AD7-34594C326B37}" dt="2020-06-11T11:17:19.144" v="83" actId="14826"/>
          <ac:picMkLst>
            <pc:docMk/>
            <pc:sldMk cId="1737949822" sldId="4212"/>
            <ac:picMk id="14" creationId="{FB7DC4C4-C445-9C41-9CA0-F679681C9821}"/>
          </ac:picMkLst>
        </pc:picChg>
      </pc:sldChg>
      <pc:sldChg chg="modTransition">
        <pc:chgData name="Eichten, Daniel" userId="4322d661-a6ba-4ab3-9ce9-93460e8d5200" providerId="ADAL" clId="{80EFD019-6A77-2B49-8AD7-34594C326B37}" dt="2020-06-17T08:51:11.826" v="97"/>
        <pc:sldMkLst>
          <pc:docMk/>
          <pc:sldMk cId="3808321195" sldId="2134806418"/>
        </pc:sldMkLst>
      </pc:sldChg>
    </pc:docChg>
  </pc:docChgLst>
  <pc:docChgLst>
    <pc:chgData name="Yadav, Vikalp" userId="eb4432fb-f794-44ed-8cba-3e4ae326dc49" providerId="ADAL" clId="{0B53343F-C54C-4837-A42D-0B88502F8A84}"/>
    <pc:docChg chg="undo redo custSel addSld delSld modSld">
      <pc:chgData name="Yadav, Vikalp" userId="eb4432fb-f794-44ed-8cba-3e4ae326dc49" providerId="ADAL" clId="{0B53343F-C54C-4837-A42D-0B88502F8A84}" dt="2021-05-04T11:29:20.145" v="78" actId="20577"/>
      <pc:docMkLst>
        <pc:docMk/>
      </pc:docMkLst>
      <pc:sldChg chg="modSp add del mod">
        <pc:chgData name="Yadav, Vikalp" userId="eb4432fb-f794-44ed-8cba-3e4ae326dc49" providerId="ADAL" clId="{0B53343F-C54C-4837-A42D-0B88502F8A84}" dt="2021-05-03T14:11:18.229" v="34"/>
        <pc:sldMkLst>
          <pc:docMk/>
          <pc:sldMk cId="527281473" sldId="434"/>
        </pc:sldMkLst>
        <pc:spChg chg="mod">
          <ac:chgData name="Yadav, Vikalp" userId="eb4432fb-f794-44ed-8cba-3e4ae326dc49" providerId="ADAL" clId="{0B53343F-C54C-4837-A42D-0B88502F8A84}" dt="2021-05-03T14:11:18.229" v="34"/>
          <ac:spMkLst>
            <pc:docMk/>
            <pc:sldMk cId="527281473" sldId="434"/>
            <ac:spMk id="3" creationId="{479B7A05-1898-4451-99B8-C11A6454C966}"/>
          </ac:spMkLst>
        </pc:spChg>
        <pc:spChg chg="mod">
          <ac:chgData name="Yadav, Vikalp" userId="eb4432fb-f794-44ed-8cba-3e4ae326dc49" providerId="ADAL" clId="{0B53343F-C54C-4837-A42D-0B88502F8A84}" dt="2021-05-03T14:11:18.229" v="34"/>
          <ac:spMkLst>
            <pc:docMk/>
            <pc:sldMk cId="527281473" sldId="434"/>
            <ac:spMk id="20" creationId="{7C1D719E-AC56-4216-BCCC-DD36ADACCCB3}"/>
          </ac:spMkLst>
        </pc:spChg>
        <pc:spChg chg="mod">
          <ac:chgData name="Yadav, Vikalp" userId="eb4432fb-f794-44ed-8cba-3e4ae326dc49" providerId="ADAL" clId="{0B53343F-C54C-4837-A42D-0B88502F8A84}" dt="2021-05-03T14:11:18.229" v="34"/>
          <ac:spMkLst>
            <pc:docMk/>
            <pc:sldMk cId="527281473" sldId="434"/>
            <ac:spMk id="21" creationId="{8DFA67C1-E0FF-4D78-8430-E5D27DE9823E}"/>
          </ac:spMkLst>
        </pc:spChg>
        <pc:spChg chg="mod">
          <ac:chgData name="Yadav, Vikalp" userId="eb4432fb-f794-44ed-8cba-3e4ae326dc49" providerId="ADAL" clId="{0B53343F-C54C-4837-A42D-0B88502F8A84}" dt="2021-05-03T14:11:18.229" v="34"/>
          <ac:spMkLst>
            <pc:docMk/>
            <pc:sldMk cId="527281473" sldId="434"/>
            <ac:spMk id="22" creationId="{149563C3-F141-415C-AF88-9F7E0E2C9401}"/>
          </ac:spMkLst>
        </pc:spChg>
        <pc:spChg chg="mod">
          <ac:chgData name="Yadav, Vikalp" userId="eb4432fb-f794-44ed-8cba-3e4ae326dc49" providerId="ADAL" clId="{0B53343F-C54C-4837-A42D-0B88502F8A84}" dt="2021-05-03T14:11:18.229" v="34"/>
          <ac:spMkLst>
            <pc:docMk/>
            <pc:sldMk cId="527281473" sldId="434"/>
            <ac:spMk id="23" creationId="{01C0DE7A-3A4A-4D77-B81E-ECB11C9F650E}"/>
          </ac:spMkLst>
        </pc:spChg>
      </pc:sldChg>
      <pc:sldChg chg="delSp modSp mod">
        <pc:chgData name="Yadav, Vikalp" userId="eb4432fb-f794-44ed-8cba-3e4ae326dc49" providerId="ADAL" clId="{0B53343F-C54C-4837-A42D-0B88502F8A84}" dt="2021-05-03T07:01:39.515" v="20" actId="18131"/>
        <pc:sldMkLst>
          <pc:docMk/>
          <pc:sldMk cId="1737949822" sldId="4212"/>
        </pc:sldMkLst>
        <pc:spChg chg="mod">
          <ac:chgData name="Yadav, Vikalp" userId="eb4432fb-f794-44ed-8cba-3e4ae326dc49" providerId="ADAL" clId="{0B53343F-C54C-4837-A42D-0B88502F8A84}" dt="2021-05-03T06:52:56.144" v="10" actId="20577"/>
          <ac:spMkLst>
            <pc:docMk/>
            <pc:sldMk cId="1737949822" sldId="4212"/>
            <ac:spMk id="19" creationId="{A036EA75-6C4E-5743-BB23-25AAB6ABB730}"/>
          </ac:spMkLst>
        </pc:spChg>
        <pc:spChg chg="del">
          <ac:chgData name="Yadav, Vikalp" userId="eb4432fb-f794-44ed-8cba-3e4ae326dc49" providerId="ADAL" clId="{0B53343F-C54C-4837-A42D-0B88502F8A84}" dt="2021-05-03T06:52:44.772" v="0" actId="478"/>
          <ac:spMkLst>
            <pc:docMk/>
            <pc:sldMk cId="1737949822" sldId="4212"/>
            <ac:spMk id="23" creationId="{590E5A6F-4ED5-584B-A8DA-335B2C826EBE}"/>
          </ac:spMkLst>
        </pc:spChg>
        <pc:picChg chg="mod modCrop">
          <ac:chgData name="Yadav, Vikalp" userId="eb4432fb-f794-44ed-8cba-3e4ae326dc49" providerId="ADAL" clId="{0B53343F-C54C-4837-A42D-0B88502F8A84}" dt="2021-05-03T07:01:39.515" v="20" actId="18131"/>
          <ac:picMkLst>
            <pc:docMk/>
            <pc:sldMk cId="1737949822" sldId="4212"/>
            <ac:picMk id="11" creationId="{4DD15064-8A11-AE49-B08A-030F7114AA14}"/>
          </ac:picMkLst>
        </pc:picChg>
      </pc:sldChg>
      <pc:sldChg chg="addSp delSp modSp mod">
        <pc:chgData name="Yadav, Vikalp" userId="eb4432fb-f794-44ed-8cba-3e4ae326dc49" providerId="ADAL" clId="{0B53343F-C54C-4837-A42D-0B88502F8A84}" dt="2021-05-03T14:28:52.714" v="61"/>
        <pc:sldMkLst>
          <pc:docMk/>
          <pc:sldMk cId="2951075608" sldId="2134807471"/>
        </pc:sldMkLst>
        <pc:spChg chg="add del mod">
          <ac:chgData name="Yadav, Vikalp" userId="eb4432fb-f794-44ed-8cba-3e4ae326dc49" providerId="ADAL" clId="{0B53343F-C54C-4837-A42D-0B88502F8A84}" dt="2021-05-03T14:28:46.325" v="52" actId="478"/>
          <ac:spMkLst>
            <pc:docMk/>
            <pc:sldMk cId="2951075608" sldId="2134807471"/>
            <ac:spMk id="4" creationId="{0FED425C-673C-4123-AC94-3C063744BF53}"/>
          </ac:spMkLst>
        </pc:spChg>
        <pc:spChg chg="add del mod">
          <ac:chgData name="Yadav, Vikalp" userId="eb4432fb-f794-44ed-8cba-3e4ae326dc49" providerId="ADAL" clId="{0B53343F-C54C-4837-A42D-0B88502F8A84}" dt="2021-05-03T14:28:44.069" v="51" actId="478"/>
          <ac:spMkLst>
            <pc:docMk/>
            <pc:sldMk cId="2951075608" sldId="2134807471"/>
            <ac:spMk id="6" creationId="{51DAF6A5-729F-4332-B749-1AC0E6DF10A1}"/>
          </ac:spMkLst>
        </pc:spChg>
        <pc:spChg chg="add del mod">
          <ac:chgData name="Yadav, Vikalp" userId="eb4432fb-f794-44ed-8cba-3e4ae326dc49" providerId="ADAL" clId="{0B53343F-C54C-4837-A42D-0B88502F8A84}" dt="2021-05-03T14:28:52.697" v="60"/>
          <ac:spMkLst>
            <pc:docMk/>
            <pc:sldMk cId="2951075608" sldId="2134807471"/>
            <ac:spMk id="12" creationId="{772E6E29-FBEA-4A34-A68E-D580283CDA09}"/>
          </ac:spMkLst>
        </pc:spChg>
        <pc:spChg chg="add del mod">
          <ac:chgData name="Yadav, Vikalp" userId="eb4432fb-f794-44ed-8cba-3e4ae326dc49" providerId="ADAL" clId="{0B53343F-C54C-4837-A42D-0B88502F8A84}" dt="2021-05-03T14:28:52.697" v="60"/>
          <ac:spMkLst>
            <pc:docMk/>
            <pc:sldMk cId="2951075608" sldId="2134807471"/>
            <ac:spMk id="13" creationId="{661917EE-5C0D-42D6-B635-8BBF9C7EAFB0}"/>
          </ac:spMkLst>
        </pc:spChg>
        <pc:spChg chg="add mod">
          <ac:chgData name="Yadav, Vikalp" userId="eb4432fb-f794-44ed-8cba-3e4ae326dc49" providerId="ADAL" clId="{0B53343F-C54C-4837-A42D-0B88502F8A84}" dt="2021-05-03T14:28:52.714" v="61"/>
          <ac:spMkLst>
            <pc:docMk/>
            <pc:sldMk cId="2951075608" sldId="2134807471"/>
            <ac:spMk id="14" creationId="{734D30CF-ABB6-4ACC-AAC0-7BFD967269AB}"/>
          </ac:spMkLst>
        </pc:spChg>
        <pc:spChg chg="add mod">
          <ac:chgData name="Yadav, Vikalp" userId="eb4432fb-f794-44ed-8cba-3e4ae326dc49" providerId="ADAL" clId="{0B53343F-C54C-4837-A42D-0B88502F8A84}" dt="2021-05-03T14:28:52.714" v="61"/>
          <ac:spMkLst>
            <pc:docMk/>
            <pc:sldMk cId="2951075608" sldId="2134807471"/>
            <ac:spMk id="15" creationId="{909FF61C-D553-4649-ACAE-E0D7993F9C9C}"/>
          </ac:spMkLst>
        </pc:spChg>
        <pc:spChg chg="del">
          <ac:chgData name="Yadav, Vikalp" userId="eb4432fb-f794-44ed-8cba-3e4ae326dc49" providerId="ADAL" clId="{0B53343F-C54C-4837-A42D-0B88502F8A84}" dt="2021-05-03T14:28:39.360" v="49" actId="478"/>
          <ac:spMkLst>
            <pc:docMk/>
            <pc:sldMk cId="2951075608" sldId="2134807471"/>
            <ac:spMk id="29" creationId="{1033F0B7-0752-42C2-BB05-33D222913042}"/>
          </ac:spMkLst>
        </pc:spChg>
        <pc:spChg chg="del mod">
          <ac:chgData name="Yadav, Vikalp" userId="eb4432fb-f794-44ed-8cba-3e4ae326dc49" providerId="ADAL" clId="{0B53343F-C54C-4837-A42D-0B88502F8A84}" dt="2021-05-03T14:28:42.385" v="50" actId="478"/>
          <ac:spMkLst>
            <pc:docMk/>
            <pc:sldMk cId="2951075608" sldId="2134807471"/>
            <ac:spMk id="30" creationId="{DC761767-1FD1-4279-90FC-0396E76A633E}"/>
          </ac:spMkLst>
        </pc:spChg>
      </pc:sldChg>
      <pc:sldChg chg="modSp mod">
        <pc:chgData name="Yadav, Vikalp" userId="eb4432fb-f794-44ed-8cba-3e4ae326dc49" providerId="ADAL" clId="{0B53343F-C54C-4837-A42D-0B88502F8A84}" dt="2021-05-03T07:00:31.934" v="15" actId="27636"/>
        <pc:sldMkLst>
          <pc:docMk/>
          <pc:sldMk cId="3701821883" sldId="2134807472"/>
        </pc:sldMkLst>
        <pc:spChg chg="mod">
          <ac:chgData name="Yadav, Vikalp" userId="eb4432fb-f794-44ed-8cba-3e4ae326dc49" providerId="ADAL" clId="{0B53343F-C54C-4837-A42D-0B88502F8A84}" dt="2021-05-03T07:00:31.934" v="15" actId="27636"/>
          <ac:spMkLst>
            <pc:docMk/>
            <pc:sldMk cId="3701821883" sldId="2134807472"/>
            <ac:spMk id="8" creationId="{B493609C-1CE2-A747-B3F1-3121F0888294}"/>
          </ac:spMkLst>
        </pc:spChg>
        <pc:spChg chg="mod">
          <ac:chgData name="Yadav, Vikalp" userId="eb4432fb-f794-44ed-8cba-3e4ae326dc49" providerId="ADAL" clId="{0B53343F-C54C-4837-A42D-0B88502F8A84}" dt="2021-05-03T07:00:31.931" v="14" actId="27636"/>
          <ac:spMkLst>
            <pc:docMk/>
            <pc:sldMk cId="3701821883" sldId="2134807472"/>
            <ac:spMk id="10" creationId="{5CE29D85-B479-7B40-9AEA-33C35CAAE91E}"/>
          </ac:spMkLst>
        </pc:spChg>
      </pc:sldChg>
      <pc:sldChg chg="modSp add del mod">
        <pc:chgData name="Yadav, Vikalp" userId="eb4432fb-f794-44ed-8cba-3e4ae326dc49" providerId="ADAL" clId="{0B53343F-C54C-4837-A42D-0B88502F8A84}" dt="2021-05-03T14:11:18.229" v="34"/>
        <pc:sldMkLst>
          <pc:docMk/>
          <pc:sldMk cId="1966572751" sldId="2134807473"/>
        </pc:sldMkLst>
        <pc:spChg chg="mod">
          <ac:chgData name="Yadav, Vikalp" userId="eb4432fb-f794-44ed-8cba-3e4ae326dc49" providerId="ADAL" clId="{0B53343F-C54C-4837-A42D-0B88502F8A84}" dt="2021-05-03T14:11:18.229" v="34"/>
          <ac:spMkLst>
            <pc:docMk/>
            <pc:sldMk cId="1966572751" sldId="2134807473"/>
            <ac:spMk id="22" creationId="{428B7B16-A357-4EB9-BB90-D28B676AB966}"/>
          </ac:spMkLst>
        </pc:spChg>
      </pc:sldChg>
      <pc:sldChg chg="addSp delSp modSp add del mod">
        <pc:chgData name="Yadav, Vikalp" userId="eb4432fb-f794-44ed-8cba-3e4ae326dc49" providerId="ADAL" clId="{0B53343F-C54C-4837-A42D-0B88502F8A84}" dt="2021-05-04T11:29:20.145" v="78" actId="20577"/>
        <pc:sldMkLst>
          <pc:docMk/>
          <pc:sldMk cId="974468460" sldId="2134807474"/>
        </pc:sldMkLst>
        <pc:spChg chg="mod">
          <ac:chgData name="Yadav, Vikalp" userId="eb4432fb-f794-44ed-8cba-3e4ae326dc49" providerId="ADAL" clId="{0B53343F-C54C-4837-A42D-0B88502F8A84}" dt="2021-05-03T14:11:18.229" v="34"/>
          <ac:spMkLst>
            <pc:docMk/>
            <pc:sldMk cId="974468460" sldId="2134807474"/>
            <ac:spMk id="14" creationId="{97E53053-0E90-4EA7-A375-2D4CB120079E}"/>
          </ac:spMkLst>
        </pc:spChg>
        <pc:spChg chg="add mod ord">
          <ac:chgData name="Yadav, Vikalp" userId="eb4432fb-f794-44ed-8cba-3e4ae326dc49" providerId="ADAL" clId="{0B53343F-C54C-4837-A42D-0B88502F8A84}" dt="2021-05-03T14:12:26.655" v="44" actId="167"/>
          <ac:spMkLst>
            <pc:docMk/>
            <pc:sldMk cId="974468460" sldId="2134807474"/>
            <ac:spMk id="27" creationId="{F8EBD3EC-97C9-4187-A7D7-4FECB8D71C9C}"/>
          </ac:spMkLst>
        </pc:spChg>
        <pc:spChg chg="mod">
          <ac:chgData name="Yadav, Vikalp" userId="eb4432fb-f794-44ed-8cba-3e4ae326dc49" providerId="ADAL" clId="{0B53343F-C54C-4837-A42D-0B88502F8A84}" dt="2021-05-04T11:29:20.145" v="78" actId="20577"/>
          <ac:spMkLst>
            <pc:docMk/>
            <pc:sldMk cId="974468460" sldId="2134807474"/>
            <ac:spMk id="29" creationId="{E45C46FC-D628-4DD4-A757-1E49A3BAC11E}"/>
          </ac:spMkLst>
        </pc:spChg>
        <pc:spChg chg="mod">
          <ac:chgData name="Yadav, Vikalp" userId="eb4432fb-f794-44ed-8cba-3e4ae326dc49" providerId="ADAL" clId="{0B53343F-C54C-4837-A42D-0B88502F8A84}" dt="2021-05-03T14:11:53.804" v="40" actId="1076"/>
          <ac:spMkLst>
            <pc:docMk/>
            <pc:sldMk cId="974468460" sldId="2134807474"/>
            <ac:spMk id="84" creationId="{40079995-A839-4A39-B9C2-A0419E88015A}"/>
          </ac:spMkLst>
        </pc:spChg>
        <pc:picChg chg="mod">
          <ac:chgData name="Yadav, Vikalp" userId="eb4432fb-f794-44ed-8cba-3e4ae326dc49" providerId="ADAL" clId="{0B53343F-C54C-4837-A42D-0B88502F8A84}" dt="2021-05-03T14:11:43.739" v="37" actId="1076"/>
          <ac:picMkLst>
            <pc:docMk/>
            <pc:sldMk cId="974468460" sldId="2134807474"/>
            <ac:picMk id="2" creationId="{A064A1DD-EDD9-6F4D-98E7-C69A1B44DB21}"/>
          </ac:picMkLst>
        </pc:picChg>
        <pc:picChg chg="del mod">
          <ac:chgData name="Yadav, Vikalp" userId="eb4432fb-f794-44ed-8cba-3e4ae326dc49" providerId="ADAL" clId="{0B53343F-C54C-4837-A42D-0B88502F8A84}" dt="2021-05-03T15:22:29.765" v="63" actId="478"/>
          <ac:picMkLst>
            <pc:docMk/>
            <pc:sldMk cId="974468460" sldId="2134807474"/>
            <ac:picMk id="1028" creationId="{87987271-221E-534D-BE0A-F75176D41AAA}"/>
          </ac:picMkLst>
        </pc:picChg>
        <pc:picChg chg="add mod">
          <ac:chgData name="Yadav, Vikalp" userId="eb4432fb-f794-44ed-8cba-3e4ae326dc49" providerId="ADAL" clId="{0B53343F-C54C-4837-A42D-0B88502F8A84}" dt="2021-05-03T15:22:48.124" v="68" actId="1076"/>
          <ac:picMkLst>
            <pc:docMk/>
            <pc:sldMk cId="974468460" sldId="2134807474"/>
            <ac:picMk id="25602" creationId="{815B7FD1-9E05-4C6F-8AF1-0AB4FBB760C5}"/>
          </ac:picMkLst>
        </pc:picChg>
        <pc:picChg chg="add mod">
          <ac:chgData name="Yadav, Vikalp" userId="eb4432fb-f794-44ed-8cba-3e4ae326dc49" providerId="ADAL" clId="{0B53343F-C54C-4837-A42D-0B88502F8A84}" dt="2021-05-04T10:56:18.499" v="74" actId="732"/>
          <ac:picMkLst>
            <pc:docMk/>
            <pc:sldMk cId="974468460" sldId="2134807474"/>
            <ac:picMk id="25604" creationId="{3DD54592-5400-402B-A862-63C0972FE8EA}"/>
          </ac:picMkLst>
        </pc:picChg>
      </pc:sldChg>
      <pc:sldChg chg="modSp mod">
        <pc:chgData name="Yadav, Vikalp" userId="eb4432fb-f794-44ed-8cba-3e4ae326dc49" providerId="ADAL" clId="{0B53343F-C54C-4837-A42D-0B88502F8A84}" dt="2021-05-03T07:00:31.905" v="13" actId="27636"/>
        <pc:sldMkLst>
          <pc:docMk/>
          <pc:sldMk cId="3265625990" sldId="2134807476"/>
        </pc:sldMkLst>
        <pc:spChg chg="mod">
          <ac:chgData name="Yadav, Vikalp" userId="eb4432fb-f794-44ed-8cba-3e4ae326dc49" providerId="ADAL" clId="{0B53343F-C54C-4837-A42D-0B88502F8A84}" dt="2021-05-03T07:00:31.905" v="13" actId="27636"/>
          <ac:spMkLst>
            <pc:docMk/>
            <pc:sldMk cId="3265625990" sldId="2134807476"/>
            <ac:spMk id="7" creationId="{AB376D37-EA11-C348-9EE0-F513CE4EEC19}"/>
          </ac:spMkLst>
        </pc:spChg>
        <pc:spChg chg="mod">
          <ac:chgData name="Yadav, Vikalp" userId="eb4432fb-f794-44ed-8cba-3e4ae326dc49" providerId="ADAL" clId="{0B53343F-C54C-4837-A42D-0B88502F8A84}" dt="2021-05-03T07:00:31.895" v="11" actId="27636"/>
          <ac:spMkLst>
            <pc:docMk/>
            <pc:sldMk cId="3265625990" sldId="2134807476"/>
            <ac:spMk id="9" creationId="{3CC5D1C7-2081-2145-B4DC-E0454E175760}"/>
          </ac:spMkLst>
        </pc:spChg>
        <pc:spChg chg="mod">
          <ac:chgData name="Yadav, Vikalp" userId="eb4432fb-f794-44ed-8cba-3e4ae326dc49" providerId="ADAL" clId="{0B53343F-C54C-4837-A42D-0B88502F8A84}" dt="2021-05-03T07:00:31.897" v="12" actId="27636"/>
          <ac:spMkLst>
            <pc:docMk/>
            <pc:sldMk cId="3265625990" sldId="2134807476"/>
            <ac:spMk id="11" creationId="{84E7A706-E6AA-BD47-9BEE-CE9B9AE60078}"/>
          </ac:spMkLst>
        </pc:spChg>
      </pc:sldChg>
      <pc:sldChg chg="add del">
        <pc:chgData name="Yadav, Vikalp" userId="eb4432fb-f794-44ed-8cba-3e4ae326dc49" providerId="ADAL" clId="{0B53343F-C54C-4837-A42D-0B88502F8A84}" dt="2021-05-03T14:27:34.785" v="45" actId="47"/>
        <pc:sldMkLst>
          <pc:docMk/>
          <pc:sldMk cId="3720836716" sldId="2147138067"/>
        </pc:sldMkLst>
      </pc:sldChg>
      <pc:sldChg chg="add del">
        <pc:chgData name="Yadav, Vikalp" userId="eb4432fb-f794-44ed-8cba-3e4ae326dc49" providerId="ADAL" clId="{0B53343F-C54C-4837-A42D-0B88502F8A84}" dt="2021-05-03T14:27:38.008" v="46" actId="47"/>
        <pc:sldMkLst>
          <pc:docMk/>
          <pc:sldMk cId="1704077457" sldId="2147138068"/>
        </pc:sldMkLst>
      </pc:sldChg>
      <pc:sldChg chg="add del">
        <pc:chgData name="Yadav, Vikalp" userId="eb4432fb-f794-44ed-8cba-3e4ae326dc49" providerId="ADAL" clId="{0B53343F-C54C-4837-A42D-0B88502F8A84}" dt="2021-05-03T14:28:57.884" v="62" actId="47"/>
        <pc:sldMkLst>
          <pc:docMk/>
          <pc:sldMk cId="266466381" sldId="2147138070"/>
        </pc:sldMkLst>
      </pc:sldChg>
    </pc:docChg>
  </pc:docChgLst>
  <pc:docChgLst>
    <pc:chgData name="Cornago, Fernando" userId="048a41c0-cb7a-447c-b2ac-f7c7348706e9" providerId="ADAL" clId="{937591CA-C1D7-784D-9DA8-42716B827479}"/>
    <pc:docChg chg="undo custSel addSld delSld modSld sldOrd delMainMaster">
      <pc:chgData name="Cornago, Fernando" userId="048a41c0-cb7a-447c-b2ac-f7c7348706e9" providerId="ADAL" clId="{937591CA-C1D7-784D-9DA8-42716B827479}" dt="2020-06-17T14:20:30.978" v="15183" actId="1076"/>
      <pc:docMkLst>
        <pc:docMk/>
      </pc:docMkLst>
      <pc:sldChg chg="add del">
        <pc:chgData name="Cornago, Fernando" userId="048a41c0-cb7a-447c-b2ac-f7c7348706e9" providerId="ADAL" clId="{937591CA-C1D7-784D-9DA8-42716B827479}" dt="2020-06-17T04:06:55.427" v="3176" actId="2696"/>
        <pc:sldMkLst>
          <pc:docMk/>
          <pc:sldMk cId="644666223" sldId="256"/>
        </pc:sldMkLst>
      </pc:sldChg>
      <pc:sldChg chg="add del">
        <pc:chgData name="Cornago, Fernando" userId="048a41c0-cb7a-447c-b2ac-f7c7348706e9" providerId="ADAL" clId="{937591CA-C1D7-784D-9DA8-42716B827479}" dt="2020-06-15T14:36:36.151" v="899"/>
        <pc:sldMkLst>
          <pc:docMk/>
          <pc:sldMk cId="1947465440" sldId="256"/>
        </pc:sldMkLst>
      </pc:sldChg>
      <pc:sldChg chg="add">
        <pc:chgData name="Cornago, Fernando" userId="048a41c0-cb7a-447c-b2ac-f7c7348706e9" providerId="ADAL" clId="{937591CA-C1D7-784D-9DA8-42716B827479}" dt="2020-06-15T14:36:36.704" v="900"/>
        <pc:sldMkLst>
          <pc:docMk/>
          <pc:sldMk cId="718676876" sldId="337"/>
        </pc:sldMkLst>
      </pc:sldChg>
      <pc:sldChg chg="add del">
        <pc:chgData name="Cornago, Fernando" userId="048a41c0-cb7a-447c-b2ac-f7c7348706e9" providerId="ADAL" clId="{937591CA-C1D7-784D-9DA8-42716B827479}" dt="2020-06-15T14:36:36.151" v="899"/>
        <pc:sldMkLst>
          <pc:docMk/>
          <pc:sldMk cId="2775676082" sldId="337"/>
        </pc:sldMkLst>
      </pc:sldChg>
      <pc:sldChg chg="add del">
        <pc:chgData name="Cornago, Fernando" userId="048a41c0-cb7a-447c-b2ac-f7c7348706e9" providerId="ADAL" clId="{937591CA-C1D7-784D-9DA8-42716B827479}" dt="2020-06-15T14:36:36.151" v="899"/>
        <pc:sldMkLst>
          <pc:docMk/>
          <pc:sldMk cId="304976787" sldId="339"/>
        </pc:sldMkLst>
      </pc:sldChg>
      <pc:sldChg chg="add">
        <pc:chgData name="Cornago, Fernando" userId="048a41c0-cb7a-447c-b2ac-f7c7348706e9" providerId="ADAL" clId="{937591CA-C1D7-784D-9DA8-42716B827479}" dt="2020-06-15T14:36:36.704" v="900"/>
        <pc:sldMkLst>
          <pc:docMk/>
          <pc:sldMk cId="510418771" sldId="339"/>
        </pc:sldMkLst>
      </pc:sldChg>
      <pc:sldChg chg="add del">
        <pc:chgData name="Cornago, Fernando" userId="048a41c0-cb7a-447c-b2ac-f7c7348706e9" providerId="ADAL" clId="{937591CA-C1D7-784D-9DA8-42716B827479}" dt="2020-06-15T14:36:36.151" v="899"/>
        <pc:sldMkLst>
          <pc:docMk/>
          <pc:sldMk cId="625490748" sldId="340"/>
        </pc:sldMkLst>
      </pc:sldChg>
      <pc:sldChg chg="add">
        <pc:chgData name="Cornago, Fernando" userId="048a41c0-cb7a-447c-b2ac-f7c7348706e9" providerId="ADAL" clId="{937591CA-C1D7-784D-9DA8-42716B827479}" dt="2020-06-15T14:36:36.704" v="900"/>
        <pc:sldMkLst>
          <pc:docMk/>
          <pc:sldMk cId="948930736" sldId="340"/>
        </pc:sldMkLst>
      </pc:sldChg>
      <pc:sldChg chg="add">
        <pc:chgData name="Cornago, Fernando" userId="048a41c0-cb7a-447c-b2ac-f7c7348706e9" providerId="ADAL" clId="{937591CA-C1D7-784D-9DA8-42716B827479}" dt="2020-06-15T14:36:36.704" v="900"/>
        <pc:sldMkLst>
          <pc:docMk/>
          <pc:sldMk cId="1960794730" sldId="341"/>
        </pc:sldMkLst>
      </pc:sldChg>
      <pc:sldChg chg="add del">
        <pc:chgData name="Cornago, Fernando" userId="048a41c0-cb7a-447c-b2ac-f7c7348706e9" providerId="ADAL" clId="{937591CA-C1D7-784D-9DA8-42716B827479}" dt="2020-06-15T14:36:36.151" v="899"/>
        <pc:sldMkLst>
          <pc:docMk/>
          <pc:sldMk cId="4138620196" sldId="341"/>
        </pc:sldMkLst>
      </pc:sldChg>
      <pc:sldChg chg="add">
        <pc:chgData name="Cornago, Fernando" userId="048a41c0-cb7a-447c-b2ac-f7c7348706e9" providerId="ADAL" clId="{937591CA-C1D7-784D-9DA8-42716B827479}" dt="2020-06-15T14:36:36.704" v="900"/>
        <pc:sldMkLst>
          <pc:docMk/>
          <pc:sldMk cId="1264826692" sldId="342"/>
        </pc:sldMkLst>
      </pc:sldChg>
      <pc:sldChg chg="add del">
        <pc:chgData name="Cornago, Fernando" userId="048a41c0-cb7a-447c-b2ac-f7c7348706e9" providerId="ADAL" clId="{937591CA-C1D7-784D-9DA8-42716B827479}" dt="2020-06-15T14:36:36.151" v="899"/>
        <pc:sldMkLst>
          <pc:docMk/>
          <pc:sldMk cId="3098385083" sldId="342"/>
        </pc:sldMkLst>
      </pc:sldChg>
      <pc:sldChg chg="add del">
        <pc:chgData name="Cornago, Fernando" userId="048a41c0-cb7a-447c-b2ac-f7c7348706e9" providerId="ADAL" clId="{937591CA-C1D7-784D-9DA8-42716B827479}" dt="2020-06-15T14:36:36.151" v="899"/>
        <pc:sldMkLst>
          <pc:docMk/>
          <pc:sldMk cId="1561992977" sldId="343"/>
        </pc:sldMkLst>
      </pc:sldChg>
      <pc:sldChg chg="add">
        <pc:chgData name="Cornago, Fernando" userId="048a41c0-cb7a-447c-b2ac-f7c7348706e9" providerId="ADAL" clId="{937591CA-C1D7-784D-9DA8-42716B827479}" dt="2020-06-15T14:36:36.704" v="900"/>
        <pc:sldMkLst>
          <pc:docMk/>
          <pc:sldMk cId="3397083793" sldId="343"/>
        </pc:sldMkLst>
      </pc:sldChg>
      <pc:sldChg chg="add del">
        <pc:chgData name="Cornago, Fernando" userId="048a41c0-cb7a-447c-b2ac-f7c7348706e9" providerId="ADAL" clId="{937591CA-C1D7-784D-9DA8-42716B827479}" dt="2020-06-15T14:36:36.151" v="899"/>
        <pc:sldMkLst>
          <pc:docMk/>
          <pc:sldMk cId="396473173" sldId="344"/>
        </pc:sldMkLst>
      </pc:sldChg>
      <pc:sldChg chg="add">
        <pc:chgData name="Cornago, Fernando" userId="048a41c0-cb7a-447c-b2ac-f7c7348706e9" providerId="ADAL" clId="{937591CA-C1D7-784D-9DA8-42716B827479}" dt="2020-06-15T14:36:36.704" v="900"/>
        <pc:sldMkLst>
          <pc:docMk/>
          <pc:sldMk cId="2056305136" sldId="344"/>
        </pc:sldMkLst>
      </pc:sldChg>
      <pc:sldChg chg="add">
        <pc:chgData name="Cornago, Fernando" userId="048a41c0-cb7a-447c-b2ac-f7c7348706e9" providerId="ADAL" clId="{937591CA-C1D7-784D-9DA8-42716B827479}" dt="2020-06-15T14:36:36.704" v="900"/>
        <pc:sldMkLst>
          <pc:docMk/>
          <pc:sldMk cId="276579332" sldId="345"/>
        </pc:sldMkLst>
      </pc:sldChg>
      <pc:sldChg chg="add del">
        <pc:chgData name="Cornago, Fernando" userId="048a41c0-cb7a-447c-b2ac-f7c7348706e9" providerId="ADAL" clId="{937591CA-C1D7-784D-9DA8-42716B827479}" dt="2020-06-15T14:36:36.151" v="899"/>
        <pc:sldMkLst>
          <pc:docMk/>
          <pc:sldMk cId="2504955546" sldId="345"/>
        </pc:sldMkLst>
      </pc:sldChg>
      <pc:sldChg chg="add del">
        <pc:chgData name="Cornago, Fernando" userId="048a41c0-cb7a-447c-b2ac-f7c7348706e9" providerId="ADAL" clId="{937591CA-C1D7-784D-9DA8-42716B827479}" dt="2020-06-15T14:36:36.151" v="899"/>
        <pc:sldMkLst>
          <pc:docMk/>
          <pc:sldMk cId="1507399547" sldId="346"/>
        </pc:sldMkLst>
      </pc:sldChg>
      <pc:sldChg chg="add">
        <pc:chgData name="Cornago, Fernando" userId="048a41c0-cb7a-447c-b2ac-f7c7348706e9" providerId="ADAL" clId="{937591CA-C1D7-784D-9DA8-42716B827479}" dt="2020-06-15T14:36:36.704" v="900"/>
        <pc:sldMkLst>
          <pc:docMk/>
          <pc:sldMk cId="2936203649" sldId="346"/>
        </pc:sldMkLst>
      </pc:sldChg>
      <pc:sldChg chg="add del">
        <pc:chgData name="Cornago, Fernando" userId="048a41c0-cb7a-447c-b2ac-f7c7348706e9" providerId="ADAL" clId="{937591CA-C1D7-784D-9DA8-42716B827479}" dt="2020-06-15T14:36:36.151" v="899"/>
        <pc:sldMkLst>
          <pc:docMk/>
          <pc:sldMk cId="2104287892" sldId="347"/>
        </pc:sldMkLst>
      </pc:sldChg>
      <pc:sldChg chg="add">
        <pc:chgData name="Cornago, Fernando" userId="048a41c0-cb7a-447c-b2ac-f7c7348706e9" providerId="ADAL" clId="{937591CA-C1D7-784D-9DA8-42716B827479}" dt="2020-06-15T14:36:36.704" v="900"/>
        <pc:sldMkLst>
          <pc:docMk/>
          <pc:sldMk cId="2369710204" sldId="347"/>
        </pc:sldMkLst>
      </pc:sldChg>
      <pc:sldChg chg="add">
        <pc:chgData name="Cornago, Fernando" userId="048a41c0-cb7a-447c-b2ac-f7c7348706e9" providerId="ADAL" clId="{937591CA-C1D7-784D-9DA8-42716B827479}" dt="2020-06-15T14:36:36.704" v="900"/>
        <pc:sldMkLst>
          <pc:docMk/>
          <pc:sldMk cId="3160764109" sldId="348"/>
        </pc:sldMkLst>
      </pc:sldChg>
      <pc:sldChg chg="add del">
        <pc:chgData name="Cornago, Fernando" userId="048a41c0-cb7a-447c-b2ac-f7c7348706e9" providerId="ADAL" clId="{937591CA-C1D7-784D-9DA8-42716B827479}" dt="2020-06-15T14:36:36.151" v="899"/>
        <pc:sldMkLst>
          <pc:docMk/>
          <pc:sldMk cId="3216753863" sldId="348"/>
        </pc:sldMkLst>
      </pc:sldChg>
      <pc:sldChg chg="add">
        <pc:chgData name="Cornago, Fernando" userId="048a41c0-cb7a-447c-b2ac-f7c7348706e9" providerId="ADAL" clId="{937591CA-C1D7-784D-9DA8-42716B827479}" dt="2020-06-15T14:36:36.704" v="900"/>
        <pc:sldMkLst>
          <pc:docMk/>
          <pc:sldMk cId="1495075936" sldId="349"/>
        </pc:sldMkLst>
      </pc:sldChg>
      <pc:sldChg chg="add del">
        <pc:chgData name="Cornago, Fernando" userId="048a41c0-cb7a-447c-b2ac-f7c7348706e9" providerId="ADAL" clId="{937591CA-C1D7-784D-9DA8-42716B827479}" dt="2020-06-15T14:36:36.151" v="899"/>
        <pc:sldMkLst>
          <pc:docMk/>
          <pc:sldMk cId="4012506771" sldId="349"/>
        </pc:sldMkLst>
      </pc:sldChg>
      <pc:sldChg chg="add del">
        <pc:chgData name="Cornago, Fernando" userId="048a41c0-cb7a-447c-b2ac-f7c7348706e9" providerId="ADAL" clId="{937591CA-C1D7-784D-9DA8-42716B827479}" dt="2020-06-15T14:36:36.151" v="899"/>
        <pc:sldMkLst>
          <pc:docMk/>
          <pc:sldMk cId="3778627193" sldId="350"/>
        </pc:sldMkLst>
      </pc:sldChg>
      <pc:sldChg chg="add">
        <pc:chgData name="Cornago, Fernando" userId="048a41c0-cb7a-447c-b2ac-f7c7348706e9" providerId="ADAL" clId="{937591CA-C1D7-784D-9DA8-42716B827479}" dt="2020-06-15T14:36:36.704" v="900"/>
        <pc:sldMkLst>
          <pc:docMk/>
          <pc:sldMk cId="4092422131" sldId="350"/>
        </pc:sldMkLst>
      </pc:sldChg>
      <pc:sldChg chg="add del">
        <pc:chgData name="Cornago, Fernando" userId="048a41c0-cb7a-447c-b2ac-f7c7348706e9" providerId="ADAL" clId="{937591CA-C1D7-784D-9DA8-42716B827479}" dt="2020-06-15T14:36:36.151" v="899"/>
        <pc:sldMkLst>
          <pc:docMk/>
          <pc:sldMk cId="2873465548" sldId="351"/>
        </pc:sldMkLst>
      </pc:sldChg>
      <pc:sldChg chg="add">
        <pc:chgData name="Cornago, Fernando" userId="048a41c0-cb7a-447c-b2ac-f7c7348706e9" providerId="ADAL" clId="{937591CA-C1D7-784D-9DA8-42716B827479}" dt="2020-06-15T14:36:36.704" v="900"/>
        <pc:sldMkLst>
          <pc:docMk/>
          <pc:sldMk cId="3433865216" sldId="351"/>
        </pc:sldMkLst>
      </pc:sldChg>
      <pc:sldChg chg="add">
        <pc:chgData name="Cornago, Fernando" userId="048a41c0-cb7a-447c-b2ac-f7c7348706e9" providerId="ADAL" clId="{937591CA-C1D7-784D-9DA8-42716B827479}" dt="2020-06-15T14:36:36.704" v="900"/>
        <pc:sldMkLst>
          <pc:docMk/>
          <pc:sldMk cId="1710370991" sldId="352"/>
        </pc:sldMkLst>
      </pc:sldChg>
      <pc:sldChg chg="add del">
        <pc:chgData name="Cornago, Fernando" userId="048a41c0-cb7a-447c-b2ac-f7c7348706e9" providerId="ADAL" clId="{937591CA-C1D7-784D-9DA8-42716B827479}" dt="2020-06-15T14:36:36.151" v="899"/>
        <pc:sldMkLst>
          <pc:docMk/>
          <pc:sldMk cId="3126244597" sldId="352"/>
        </pc:sldMkLst>
      </pc:sldChg>
      <pc:sldChg chg="addSp delSp modSp add del">
        <pc:chgData name="Cornago, Fernando" userId="048a41c0-cb7a-447c-b2ac-f7c7348706e9" providerId="ADAL" clId="{937591CA-C1D7-784D-9DA8-42716B827479}" dt="2020-06-17T06:26:21.829" v="13994" actId="2696"/>
        <pc:sldMkLst>
          <pc:docMk/>
          <pc:sldMk cId="1567447515" sldId="353"/>
        </pc:sldMkLst>
        <pc:spChg chg="del">
          <ac:chgData name="Cornago, Fernando" userId="048a41c0-cb7a-447c-b2ac-f7c7348706e9" providerId="ADAL" clId="{937591CA-C1D7-784D-9DA8-42716B827479}" dt="2020-06-17T06:25:33.401" v="13968" actId="478"/>
          <ac:spMkLst>
            <pc:docMk/>
            <pc:sldMk cId="1567447515" sldId="353"/>
            <ac:spMk id="6" creationId="{14F2C5B1-AAC7-184B-87EC-C4BB87B13E88}"/>
          </ac:spMkLst>
        </pc:spChg>
        <pc:spChg chg="add del mod">
          <ac:chgData name="Cornago, Fernando" userId="048a41c0-cb7a-447c-b2ac-f7c7348706e9" providerId="ADAL" clId="{937591CA-C1D7-784D-9DA8-42716B827479}" dt="2020-06-17T06:25:40.796" v="13970"/>
          <ac:spMkLst>
            <pc:docMk/>
            <pc:sldMk cId="1567447515" sldId="353"/>
            <ac:spMk id="8" creationId="{2E31EEFE-A3DE-AF46-B187-73C024BFF7D2}"/>
          </ac:spMkLst>
        </pc:spChg>
        <pc:spChg chg="add del mod">
          <ac:chgData name="Cornago, Fernando" userId="048a41c0-cb7a-447c-b2ac-f7c7348706e9" providerId="ADAL" clId="{937591CA-C1D7-784D-9DA8-42716B827479}" dt="2020-06-17T06:25:40.796" v="13970"/>
          <ac:spMkLst>
            <pc:docMk/>
            <pc:sldMk cId="1567447515" sldId="353"/>
            <ac:spMk id="9" creationId="{5C55CA1E-FCFC-7D4D-8D9C-FC1C62F2A13F}"/>
          </ac:spMkLst>
        </pc:spChg>
        <pc:spChg chg="add del mod">
          <ac:chgData name="Cornago, Fernando" userId="048a41c0-cb7a-447c-b2ac-f7c7348706e9" providerId="ADAL" clId="{937591CA-C1D7-784D-9DA8-42716B827479}" dt="2020-06-17T06:25:40.796" v="13970"/>
          <ac:spMkLst>
            <pc:docMk/>
            <pc:sldMk cId="1567447515" sldId="353"/>
            <ac:spMk id="10" creationId="{F9306E5E-5BD3-ED46-B316-35566D5FC2ED}"/>
          </ac:spMkLst>
        </pc:spChg>
        <pc:spChg chg="add del mod">
          <ac:chgData name="Cornago, Fernando" userId="048a41c0-cb7a-447c-b2ac-f7c7348706e9" providerId="ADAL" clId="{937591CA-C1D7-784D-9DA8-42716B827479}" dt="2020-06-17T06:25:40.796" v="13970"/>
          <ac:spMkLst>
            <pc:docMk/>
            <pc:sldMk cId="1567447515" sldId="353"/>
            <ac:spMk id="11" creationId="{D5291CE0-DF27-C447-919F-FB4B96A762F3}"/>
          </ac:spMkLst>
        </pc:spChg>
        <pc:spChg chg="add del mod">
          <ac:chgData name="Cornago, Fernando" userId="048a41c0-cb7a-447c-b2ac-f7c7348706e9" providerId="ADAL" clId="{937591CA-C1D7-784D-9DA8-42716B827479}" dt="2020-06-17T06:25:40.796" v="13970"/>
          <ac:spMkLst>
            <pc:docMk/>
            <pc:sldMk cId="1567447515" sldId="353"/>
            <ac:spMk id="12" creationId="{60F3FA3E-0271-FB46-A2CF-5C5203A985B6}"/>
          </ac:spMkLst>
        </pc:spChg>
        <pc:spChg chg="add del mod">
          <ac:chgData name="Cornago, Fernando" userId="048a41c0-cb7a-447c-b2ac-f7c7348706e9" providerId="ADAL" clId="{937591CA-C1D7-784D-9DA8-42716B827479}" dt="2020-06-17T06:25:40.796" v="13970"/>
          <ac:spMkLst>
            <pc:docMk/>
            <pc:sldMk cId="1567447515" sldId="353"/>
            <ac:spMk id="13" creationId="{4CA05D68-82F0-AB45-8E9A-6A1D62D7BF27}"/>
          </ac:spMkLst>
        </pc:spChg>
        <pc:spChg chg="add del mod">
          <ac:chgData name="Cornago, Fernando" userId="048a41c0-cb7a-447c-b2ac-f7c7348706e9" providerId="ADAL" clId="{937591CA-C1D7-784D-9DA8-42716B827479}" dt="2020-06-17T06:25:40.796" v="13970"/>
          <ac:spMkLst>
            <pc:docMk/>
            <pc:sldMk cId="1567447515" sldId="353"/>
            <ac:spMk id="16" creationId="{D28A7C44-FCD6-D249-A722-A78B8624456E}"/>
          </ac:spMkLst>
        </pc:spChg>
        <pc:spChg chg="add del mod">
          <ac:chgData name="Cornago, Fernando" userId="048a41c0-cb7a-447c-b2ac-f7c7348706e9" providerId="ADAL" clId="{937591CA-C1D7-784D-9DA8-42716B827479}" dt="2020-06-17T06:25:40.796" v="13970"/>
          <ac:spMkLst>
            <pc:docMk/>
            <pc:sldMk cId="1567447515" sldId="353"/>
            <ac:spMk id="18" creationId="{C1206D6A-CDE6-2246-B003-265874E5370B}"/>
          </ac:spMkLst>
        </pc:spChg>
        <pc:spChg chg="add del mod">
          <ac:chgData name="Cornago, Fernando" userId="048a41c0-cb7a-447c-b2ac-f7c7348706e9" providerId="ADAL" clId="{937591CA-C1D7-784D-9DA8-42716B827479}" dt="2020-06-17T06:25:40.796" v="13970"/>
          <ac:spMkLst>
            <pc:docMk/>
            <pc:sldMk cId="1567447515" sldId="353"/>
            <ac:spMk id="19" creationId="{39F2A446-2666-1F4F-BDF9-C00210DB13F8}"/>
          </ac:spMkLst>
        </pc:spChg>
        <pc:spChg chg="add del mod">
          <ac:chgData name="Cornago, Fernando" userId="048a41c0-cb7a-447c-b2ac-f7c7348706e9" providerId="ADAL" clId="{937591CA-C1D7-784D-9DA8-42716B827479}" dt="2020-06-17T06:25:40.796" v="13970"/>
          <ac:spMkLst>
            <pc:docMk/>
            <pc:sldMk cId="1567447515" sldId="353"/>
            <ac:spMk id="20" creationId="{36CCED2C-DF9C-BA48-9D27-64AA1E7B849D}"/>
          </ac:spMkLst>
        </pc:spChg>
        <pc:spChg chg="add del mod">
          <ac:chgData name="Cornago, Fernando" userId="048a41c0-cb7a-447c-b2ac-f7c7348706e9" providerId="ADAL" clId="{937591CA-C1D7-784D-9DA8-42716B827479}" dt="2020-06-17T06:25:40.796" v="13970"/>
          <ac:spMkLst>
            <pc:docMk/>
            <pc:sldMk cId="1567447515" sldId="353"/>
            <ac:spMk id="21" creationId="{707C9502-E3D1-D045-92DA-09F563A461A4}"/>
          </ac:spMkLst>
        </pc:spChg>
        <pc:spChg chg="add del mod">
          <ac:chgData name="Cornago, Fernando" userId="048a41c0-cb7a-447c-b2ac-f7c7348706e9" providerId="ADAL" clId="{937591CA-C1D7-784D-9DA8-42716B827479}" dt="2020-06-17T06:25:40.796" v="13970"/>
          <ac:spMkLst>
            <pc:docMk/>
            <pc:sldMk cId="1567447515" sldId="353"/>
            <ac:spMk id="22" creationId="{F736674E-6FB1-084F-ACD5-522F32EB724A}"/>
          </ac:spMkLst>
        </pc:spChg>
        <pc:spChg chg="add del mod">
          <ac:chgData name="Cornago, Fernando" userId="048a41c0-cb7a-447c-b2ac-f7c7348706e9" providerId="ADAL" clId="{937591CA-C1D7-784D-9DA8-42716B827479}" dt="2020-06-17T06:25:40.796" v="13970"/>
          <ac:spMkLst>
            <pc:docMk/>
            <pc:sldMk cId="1567447515" sldId="353"/>
            <ac:spMk id="23" creationId="{7EA9C177-1A86-6444-A303-C0BADE8E3D47}"/>
          </ac:spMkLst>
        </pc:spChg>
        <pc:picChg chg="add del mod">
          <ac:chgData name="Cornago, Fernando" userId="048a41c0-cb7a-447c-b2ac-f7c7348706e9" providerId="ADAL" clId="{937591CA-C1D7-784D-9DA8-42716B827479}" dt="2020-06-17T06:25:40.796" v="13970"/>
          <ac:picMkLst>
            <pc:docMk/>
            <pc:sldMk cId="1567447515" sldId="353"/>
            <ac:picMk id="7" creationId="{396C60C0-ADC8-7D49-BFFC-DB1656B845EF}"/>
          </ac:picMkLst>
        </pc:picChg>
        <pc:picChg chg="add del mod">
          <ac:chgData name="Cornago, Fernando" userId="048a41c0-cb7a-447c-b2ac-f7c7348706e9" providerId="ADAL" clId="{937591CA-C1D7-784D-9DA8-42716B827479}" dt="2020-06-17T06:25:40.796" v="13970"/>
          <ac:picMkLst>
            <pc:docMk/>
            <pc:sldMk cId="1567447515" sldId="353"/>
            <ac:picMk id="17" creationId="{D5F9AC22-B23A-634B-A44D-FDBC97723A8E}"/>
          </ac:picMkLst>
        </pc:picChg>
        <pc:picChg chg="add del">
          <ac:chgData name="Cornago, Fernando" userId="048a41c0-cb7a-447c-b2ac-f7c7348706e9" providerId="ADAL" clId="{937591CA-C1D7-784D-9DA8-42716B827479}" dt="2020-06-17T06:25:42.355" v="13972"/>
          <ac:picMkLst>
            <pc:docMk/>
            <pc:sldMk cId="1567447515" sldId="353"/>
            <ac:picMk id="24" creationId="{A7BE401F-ECCD-7F47-9A0E-BDE59BCC6A52}"/>
          </ac:picMkLst>
        </pc:picChg>
        <pc:cxnChg chg="add del mod">
          <ac:chgData name="Cornago, Fernando" userId="048a41c0-cb7a-447c-b2ac-f7c7348706e9" providerId="ADAL" clId="{937591CA-C1D7-784D-9DA8-42716B827479}" dt="2020-06-17T06:25:40.796" v="13970"/>
          <ac:cxnSpMkLst>
            <pc:docMk/>
            <pc:sldMk cId="1567447515" sldId="353"/>
            <ac:cxnSpMk id="14" creationId="{3D0332AE-877E-7E48-AAA9-F795A41AD045}"/>
          </ac:cxnSpMkLst>
        </pc:cxnChg>
        <pc:cxnChg chg="add del mod">
          <ac:chgData name="Cornago, Fernando" userId="048a41c0-cb7a-447c-b2ac-f7c7348706e9" providerId="ADAL" clId="{937591CA-C1D7-784D-9DA8-42716B827479}" dt="2020-06-17T06:25:40.796" v="13970"/>
          <ac:cxnSpMkLst>
            <pc:docMk/>
            <pc:sldMk cId="1567447515" sldId="353"/>
            <ac:cxnSpMk id="15" creationId="{F66A6AC2-72EC-CB49-9444-1FA4EB69F98C}"/>
          </ac:cxnSpMkLst>
        </pc:cxnChg>
      </pc:sldChg>
      <pc:sldChg chg="add del">
        <pc:chgData name="Cornago, Fernando" userId="048a41c0-cb7a-447c-b2ac-f7c7348706e9" providerId="ADAL" clId="{937591CA-C1D7-784D-9DA8-42716B827479}" dt="2020-06-15T14:36:36.151" v="899"/>
        <pc:sldMkLst>
          <pc:docMk/>
          <pc:sldMk cId="1747924089" sldId="353"/>
        </pc:sldMkLst>
      </pc:sldChg>
      <pc:sldChg chg="del">
        <pc:chgData name="Cornago, Fernando" userId="048a41c0-cb7a-447c-b2ac-f7c7348706e9" providerId="ADAL" clId="{937591CA-C1D7-784D-9DA8-42716B827479}" dt="2020-06-16T05:37:54.195" v="2028" actId="2696"/>
        <pc:sldMkLst>
          <pc:docMk/>
          <pc:sldMk cId="1111436320" sldId="354"/>
        </pc:sldMkLst>
      </pc:sldChg>
      <pc:sldChg chg="add del">
        <pc:chgData name="Cornago, Fernando" userId="048a41c0-cb7a-447c-b2ac-f7c7348706e9" providerId="ADAL" clId="{937591CA-C1D7-784D-9DA8-42716B827479}" dt="2020-06-15T14:36:36.151" v="899"/>
        <pc:sldMkLst>
          <pc:docMk/>
          <pc:sldMk cId="678737525" sldId="355"/>
        </pc:sldMkLst>
      </pc:sldChg>
      <pc:sldChg chg="add">
        <pc:chgData name="Cornago, Fernando" userId="048a41c0-cb7a-447c-b2ac-f7c7348706e9" providerId="ADAL" clId="{937591CA-C1D7-784D-9DA8-42716B827479}" dt="2020-06-15T14:36:36.704" v="900"/>
        <pc:sldMkLst>
          <pc:docMk/>
          <pc:sldMk cId="1700548313" sldId="355"/>
        </pc:sldMkLst>
      </pc:sldChg>
      <pc:sldChg chg="del">
        <pc:chgData name="Cornago, Fernando" userId="048a41c0-cb7a-447c-b2ac-f7c7348706e9" providerId="ADAL" clId="{937591CA-C1D7-784D-9DA8-42716B827479}" dt="2020-06-16T05:37:54.203" v="2029" actId="2696"/>
        <pc:sldMkLst>
          <pc:docMk/>
          <pc:sldMk cId="481350234" sldId="606"/>
        </pc:sldMkLst>
      </pc:sldChg>
      <pc:sldChg chg="addSp delSp modSp add del delAnim">
        <pc:chgData name="Cornago, Fernando" userId="048a41c0-cb7a-447c-b2ac-f7c7348706e9" providerId="ADAL" clId="{937591CA-C1D7-784D-9DA8-42716B827479}" dt="2020-06-15T14:32:11.204" v="896" actId="2696"/>
        <pc:sldMkLst>
          <pc:docMk/>
          <pc:sldMk cId="682005676" sldId="679"/>
        </pc:sldMkLst>
        <pc:spChg chg="del">
          <ac:chgData name="Cornago, Fernando" userId="048a41c0-cb7a-447c-b2ac-f7c7348706e9" providerId="ADAL" clId="{937591CA-C1D7-784D-9DA8-42716B827479}" dt="2020-06-15T14:05:11.013" v="551" actId="478"/>
          <ac:spMkLst>
            <pc:docMk/>
            <pc:sldMk cId="682005676" sldId="679"/>
            <ac:spMk id="8" creationId="{92E2B9D6-7933-A54B-BB76-6471F3B49847}"/>
          </ac:spMkLst>
        </pc:spChg>
        <pc:spChg chg="add mod">
          <ac:chgData name="Cornago, Fernando" userId="048a41c0-cb7a-447c-b2ac-f7c7348706e9" providerId="ADAL" clId="{937591CA-C1D7-784D-9DA8-42716B827479}" dt="2020-06-15T14:30:39.575" v="825" actId="1076"/>
          <ac:spMkLst>
            <pc:docMk/>
            <pc:sldMk cId="682005676" sldId="679"/>
            <ac:spMk id="12" creationId="{F879957A-D4AF-C446-B109-9FE6A8CBA17E}"/>
          </ac:spMkLst>
        </pc:spChg>
      </pc:sldChg>
      <pc:sldChg chg="del">
        <pc:chgData name="Cornago, Fernando" userId="048a41c0-cb7a-447c-b2ac-f7c7348706e9" providerId="ADAL" clId="{937591CA-C1D7-784D-9DA8-42716B827479}" dt="2020-06-16T05:37:54.035" v="2019" actId="2696"/>
        <pc:sldMkLst>
          <pc:docMk/>
          <pc:sldMk cId="1881872907" sldId="4200"/>
        </pc:sldMkLst>
      </pc:sldChg>
      <pc:sldChg chg="del">
        <pc:chgData name="Cornago, Fernando" userId="048a41c0-cb7a-447c-b2ac-f7c7348706e9" providerId="ADAL" clId="{937591CA-C1D7-784D-9DA8-42716B827479}" dt="2020-06-16T05:37:54.022" v="2018" actId="2696"/>
        <pc:sldMkLst>
          <pc:docMk/>
          <pc:sldMk cId="3242009936" sldId="4203"/>
        </pc:sldMkLst>
      </pc:sldChg>
      <pc:sldChg chg="del">
        <pc:chgData name="Cornago, Fernando" userId="048a41c0-cb7a-447c-b2ac-f7c7348706e9" providerId="ADAL" clId="{937591CA-C1D7-784D-9DA8-42716B827479}" dt="2020-06-16T05:37:54.075" v="2021" actId="2696"/>
        <pc:sldMkLst>
          <pc:docMk/>
          <pc:sldMk cId="3304565818" sldId="4204"/>
        </pc:sldMkLst>
      </pc:sldChg>
      <pc:sldChg chg="del">
        <pc:chgData name="Cornago, Fernando" userId="048a41c0-cb7a-447c-b2ac-f7c7348706e9" providerId="ADAL" clId="{937591CA-C1D7-784D-9DA8-42716B827479}" dt="2020-06-16T05:37:54.112" v="2024" actId="2696"/>
        <pc:sldMkLst>
          <pc:docMk/>
          <pc:sldMk cId="3693517966" sldId="4205"/>
        </pc:sldMkLst>
      </pc:sldChg>
      <pc:sldChg chg="del">
        <pc:chgData name="Cornago, Fernando" userId="048a41c0-cb7a-447c-b2ac-f7c7348706e9" providerId="ADAL" clId="{937591CA-C1D7-784D-9DA8-42716B827479}" dt="2020-06-16T05:37:54.062" v="2020" actId="2696"/>
        <pc:sldMkLst>
          <pc:docMk/>
          <pc:sldMk cId="2152920399" sldId="4206"/>
        </pc:sldMkLst>
      </pc:sldChg>
      <pc:sldChg chg="del">
        <pc:chgData name="Cornago, Fernando" userId="048a41c0-cb7a-447c-b2ac-f7c7348706e9" providerId="ADAL" clId="{937591CA-C1D7-784D-9DA8-42716B827479}" dt="2020-06-16T05:37:54.096" v="2022" actId="2696"/>
        <pc:sldMkLst>
          <pc:docMk/>
          <pc:sldMk cId="979240142" sldId="4207"/>
        </pc:sldMkLst>
      </pc:sldChg>
      <pc:sldChg chg="add">
        <pc:chgData name="Cornago, Fernando" userId="048a41c0-cb7a-447c-b2ac-f7c7348706e9" providerId="ADAL" clId="{937591CA-C1D7-784D-9DA8-42716B827479}" dt="2020-06-15T14:36:36.704" v="900"/>
        <pc:sldMkLst>
          <pc:docMk/>
          <pc:sldMk cId="4150564228" sldId="4208"/>
        </pc:sldMkLst>
      </pc:sldChg>
      <pc:sldChg chg="add del">
        <pc:chgData name="Cornago, Fernando" userId="048a41c0-cb7a-447c-b2ac-f7c7348706e9" providerId="ADAL" clId="{937591CA-C1D7-784D-9DA8-42716B827479}" dt="2020-06-15T14:36:36.151" v="899"/>
        <pc:sldMkLst>
          <pc:docMk/>
          <pc:sldMk cId="4232138749" sldId="4208"/>
        </pc:sldMkLst>
      </pc:sldChg>
      <pc:sldChg chg="del">
        <pc:chgData name="Cornago, Fernando" userId="048a41c0-cb7a-447c-b2ac-f7c7348706e9" providerId="ADAL" clId="{937591CA-C1D7-784D-9DA8-42716B827479}" dt="2020-06-16T05:37:54.121" v="2025" actId="2696"/>
        <pc:sldMkLst>
          <pc:docMk/>
          <pc:sldMk cId="1418848944" sldId="4209"/>
        </pc:sldMkLst>
      </pc:sldChg>
      <pc:sldChg chg="addSp delSp modSp delAnim modNotesTx">
        <pc:chgData name="Cornago, Fernando" userId="048a41c0-cb7a-447c-b2ac-f7c7348706e9" providerId="ADAL" clId="{937591CA-C1D7-784D-9DA8-42716B827479}" dt="2020-06-17T06:20:55.164" v="13823" actId="20577"/>
        <pc:sldMkLst>
          <pc:docMk/>
          <pc:sldMk cId="3329268894" sldId="4210"/>
        </pc:sldMkLst>
        <pc:spChg chg="del">
          <ac:chgData name="Cornago, Fernando" userId="048a41c0-cb7a-447c-b2ac-f7c7348706e9" providerId="ADAL" clId="{937591CA-C1D7-784D-9DA8-42716B827479}" dt="2020-06-10T12:18:16.641" v="1" actId="478"/>
          <ac:spMkLst>
            <pc:docMk/>
            <pc:sldMk cId="3329268894" sldId="4210"/>
            <ac:spMk id="3" creationId="{9C6C31EA-7F42-E14F-96BE-FAC75EC72AF4}"/>
          </ac:spMkLst>
        </pc:spChg>
        <pc:spChg chg="add mod">
          <ac:chgData name="Cornago, Fernando" userId="048a41c0-cb7a-447c-b2ac-f7c7348706e9" providerId="ADAL" clId="{937591CA-C1D7-784D-9DA8-42716B827479}" dt="2020-06-12T07:55:37.512" v="55"/>
          <ac:spMkLst>
            <pc:docMk/>
            <pc:sldMk cId="3329268894" sldId="4210"/>
            <ac:spMk id="4" creationId="{8E92EC2D-21D8-B34B-9CE1-001DFCE77B00}"/>
          </ac:spMkLst>
        </pc:spChg>
        <pc:picChg chg="del">
          <ac:chgData name="Cornago, Fernando" userId="048a41c0-cb7a-447c-b2ac-f7c7348706e9" providerId="ADAL" clId="{937591CA-C1D7-784D-9DA8-42716B827479}" dt="2020-06-10T12:18:14.049" v="0" actId="478"/>
          <ac:picMkLst>
            <pc:docMk/>
            <pc:sldMk cId="3329268894" sldId="4210"/>
            <ac:picMk id="2" creationId="{1EF5AB43-E6EC-D24E-A688-7ED4AF7DF572}"/>
          </ac:picMkLst>
        </pc:picChg>
        <pc:picChg chg="add">
          <ac:chgData name="Cornago, Fernando" userId="048a41c0-cb7a-447c-b2ac-f7c7348706e9" providerId="ADAL" clId="{937591CA-C1D7-784D-9DA8-42716B827479}" dt="2020-06-12T07:55:37.512" v="55"/>
          <ac:picMkLst>
            <pc:docMk/>
            <pc:sldMk cId="3329268894" sldId="4210"/>
            <ac:picMk id="2" creationId="{785EEDEE-ED82-DF47-A25C-49A178E2E1A7}"/>
          </ac:picMkLst>
        </pc:picChg>
        <pc:picChg chg="add mod">
          <ac:chgData name="Cornago, Fernando" userId="048a41c0-cb7a-447c-b2ac-f7c7348706e9" providerId="ADAL" clId="{937591CA-C1D7-784D-9DA8-42716B827479}" dt="2020-06-12T07:55:49.717" v="59" actId="14100"/>
          <ac:picMkLst>
            <pc:docMk/>
            <pc:sldMk cId="3329268894" sldId="4210"/>
            <ac:picMk id="5" creationId="{4F31C0E6-2F3D-334E-850D-83F43230E0AB}"/>
          </ac:picMkLst>
        </pc:picChg>
        <pc:picChg chg="add del mod">
          <ac:chgData name="Cornago, Fernando" userId="048a41c0-cb7a-447c-b2ac-f7c7348706e9" providerId="ADAL" clId="{937591CA-C1D7-784D-9DA8-42716B827479}" dt="2020-06-12T07:59:40.951" v="95" actId="478"/>
          <ac:picMkLst>
            <pc:docMk/>
            <pc:sldMk cId="3329268894" sldId="4210"/>
            <ac:picMk id="6" creationId="{25B076E3-F486-FD45-8205-DD8987011833}"/>
          </ac:picMkLst>
        </pc:picChg>
      </pc:sldChg>
      <pc:sldChg chg="modSp ord">
        <pc:chgData name="Cornago, Fernando" userId="048a41c0-cb7a-447c-b2ac-f7c7348706e9" providerId="ADAL" clId="{937591CA-C1D7-784D-9DA8-42716B827479}" dt="2020-06-15T04:54:35.954" v="136" actId="14100"/>
        <pc:sldMkLst>
          <pc:docMk/>
          <pc:sldMk cId="4187092051" sldId="4211"/>
        </pc:sldMkLst>
        <pc:spChg chg="mod">
          <ac:chgData name="Cornago, Fernando" userId="048a41c0-cb7a-447c-b2ac-f7c7348706e9" providerId="ADAL" clId="{937591CA-C1D7-784D-9DA8-42716B827479}" dt="2020-06-10T12:19:00.667" v="52" actId="20577"/>
          <ac:spMkLst>
            <pc:docMk/>
            <pc:sldMk cId="4187092051" sldId="4211"/>
            <ac:spMk id="3" creationId="{00000000-0000-0000-0000-000000000000}"/>
          </ac:spMkLst>
        </pc:spChg>
        <pc:spChg chg="mod">
          <ac:chgData name="Cornago, Fernando" userId="048a41c0-cb7a-447c-b2ac-f7c7348706e9" providerId="ADAL" clId="{937591CA-C1D7-784D-9DA8-42716B827479}" dt="2020-06-15T04:54:35.954" v="136" actId="14100"/>
          <ac:spMkLst>
            <pc:docMk/>
            <pc:sldMk cId="4187092051" sldId="4211"/>
            <ac:spMk id="4" creationId="{00000000-0000-0000-0000-000000000000}"/>
          </ac:spMkLst>
        </pc:spChg>
      </pc:sldChg>
      <pc:sldChg chg="addSp delSp ord modNotesTx">
        <pc:chgData name="Cornago, Fernando" userId="048a41c0-cb7a-447c-b2ac-f7c7348706e9" providerId="ADAL" clId="{937591CA-C1D7-784D-9DA8-42716B827479}" dt="2020-06-17T06:20:27.596" v="13800" actId="20577"/>
        <pc:sldMkLst>
          <pc:docMk/>
          <pc:sldMk cId="1737949822" sldId="4212"/>
        </pc:sldMkLst>
        <pc:picChg chg="add del">
          <ac:chgData name="Cornago, Fernando" userId="048a41c0-cb7a-447c-b2ac-f7c7348706e9" providerId="ADAL" clId="{937591CA-C1D7-784D-9DA8-42716B827479}" dt="2020-06-10T12:19:11.830" v="54" actId="478"/>
          <ac:picMkLst>
            <pc:docMk/>
            <pc:sldMk cId="1737949822" sldId="4212"/>
            <ac:picMk id="14" creationId="{FB7DC4C4-C445-9C41-9CA0-F679681C9821}"/>
          </ac:picMkLst>
        </pc:picChg>
      </pc:sldChg>
      <pc:sldChg chg="del">
        <pc:chgData name="Cornago, Fernando" userId="048a41c0-cb7a-447c-b2ac-f7c7348706e9" providerId="ADAL" clId="{937591CA-C1D7-784D-9DA8-42716B827479}" dt="2020-06-16T05:37:53.390" v="1992" actId="2696"/>
        <pc:sldMkLst>
          <pc:docMk/>
          <pc:sldMk cId="3246723999" sldId="4213"/>
        </pc:sldMkLst>
      </pc:sldChg>
      <pc:sldChg chg="del">
        <pc:chgData name="Cornago, Fernando" userId="048a41c0-cb7a-447c-b2ac-f7c7348706e9" providerId="ADAL" clId="{937591CA-C1D7-784D-9DA8-42716B827479}" dt="2020-06-16T05:37:53.415" v="1993" actId="2696"/>
        <pc:sldMkLst>
          <pc:docMk/>
          <pc:sldMk cId="2548141780" sldId="4214"/>
        </pc:sldMkLst>
      </pc:sldChg>
      <pc:sldChg chg="del">
        <pc:chgData name="Cornago, Fernando" userId="048a41c0-cb7a-447c-b2ac-f7c7348706e9" providerId="ADAL" clId="{937591CA-C1D7-784D-9DA8-42716B827479}" dt="2020-06-16T05:37:53.434" v="1994" actId="2696"/>
        <pc:sldMkLst>
          <pc:docMk/>
          <pc:sldMk cId="1015379351" sldId="4215"/>
        </pc:sldMkLst>
      </pc:sldChg>
      <pc:sldChg chg="del">
        <pc:chgData name="Cornago, Fernando" userId="048a41c0-cb7a-447c-b2ac-f7c7348706e9" providerId="ADAL" clId="{937591CA-C1D7-784D-9DA8-42716B827479}" dt="2020-06-16T05:37:53.464" v="1995" actId="2696"/>
        <pc:sldMkLst>
          <pc:docMk/>
          <pc:sldMk cId="4167992266" sldId="4216"/>
        </pc:sldMkLst>
      </pc:sldChg>
      <pc:sldChg chg="del">
        <pc:chgData name="Cornago, Fernando" userId="048a41c0-cb7a-447c-b2ac-f7c7348706e9" providerId="ADAL" clId="{937591CA-C1D7-784D-9DA8-42716B827479}" dt="2020-06-16T05:37:53.484" v="1996" actId="2696"/>
        <pc:sldMkLst>
          <pc:docMk/>
          <pc:sldMk cId="1115269898" sldId="4217"/>
        </pc:sldMkLst>
      </pc:sldChg>
      <pc:sldChg chg="del">
        <pc:chgData name="Cornago, Fernando" userId="048a41c0-cb7a-447c-b2ac-f7c7348706e9" providerId="ADAL" clId="{937591CA-C1D7-784D-9DA8-42716B827479}" dt="2020-06-16T05:37:53.517" v="1997" actId="2696"/>
        <pc:sldMkLst>
          <pc:docMk/>
          <pc:sldMk cId="3822939615" sldId="4218"/>
        </pc:sldMkLst>
      </pc:sldChg>
      <pc:sldChg chg="del">
        <pc:chgData name="Cornago, Fernando" userId="048a41c0-cb7a-447c-b2ac-f7c7348706e9" providerId="ADAL" clId="{937591CA-C1D7-784D-9DA8-42716B827479}" dt="2020-06-16T05:37:53.554" v="1998" actId="2696"/>
        <pc:sldMkLst>
          <pc:docMk/>
          <pc:sldMk cId="597952407" sldId="4219"/>
        </pc:sldMkLst>
      </pc:sldChg>
      <pc:sldChg chg="del">
        <pc:chgData name="Cornago, Fernando" userId="048a41c0-cb7a-447c-b2ac-f7c7348706e9" providerId="ADAL" clId="{937591CA-C1D7-784D-9DA8-42716B827479}" dt="2020-06-16T05:37:53.576" v="2000" actId="2696"/>
        <pc:sldMkLst>
          <pc:docMk/>
          <pc:sldMk cId="3900569827" sldId="4220"/>
        </pc:sldMkLst>
      </pc:sldChg>
      <pc:sldChg chg="del">
        <pc:chgData name="Cornago, Fernando" userId="048a41c0-cb7a-447c-b2ac-f7c7348706e9" providerId="ADAL" clId="{937591CA-C1D7-784D-9DA8-42716B827479}" dt="2020-06-16T05:37:53.597" v="2002" actId="2696"/>
        <pc:sldMkLst>
          <pc:docMk/>
          <pc:sldMk cId="2773385873" sldId="4221"/>
        </pc:sldMkLst>
      </pc:sldChg>
      <pc:sldChg chg="del">
        <pc:chgData name="Cornago, Fernando" userId="048a41c0-cb7a-447c-b2ac-f7c7348706e9" providerId="ADAL" clId="{937591CA-C1D7-784D-9DA8-42716B827479}" dt="2020-06-16T05:37:53.616" v="2003" actId="2696"/>
        <pc:sldMkLst>
          <pc:docMk/>
          <pc:sldMk cId="1715261649" sldId="4222"/>
        </pc:sldMkLst>
      </pc:sldChg>
      <pc:sldChg chg="del">
        <pc:chgData name="Cornago, Fernando" userId="048a41c0-cb7a-447c-b2ac-f7c7348706e9" providerId="ADAL" clId="{937591CA-C1D7-784D-9DA8-42716B827479}" dt="2020-06-16T05:37:53.647" v="2004" actId="2696"/>
        <pc:sldMkLst>
          <pc:docMk/>
          <pc:sldMk cId="2160908873" sldId="4223"/>
        </pc:sldMkLst>
      </pc:sldChg>
      <pc:sldChg chg="del">
        <pc:chgData name="Cornago, Fernando" userId="048a41c0-cb7a-447c-b2ac-f7c7348706e9" providerId="ADAL" clId="{937591CA-C1D7-784D-9DA8-42716B827479}" dt="2020-06-16T05:37:53.673" v="2005" actId="2696"/>
        <pc:sldMkLst>
          <pc:docMk/>
          <pc:sldMk cId="778617635" sldId="4224"/>
        </pc:sldMkLst>
      </pc:sldChg>
      <pc:sldChg chg="del">
        <pc:chgData name="Cornago, Fernando" userId="048a41c0-cb7a-447c-b2ac-f7c7348706e9" providerId="ADAL" clId="{937591CA-C1D7-784D-9DA8-42716B827479}" dt="2020-06-16T05:37:53.691" v="2006" actId="2696"/>
        <pc:sldMkLst>
          <pc:docMk/>
          <pc:sldMk cId="2515523906" sldId="4225"/>
        </pc:sldMkLst>
      </pc:sldChg>
      <pc:sldChg chg="del">
        <pc:chgData name="Cornago, Fernando" userId="048a41c0-cb7a-447c-b2ac-f7c7348706e9" providerId="ADAL" clId="{937591CA-C1D7-784D-9DA8-42716B827479}" dt="2020-06-16T05:37:53.718" v="2007" actId="2696"/>
        <pc:sldMkLst>
          <pc:docMk/>
          <pc:sldMk cId="1828369422" sldId="4226"/>
        </pc:sldMkLst>
      </pc:sldChg>
      <pc:sldChg chg="del">
        <pc:chgData name="Cornago, Fernando" userId="048a41c0-cb7a-447c-b2ac-f7c7348706e9" providerId="ADAL" clId="{937591CA-C1D7-784D-9DA8-42716B827479}" dt="2020-06-16T05:37:53.742" v="2008" actId="2696"/>
        <pc:sldMkLst>
          <pc:docMk/>
          <pc:sldMk cId="2979985901" sldId="4227"/>
        </pc:sldMkLst>
      </pc:sldChg>
      <pc:sldChg chg="del">
        <pc:chgData name="Cornago, Fernando" userId="048a41c0-cb7a-447c-b2ac-f7c7348706e9" providerId="ADAL" clId="{937591CA-C1D7-784D-9DA8-42716B827479}" dt="2020-06-16T05:37:53.773" v="2009" actId="2696"/>
        <pc:sldMkLst>
          <pc:docMk/>
          <pc:sldMk cId="521410068" sldId="4228"/>
        </pc:sldMkLst>
      </pc:sldChg>
      <pc:sldChg chg="del">
        <pc:chgData name="Cornago, Fernando" userId="048a41c0-cb7a-447c-b2ac-f7c7348706e9" providerId="ADAL" clId="{937591CA-C1D7-784D-9DA8-42716B827479}" dt="2020-06-16T05:37:53.812" v="2010" actId="2696"/>
        <pc:sldMkLst>
          <pc:docMk/>
          <pc:sldMk cId="390890728" sldId="4229"/>
        </pc:sldMkLst>
      </pc:sldChg>
      <pc:sldChg chg="del">
        <pc:chgData name="Cornago, Fernando" userId="048a41c0-cb7a-447c-b2ac-f7c7348706e9" providerId="ADAL" clId="{937591CA-C1D7-784D-9DA8-42716B827479}" dt="2020-06-16T05:37:53.846" v="2011" actId="2696"/>
        <pc:sldMkLst>
          <pc:docMk/>
          <pc:sldMk cId="1186413734" sldId="4230"/>
        </pc:sldMkLst>
      </pc:sldChg>
      <pc:sldChg chg="del">
        <pc:chgData name="Cornago, Fernando" userId="048a41c0-cb7a-447c-b2ac-f7c7348706e9" providerId="ADAL" clId="{937591CA-C1D7-784D-9DA8-42716B827479}" dt="2020-06-16T05:37:53.873" v="2012" actId="2696"/>
        <pc:sldMkLst>
          <pc:docMk/>
          <pc:sldMk cId="3920889899" sldId="4231"/>
        </pc:sldMkLst>
      </pc:sldChg>
      <pc:sldChg chg="del">
        <pc:chgData name="Cornago, Fernando" userId="048a41c0-cb7a-447c-b2ac-f7c7348706e9" providerId="ADAL" clId="{937591CA-C1D7-784D-9DA8-42716B827479}" dt="2020-06-16T05:37:53.906" v="2013" actId="2696"/>
        <pc:sldMkLst>
          <pc:docMk/>
          <pc:sldMk cId="3749568918" sldId="4232"/>
        </pc:sldMkLst>
      </pc:sldChg>
      <pc:sldChg chg="del">
        <pc:chgData name="Cornago, Fernando" userId="048a41c0-cb7a-447c-b2ac-f7c7348706e9" providerId="ADAL" clId="{937591CA-C1D7-784D-9DA8-42716B827479}" dt="2020-06-16T05:37:53.918" v="2014" actId="2696"/>
        <pc:sldMkLst>
          <pc:docMk/>
          <pc:sldMk cId="3233215998" sldId="4233"/>
        </pc:sldMkLst>
      </pc:sldChg>
      <pc:sldChg chg="del">
        <pc:chgData name="Cornago, Fernando" userId="048a41c0-cb7a-447c-b2ac-f7c7348706e9" providerId="ADAL" clId="{937591CA-C1D7-784D-9DA8-42716B827479}" dt="2020-06-16T05:37:53.954" v="2015" actId="2696"/>
        <pc:sldMkLst>
          <pc:docMk/>
          <pc:sldMk cId="4050749697" sldId="4234"/>
        </pc:sldMkLst>
      </pc:sldChg>
      <pc:sldChg chg="del">
        <pc:chgData name="Cornago, Fernando" userId="048a41c0-cb7a-447c-b2ac-f7c7348706e9" providerId="ADAL" clId="{937591CA-C1D7-784D-9DA8-42716B827479}" dt="2020-06-16T05:37:54.002" v="2017" actId="2696"/>
        <pc:sldMkLst>
          <pc:docMk/>
          <pc:sldMk cId="3218707702" sldId="4236"/>
        </pc:sldMkLst>
      </pc:sldChg>
      <pc:sldChg chg="addSp delSp modSp modNotesTx">
        <pc:chgData name="Cornago, Fernando" userId="048a41c0-cb7a-447c-b2ac-f7c7348706e9" providerId="ADAL" clId="{937591CA-C1D7-784D-9DA8-42716B827479}" dt="2020-06-15T05:14:52.081" v="212" actId="478"/>
        <pc:sldMkLst>
          <pc:docMk/>
          <pc:sldMk cId="2407818743" sldId="4238"/>
        </pc:sldMkLst>
        <pc:spChg chg="del">
          <ac:chgData name="Cornago, Fernando" userId="048a41c0-cb7a-447c-b2ac-f7c7348706e9" providerId="ADAL" clId="{937591CA-C1D7-784D-9DA8-42716B827479}" dt="2020-06-15T05:10:53.204" v="147" actId="478"/>
          <ac:spMkLst>
            <pc:docMk/>
            <pc:sldMk cId="2407818743" sldId="4238"/>
            <ac:spMk id="2" creationId="{96D8B6EB-DFEB-D24A-BBB9-DED3080DA94B}"/>
          </ac:spMkLst>
        </pc:spChg>
        <pc:spChg chg="del">
          <ac:chgData name="Cornago, Fernando" userId="048a41c0-cb7a-447c-b2ac-f7c7348706e9" providerId="ADAL" clId="{937591CA-C1D7-784D-9DA8-42716B827479}" dt="2020-06-15T05:14:52.081" v="212" actId="478"/>
          <ac:spMkLst>
            <pc:docMk/>
            <pc:sldMk cId="2407818743" sldId="4238"/>
            <ac:spMk id="4" creationId="{187184F6-86DD-6F49-81CD-056E8A4341E3}"/>
          </ac:spMkLst>
        </pc:spChg>
        <pc:spChg chg="del">
          <ac:chgData name="Cornago, Fernando" userId="048a41c0-cb7a-447c-b2ac-f7c7348706e9" providerId="ADAL" clId="{937591CA-C1D7-784D-9DA8-42716B827479}" dt="2020-06-15T05:10:55.042" v="148" actId="478"/>
          <ac:spMkLst>
            <pc:docMk/>
            <pc:sldMk cId="2407818743" sldId="4238"/>
            <ac:spMk id="7" creationId="{CB96E2BE-E986-1E4B-8A5B-72A40CCA071A}"/>
          </ac:spMkLst>
        </pc:spChg>
        <pc:picChg chg="del">
          <ac:chgData name="Cornago, Fernando" userId="048a41c0-cb7a-447c-b2ac-f7c7348706e9" providerId="ADAL" clId="{937591CA-C1D7-784D-9DA8-42716B827479}" dt="2020-06-15T05:10:50.254" v="146" actId="478"/>
          <ac:picMkLst>
            <pc:docMk/>
            <pc:sldMk cId="2407818743" sldId="4238"/>
            <ac:picMk id="6" creationId="{CA00EFC4-569E-254A-AC91-0F65D4E52880}"/>
          </ac:picMkLst>
        </pc:picChg>
        <pc:picChg chg="add mod">
          <ac:chgData name="Cornago, Fernando" userId="048a41c0-cb7a-447c-b2ac-f7c7348706e9" providerId="ADAL" clId="{937591CA-C1D7-784D-9DA8-42716B827479}" dt="2020-06-15T05:13:08.972" v="199" actId="166"/>
          <ac:picMkLst>
            <pc:docMk/>
            <pc:sldMk cId="2407818743" sldId="4238"/>
            <ac:picMk id="8" creationId="{B9C7AAA6-4662-9243-88EF-15983F7BD656}"/>
          </ac:picMkLst>
        </pc:picChg>
        <pc:picChg chg="add mod">
          <ac:chgData name="Cornago, Fernando" userId="048a41c0-cb7a-447c-b2ac-f7c7348706e9" providerId="ADAL" clId="{937591CA-C1D7-784D-9DA8-42716B827479}" dt="2020-06-15T05:13:40.823" v="204" actId="1076"/>
          <ac:picMkLst>
            <pc:docMk/>
            <pc:sldMk cId="2407818743" sldId="4238"/>
            <ac:picMk id="9" creationId="{0F65ABA2-02A2-8047-AA92-9B6313DCE772}"/>
          </ac:picMkLst>
        </pc:picChg>
        <pc:picChg chg="add del mod">
          <ac:chgData name="Cornago, Fernando" userId="048a41c0-cb7a-447c-b2ac-f7c7348706e9" providerId="ADAL" clId="{937591CA-C1D7-784D-9DA8-42716B827479}" dt="2020-06-15T05:13:37.699" v="203" actId="478"/>
          <ac:picMkLst>
            <pc:docMk/>
            <pc:sldMk cId="2407818743" sldId="4238"/>
            <ac:picMk id="10" creationId="{1226E308-C773-AF4A-BAEB-A8961AEFD1C5}"/>
          </ac:picMkLst>
        </pc:picChg>
        <pc:picChg chg="add mod">
          <ac:chgData name="Cornago, Fernando" userId="048a41c0-cb7a-447c-b2ac-f7c7348706e9" providerId="ADAL" clId="{937591CA-C1D7-784D-9DA8-42716B827479}" dt="2020-06-15T05:14:39.849" v="211" actId="167"/>
          <ac:picMkLst>
            <pc:docMk/>
            <pc:sldMk cId="2407818743" sldId="4238"/>
            <ac:picMk id="11" creationId="{A8928824-1E6E-C242-96CC-25B4D902AF7A}"/>
          </ac:picMkLst>
        </pc:picChg>
      </pc:sldChg>
      <pc:sldChg chg="addSp delSp modSp modAnim modNotesTx">
        <pc:chgData name="Cornago, Fernando" userId="048a41c0-cb7a-447c-b2ac-f7c7348706e9" providerId="ADAL" clId="{937591CA-C1D7-784D-9DA8-42716B827479}" dt="2020-06-17T06:22:16.140" v="13902" actId="20577"/>
        <pc:sldMkLst>
          <pc:docMk/>
          <pc:sldMk cId="3269625109" sldId="4239"/>
        </pc:sldMkLst>
        <pc:spChg chg="del">
          <ac:chgData name="Cornago, Fernando" userId="048a41c0-cb7a-447c-b2ac-f7c7348706e9" providerId="ADAL" clId="{937591CA-C1D7-784D-9DA8-42716B827479}" dt="2020-06-15T05:07:46.618" v="139" actId="478"/>
          <ac:spMkLst>
            <pc:docMk/>
            <pc:sldMk cId="3269625109" sldId="4239"/>
            <ac:spMk id="2" creationId="{2CA2660D-6B89-F048-AD77-4D9EFAE0AB84}"/>
          </ac:spMkLst>
        </pc:spChg>
        <pc:spChg chg="del">
          <ac:chgData name="Cornago, Fernando" userId="048a41c0-cb7a-447c-b2ac-f7c7348706e9" providerId="ADAL" clId="{937591CA-C1D7-784D-9DA8-42716B827479}" dt="2020-06-15T05:07:46.618" v="139" actId="478"/>
          <ac:spMkLst>
            <pc:docMk/>
            <pc:sldMk cId="3269625109" sldId="4239"/>
            <ac:spMk id="3" creationId="{6A932FC2-8159-424C-ADE9-3DC657B2A384}"/>
          </ac:spMkLst>
        </pc:spChg>
        <pc:spChg chg="del">
          <ac:chgData name="Cornago, Fernando" userId="048a41c0-cb7a-447c-b2ac-f7c7348706e9" providerId="ADAL" clId="{937591CA-C1D7-784D-9DA8-42716B827479}" dt="2020-06-15T05:07:46.618" v="139" actId="478"/>
          <ac:spMkLst>
            <pc:docMk/>
            <pc:sldMk cId="3269625109" sldId="4239"/>
            <ac:spMk id="4" creationId="{7CD4406F-57B1-C64B-8EEE-96E24368097D}"/>
          </ac:spMkLst>
        </pc:spChg>
        <pc:spChg chg="del">
          <ac:chgData name="Cornago, Fernando" userId="048a41c0-cb7a-447c-b2ac-f7c7348706e9" providerId="ADAL" clId="{937591CA-C1D7-784D-9DA8-42716B827479}" dt="2020-06-15T05:07:46.618" v="139" actId="478"/>
          <ac:spMkLst>
            <pc:docMk/>
            <pc:sldMk cId="3269625109" sldId="4239"/>
            <ac:spMk id="5" creationId="{BA35D115-0486-3347-8649-5B894EAB0078}"/>
          </ac:spMkLst>
        </pc:spChg>
        <pc:spChg chg="del">
          <ac:chgData name="Cornago, Fernando" userId="048a41c0-cb7a-447c-b2ac-f7c7348706e9" providerId="ADAL" clId="{937591CA-C1D7-784D-9DA8-42716B827479}" dt="2020-06-15T05:07:46.618" v="139" actId="478"/>
          <ac:spMkLst>
            <pc:docMk/>
            <pc:sldMk cId="3269625109" sldId="4239"/>
            <ac:spMk id="6" creationId="{E56FCFC8-67CD-0C42-9EF4-6E70F8E67977}"/>
          </ac:spMkLst>
        </pc:spChg>
        <pc:picChg chg="del">
          <ac:chgData name="Cornago, Fernando" userId="048a41c0-cb7a-447c-b2ac-f7c7348706e9" providerId="ADAL" clId="{937591CA-C1D7-784D-9DA8-42716B827479}" dt="2020-06-15T05:07:46.618" v="139" actId="478"/>
          <ac:picMkLst>
            <pc:docMk/>
            <pc:sldMk cId="3269625109" sldId="4239"/>
            <ac:picMk id="7" creationId="{AE99FB1B-4C05-3147-A1E9-FCA8C1308E15}"/>
          </ac:picMkLst>
        </pc:picChg>
        <pc:picChg chg="add del mod">
          <ac:chgData name="Cornago, Fernando" userId="048a41c0-cb7a-447c-b2ac-f7c7348706e9" providerId="ADAL" clId="{937591CA-C1D7-784D-9DA8-42716B827479}" dt="2020-06-15T05:07:46.618" v="139" actId="478"/>
          <ac:picMkLst>
            <pc:docMk/>
            <pc:sldMk cId="3269625109" sldId="4239"/>
            <ac:picMk id="8" creationId="{8F6875A7-629D-F946-87AF-E3F1BA3C0A5B}"/>
          </ac:picMkLst>
        </pc:picChg>
        <pc:picChg chg="add mod">
          <ac:chgData name="Cornago, Fernando" userId="048a41c0-cb7a-447c-b2ac-f7c7348706e9" providerId="ADAL" clId="{937591CA-C1D7-784D-9DA8-42716B827479}" dt="2020-06-15T05:07:59.195" v="140"/>
          <ac:picMkLst>
            <pc:docMk/>
            <pc:sldMk cId="3269625109" sldId="4239"/>
            <ac:picMk id="9" creationId="{73B8FE75-C05C-EF44-A102-6A673BD169C0}"/>
          </ac:picMkLst>
        </pc:picChg>
      </pc:sldChg>
      <pc:sldChg chg="del">
        <pc:chgData name="Cornago, Fernando" userId="048a41c0-cb7a-447c-b2ac-f7c7348706e9" providerId="ADAL" clId="{937591CA-C1D7-784D-9DA8-42716B827479}" dt="2020-06-16T05:37:54.158" v="2026" actId="2696"/>
        <pc:sldMkLst>
          <pc:docMk/>
          <pc:sldMk cId="2042737254" sldId="4240"/>
        </pc:sldMkLst>
      </pc:sldChg>
      <pc:sldChg chg="del">
        <pc:chgData name="Cornago, Fernando" userId="048a41c0-cb7a-447c-b2ac-f7c7348706e9" providerId="ADAL" clId="{937591CA-C1D7-784D-9DA8-42716B827479}" dt="2020-06-16T05:37:54.259" v="2032" actId="2696"/>
        <pc:sldMkLst>
          <pc:docMk/>
          <pc:sldMk cId="1176753862" sldId="4256"/>
        </pc:sldMkLst>
      </pc:sldChg>
      <pc:sldChg chg="del">
        <pc:chgData name="Cornago, Fernando" userId="048a41c0-cb7a-447c-b2ac-f7c7348706e9" providerId="ADAL" clId="{937591CA-C1D7-784D-9DA8-42716B827479}" dt="2020-06-16T05:37:54.243" v="2030" actId="2696"/>
        <pc:sldMkLst>
          <pc:docMk/>
          <pc:sldMk cId="351793136" sldId="4264"/>
        </pc:sldMkLst>
      </pc:sldChg>
      <pc:sldChg chg="del">
        <pc:chgData name="Cornago, Fernando" userId="048a41c0-cb7a-447c-b2ac-f7c7348706e9" providerId="ADAL" clId="{937591CA-C1D7-784D-9DA8-42716B827479}" dt="2020-06-16T05:37:53.986" v="2016" actId="2696"/>
        <pc:sldMkLst>
          <pc:docMk/>
          <pc:sldMk cId="3685425417" sldId="4265"/>
        </pc:sldMkLst>
      </pc:sldChg>
      <pc:sldChg chg="del">
        <pc:chgData name="Cornago, Fernando" userId="048a41c0-cb7a-447c-b2ac-f7c7348706e9" providerId="ADAL" clId="{937591CA-C1D7-784D-9DA8-42716B827479}" dt="2020-06-16T05:37:54.186" v="2027" actId="2696"/>
        <pc:sldMkLst>
          <pc:docMk/>
          <pc:sldMk cId="785774295" sldId="4267"/>
        </pc:sldMkLst>
      </pc:sldChg>
      <pc:sldChg chg="addSp delSp modSp add modNotesTx">
        <pc:chgData name="Cornago, Fernando" userId="048a41c0-cb7a-447c-b2ac-f7c7348706e9" providerId="ADAL" clId="{937591CA-C1D7-784D-9DA8-42716B827479}" dt="2020-06-17T06:21:18.194" v="13824" actId="20577"/>
        <pc:sldMkLst>
          <pc:docMk/>
          <pc:sldMk cId="2370111492" sldId="4268"/>
        </pc:sldMkLst>
        <pc:picChg chg="add mod">
          <ac:chgData name="Cornago, Fernando" userId="048a41c0-cb7a-447c-b2ac-f7c7348706e9" providerId="ADAL" clId="{937591CA-C1D7-784D-9DA8-42716B827479}" dt="2020-06-12T07:58:58.023" v="92" actId="1076"/>
          <ac:picMkLst>
            <pc:docMk/>
            <pc:sldMk cId="2370111492" sldId="4268"/>
            <ac:picMk id="3" creationId="{EE2EDAC8-3B9F-F244-9236-C1762A77AE49}"/>
          </ac:picMkLst>
        </pc:picChg>
        <pc:picChg chg="del">
          <ac:chgData name="Cornago, Fernando" userId="048a41c0-cb7a-447c-b2ac-f7c7348706e9" providerId="ADAL" clId="{937591CA-C1D7-784D-9DA8-42716B827479}" dt="2020-06-12T07:57:38.903" v="61" actId="478"/>
          <ac:picMkLst>
            <pc:docMk/>
            <pc:sldMk cId="2370111492" sldId="4268"/>
            <ac:picMk id="5" creationId="{4F31C0E6-2F3D-334E-850D-83F43230E0AB}"/>
          </ac:picMkLst>
        </pc:picChg>
      </pc:sldChg>
      <pc:sldChg chg="addSp delSp modSp new modNotesTx">
        <pc:chgData name="Cornago, Fernando" userId="048a41c0-cb7a-447c-b2ac-f7c7348706e9" providerId="ADAL" clId="{937591CA-C1D7-784D-9DA8-42716B827479}" dt="2020-06-17T06:39:47.481" v="14726" actId="20577"/>
        <pc:sldMkLst>
          <pc:docMk/>
          <pc:sldMk cId="42210473" sldId="4269"/>
        </pc:sldMkLst>
        <pc:spChg chg="del">
          <ac:chgData name="Cornago, Fernando" userId="048a41c0-cb7a-447c-b2ac-f7c7348706e9" providerId="ADAL" clId="{937591CA-C1D7-784D-9DA8-42716B827479}" dt="2020-06-15T05:15:11.734" v="214" actId="478"/>
          <ac:spMkLst>
            <pc:docMk/>
            <pc:sldMk cId="42210473" sldId="4269"/>
            <ac:spMk id="2" creationId="{47975E5B-1885-8645-9C77-E29F1C680979}"/>
          </ac:spMkLst>
        </pc:spChg>
        <pc:spChg chg="add del mod">
          <ac:chgData name="Cornago, Fernando" userId="048a41c0-cb7a-447c-b2ac-f7c7348706e9" providerId="ADAL" clId="{937591CA-C1D7-784D-9DA8-42716B827479}" dt="2020-06-15T05:30:28.615" v="226" actId="478"/>
          <ac:spMkLst>
            <pc:docMk/>
            <pc:sldMk cId="42210473" sldId="4269"/>
            <ac:spMk id="2" creationId="{5CC76FA4-F93B-444B-97F1-A0FD69F7936B}"/>
          </ac:spMkLst>
        </pc:spChg>
        <pc:spChg chg="del">
          <ac:chgData name="Cornago, Fernando" userId="048a41c0-cb7a-447c-b2ac-f7c7348706e9" providerId="ADAL" clId="{937591CA-C1D7-784D-9DA8-42716B827479}" dt="2020-06-15T05:15:17.237" v="216" actId="478"/>
          <ac:spMkLst>
            <pc:docMk/>
            <pc:sldMk cId="42210473" sldId="4269"/>
            <ac:spMk id="3" creationId="{91D8A974-9C77-CE4B-AE41-AEDFF27AD384}"/>
          </ac:spMkLst>
        </pc:spChg>
        <pc:spChg chg="add del mod">
          <ac:chgData name="Cornago, Fernando" userId="048a41c0-cb7a-447c-b2ac-f7c7348706e9" providerId="ADAL" clId="{937591CA-C1D7-784D-9DA8-42716B827479}" dt="2020-06-15T05:30:28.615" v="226" actId="478"/>
          <ac:spMkLst>
            <pc:docMk/>
            <pc:sldMk cId="42210473" sldId="4269"/>
            <ac:spMk id="3" creationId="{ECEB74EF-8BDF-2749-9E67-FC208BB4CDA0}"/>
          </ac:spMkLst>
        </pc:spChg>
        <pc:spChg chg="add del mod">
          <ac:chgData name="Cornago, Fernando" userId="048a41c0-cb7a-447c-b2ac-f7c7348706e9" providerId="ADAL" clId="{937591CA-C1D7-784D-9DA8-42716B827479}" dt="2020-06-15T05:30:28.615" v="226" actId="478"/>
          <ac:spMkLst>
            <pc:docMk/>
            <pc:sldMk cId="42210473" sldId="4269"/>
            <ac:spMk id="4" creationId="{909CCA3F-E16D-894E-8186-AE3680EA2BF6}"/>
          </ac:spMkLst>
        </pc:spChg>
        <pc:spChg chg="del">
          <ac:chgData name="Cornago, Fernando" userId="048a41c0-cb7a-447c-b2ac-f7c7348706e9" providerId="ADAL" clId="{937591CA-C1D7-784D-9DA8-42716B827479}" dt="2020-06-15T05:15:14.776" v="215" actId="478"/>
          <ac:spMkLst>
            <pc:docMk/>
            <pc:sldMk cId="42210473" sldId="4269"/>
            <ac:spMk id="4" creationId="{A4B04D49-1837-4A4C-B0EF-0737C382685B}"/>
          </ac:spMkLst>
        </pc:spChg>
        <pc:spChg chg="add del mod">
          <ac:chgData name="Cornago, Fernando" userId="048a41c0-cb7a-447c-b2ac-f7c7348706e9" providerId="ADAL" clId="{937591CA-C1D7-784D-9DA8-42716B827479}" dt="2020-06-15T05:30:28.615" v="226" actId="478"/>
          <ac:spMkLst>
            <pc:docMk/>
            <pc:sldMk cId="42210473" sldId="4269"/>
            <ac:spMk id="5" creationId="{1D6494DE-B6D6-E645-A8EB-AC49A1DDC0AA}"/>
          </ac:spMkLst>
        </pc:spChg>
        <pc:spChg chg="del">
          <ac:chgData name="Cornago, Fernando" userId="048a41c0-cb7a-447c-b2ac-f7c7348706e9" providerId="ADAL" clId="{937591CA-C1D7-784D-9DA8-42716B827479}" dt="2020-06-15T05:15:17.237" v="216" actId="478"/>
          <ac:spMkLst>
            <pc:docMk/>
            <pc:sldMk cId="42210473" sldId="4269"/>
            <ac:spMk id="5" creationId="{33753D4E-7684-D145-A8FE-265D1EE29A9F}"/>
          </ac:spMkLst>
        </pc:spChg>
        <pc:spChg chg="add del mod">
          <ac:chgData name="Cornago, Fernando" userId="048a41c0-cb7a-447c-b2ac-f7c7348706e9" providerId="ADAL" clId="{937591CA-C1D7-784D-9DA8-42716B827479}" dt="2020-06-15T05:30:28.615" v="226" actId="478"/>
          <ac:spMkLst>
            <pc:docMk/>
            <pc:sldMk cId="42210473" sldId="4269"/>
            <ac:spMk id="6" creationId="{0372BAD5-EB96-214E-A28C-A1FD6F1DC3B9}"/>
          </ac:spMkLst>
        </pc:spChg>
        <pc:spChg chg="add del mod">
          <ac:chgData name="Cornago, Fernando" userId="048a41c0-cb7a-447c-b2ac-f7c7348706e9" providerId="ADAL" clId="{937591CA-C1D7-784D-9DA8-42716B827479}" dt="2020-06-15T05:30:28.615" v="226" actId="478"/>
          <ac:spMkLst>
            <pc:docMk/>
            <pc:sldMk cId="42210473" sldId="4269"/>
            <ac:spMk id="7" creationId="{70733968-84BB-0841-9BC2-8157883A3E79}"/>
          </ac:spMkLst>
        </pc:spChg>
        <pc:spChg chg="add del mod">
          <ac:chgData name="Cornago, Fernando" userId="048a41c0-cb7a-447c-b2ac-f7c7348706e9" providerId="ADAL" clId="{937591CA-C1D7-784D-9DA8-42716B827479}" dt="2020-06-15T05:30:28.615" v="226" actId="478"/>
          <ac:spMkLst>
            <pc:docMk/>
            <pc:sldMk cId="42210473" sldId="4269"/>
            <ac:spMk id="8" creationId="{02EC9FD5-7824-8F45-B75F-32C1ECC70BF3}"/>
          </ac:spMkLst>
        </pc:spChg>
        <pc:spChg chg="add del mod">
          <ac:chgData name="Cornago, Fernando" userId="048a41c0-cb7a-447c-b2ac-f7c7348706e9" providerId="ADAL" clId="{937591CA-C1D7-784D-9DA8-42716B827479}" dt="2020-06-15T05:30:28.615" v="226" actId="478"/>
          <ac:spMkLst>
            <pc:docMk/>
            <pc:sldMk cId="42210473" sldId="4269"/>
            <ac:spMk id="9" creationId="{17A13825-1D1F-1141-9FB1-21D6A80C349B}"/>
          </ac:spMkLst>
        </pc:spChg>
        <pc:spChg chg="add del mod">
          <ac:chgData name="Cornago, Fernando" userId="048a41c0-cb7a-447c-b2ac-f7c7348706e9" providerId="ADAL" clId="{937591CA-C1D7-784D-9DA8-42716B827479}" dt="2020-06-15T05:30:28.615" v="226" actId="478"/>
          <ac:spMkLst>
            <pc:docMk/>
            <pc:sldMk cId="42210473" sldId="4269"/>
            <ac:spMk id="10" creationId="{2481C766-F9FF-0B43-BC3D-692ABDD7237F}"/>
          </ac:spMkLst>
        </pc:spChg>
        <pc:spChg chg="add del mod">
          <ac:chgData name="Cornago, Fernando" userId="048a41c0-cb7a-447c-b2ac-f7c7348706e9" providerId="ADAL" clId="{937591CA-C1D7-784D-9DA8-42716B827479}" dt="2020-06-15T05:30:28.615" v="226" actId="478"/>
          <ac:spMkLst>
            <pc:docMk/>
            <pc:sldMk cId="42210473" sldId="4269"/>
            <ac:spMk id="11" creationId="{EC055205-39C3-B64F-8CED-EC71DDF25648}"/>
          </ac:spMkLst>
        </pc:spChg>
        <pc:spChg chg="add del mod">
          <ac:chgData name="Cornago, Fernando" userId="048a41c0-cb7a-447c-b2ac-f7c7348706e9" providerId="ADAL" clId="{937591CA-C1D7-784D-9DA8-42716B827479}" dt="2020-06-15T05:30:28.615" v="226" actId="478"/>
          <ac:spMkLst>
            <pc:docMk/>
            <pc:sldMk cId="42210473" sldId="4269"/>
            <ac:spMk id="12" creationId="{740290AD-1F89-E74F-9DE8-884173F9FE36}"/>
          </ac:spMkLst>
        </pc:spChg>
        <pc:spChg chg="add del mod">
          <ac:chgData name="Cornago, Fernando" userId="048a41c0-cb7a-447c-b2ac-f7c7348706e9" providerId="ADAL" clId="{937591CA-C1D7-784D-9DA8-42716B827479}" dt="2020-06-15T05:30:25.574" v="224"/>
          <ac:spMkLst>
            <pc:docMk/>
            <pc:sldMk cId="42210473" sldId="4269"/>
            <ac:spMk id="19" creationId="{81FD2748-FE69-B648-892C-A90FC71E18D9}"/>
          </ac:spMkLst>
        </pc:spChg>
        <pc:spChg chg="add del mod">
          <ac:chgData name="Cornago, Fernando" userId="048a41c0-cb7a-447c-b2ac-f7c7348706e9" providerId="ADAL" clId="{937591CA-C1D7-784D-9DA8-42716B827479}" dt="2020-06-15T05:30:25.574" v="224"/>
          <ac:spMkLst>
            <pc:docMk/>
            <pc:sldMk cId="42210473" sldId="4269"/>
            <ac:spMk id="20" creationId="{BEF4FC20-7989-CA46-9505-88C81149F818}"/>
          </ac:spMkLst>
        </pc:spChg>
        <pc:spChg chg="add del mod">
          <ac:chgData name="Cornago, Fernando" userId="048a41c0-cb7a-447c-b2ac-f7c7348706e9" providerId="ADAL" clId="{937591CA-C1D7-784D-9DA8-42716B827479}" dt="2020-06-15T05:30:25.574" v="224"/>
          <ac:spMkLst>
            <pc:docMk/>
            <pc:sldMk cId="42210473" sldId="4269"/>
            <ac:spMk id="21" creationId="{8DB1B4AE-F6D8-0E4E-A176-C82E307C1E8B}"/>
          </ac:spMkLst>
        </pc:spChg>
        <pc:spChg chg="add del mod">
          <ac:chgData name="Cornago, Fernando" userId="048a41c0-cb7a-447c-b2ac-f7c7348706e9" providerId="ADAL" clId="{937591CA-C1D7-784D-9DA8-42716B827479}" dt="2020-06-15T05:30:25.574" v="224"/>
          <ac:spMkLst>
            <pc:docMk/>
            <pc:sldMk cId="42210473" sldId="4269"/>
            <ac:spMk id="22" creationId="{D596D312-270C-E84D-86F2-D741A2CB4FE7}"/>
          </ac:spMkLst>
        </pc:spChg>
        <pc:spChg chg="add del mod">
          <ac:chgData name="Cornago, Fernando" userId="048a41c0-cb7a-447c-b2ac-f7c7348706e9" providerId="ADAL" clId="{937591CA-C1D7-784D-9DA8-42716B827479}" dt="2020-06-15T05:30:25.574" v="224"/>
          <ac:spMkLst>
            <pc:docMk/>
            <pc:sldMk cId="42210473" sldId="4269"/>
            <ac:spMk id="23" creationId="{F60291B6-3E7A-5E41-BCFF-54EA5C4AE32E}"/>
          </ac:spMkLst>
        </pc:spChg>
        <pc:spChg chg="add del mod">
          <ac:chgData name="Cornago, Fernando" userId="048a41c0-cb7a-447c-b2ac-f7c7348706e9" providerId="ADAL" clId="{937591CA-C1D7-784D-9DA8-42716B827479}" dt="2020-06-15T05:30:25.574" v="224"/>
          <ac:spMkLst>
            <pc:docMk/>
            <pc:sldMk cId="42210473" sldId="4269"/>
            <ac:spMk id="24" creationId="{83DD3D90-1289-684A-93B8-76EACD5D7DB8}"/>
          </ac:spMkLst>
        </pc:spChg>
        <pc:spChg chg="add del mod">
          <ac:chgData name="Cornago, Fernando" userId="048a41c0-cb7a-447c-b2ac-f7c7348706e9" providerId="ADAL" clId="{937591CA-C1D7-784D-9DA8-42716B827479}" dt="2020-06-15T05:30:25.574" v="224"/>
          <ac:spMkLst>
            <pc:docMk/>
            <pc:sldMk cId="42210473" sldId="4269"/>
            <ac:spMk id="25" creationId="{572415EF-099F-9645-B47D-BAA758B881A8}"/>
          </ac:spMkLst>
        </pc:spChg>
        <pc:spChg chg="add del mod">
          <ac:chgData name="Cornago, Fernando" userId="048a41c0-cb7a-447c-b2ac-f7c7348706e9" providerId="ADAL" clId="{937591CA-C1D7-784D-9DA8-42716B827479}" dt="2020-06-15T05:30:25.574" v="224"/>
          <ac:spMkLst>
            <pc:docMk/>
            <pc:sldMk cId="42210473" sldId="4269"/>
            <ac:spMk id="26" creationId="{A2DCCEDC-45C2-0B49-B5A2-AD20DCBEA0E2}"/>
          </ac:spMkLst>
        </pc:spChg>
        <pc:spChg chg="add del mod">
          <ac:chgData name="Cornago, Fernando" userId="048a41c0-cb7a-447c-b2ac-f7c7348706e9" providerId="ADAL" clId="{937591CA-C1D7-784D-9DA8-42716B827479}" dt="2020-06-15T05:30:25.574" v="224"/>
          <ac:spMkLst>
            <pc:docMk/>
            <pc:sldMk cId="42210473" sldId="4269"/>
            <ac:spMk id="27" creationId="{81570625-1D85-D44B-8615-BBDB21C917D6}"/>
          </ac:spMkLst>
        </pc:spChg>
        <pc:spChg chg="add del mod">
          <ac:chgData name="Cornago, Fernando" userId="048a41c0-cb7a-447c-b2ac-f7c7348706e9" providerId="ADAL" clId="{937591CA-C1D7-784D-9DA8-42716B827479}" dt="2020-06-15T05:30:25.574" v="224"/>
          <ac:spMkLst>
            <pc:docMk/>
            <pc:sldMk cId="42210473" sldId="4269"/>
            <ac:spMk id="28" creationId="{0D72F0A4-22C5-2A47-8002-0F7D974D0388}"/>
          </ac:spMkLst>
        </pc:spChg>
        <pc:spChg chg="add del mod">
          <ac:chgData name="Cornago, Fernando" userId="048a41c0-cb7a-447c-b2ac-f7c7348706e9" providerId="ADAL" clId="{937591CA-C1D7-784D-9DA8-42716B827479}" dt="2020-06-15T05:30:25.574" v="224"/>
          <ac:spMkLst>
            <pc:docMk/>
            <pc:sldMk cId="42210473" sldId="4269"/>
            <ac:spMk id="29" creationId="{C708DC36-3D4E-A74E-9D2F-DB77CAF78307}"/>
          </ac:spMkLst>
        </pc:spChg>
        <pc:spChg chg="add mod">
          <ac:chgData name="Cornago, Fernando" userId="048a41c0-cb7a-447c-b2ac-f7c7348706e9" providerId="ADAL" clId="{937591CA-C1D7-784D-9DA8-42716B827479}" dt="2020-06-15T05:32:17.290" v="239" actId="207"/>
          <ac:spMkLst>
            <pc:docMk/>
            <pc:sldMk cId="42210473" sldId="4269"/>
            <ac:spMk id="36" creationId="{7D799BD1-109C-E345-9CD1-8CC553865A50}"/>
          </ac:spMkLst>
        </pc:spChg>
        <pc:picChg chg="add del mod">
          <ac:chgData name="Cornago, Fernando" userId="048a41c0-cb7a-447c-b2ac-f7c7348706e9" providerId="ADAL" clId="{937591CA-C1D7-784D-9DA8-42716B827479}" dt="2020-06-15T05:30:28.615" v="226" actId="478"/>
          <ac:picMkLst>
            <pc:docMk/>
            <pc:sldMk cId="42210473" sldId="4269"/>
            <ac:picMk id="13" creationId="{40E953F9-DFB8-F942-BCE8-CA1CEF0DB7D4}"/>
          </ac:picMkLst>
        </pc:picChg>
        <pc:picChg chg="add del mod">
          <ac:chgData name="Cornago, Fernando" userId="048a41c0-cb7a-447c-b2ac-f7c7348706e9" providerId="ADAL" clId="{937591CA-C1D7-784D-9DA8-42716B827479}" dt="2020-06-15T05:30:28.615" v="226" actId="478"/>
          <ac:picMkLst>
            <pc:docMk/>
            <pc:sldMk cId="42210473" sldId="4269"/>
            <ac:picMk id="14" creationId="{157B690B-94A9-DD4D-BC6A-CBA12A115F5C}"/>
          </ac:picMkLst>
        </pc:picChg>
        <pc:picChg chg="add del mod">
          <ac:chgData name="Cornago, Fernando" userId="048a41c0-cb7a-447c-b2ac-f7c7348706e9" providerId="ADAL" clId="{937591CA-C1D7-784D-9DA8-42716B827479}" dt="2020-06-15T05:30:28.615" v="226" actId="478"/>
          <ac:picMkLst>
            <pc:docMk/>
            <pc:sldMk cId="42210473" sldId="4269"/>
            <ac:picMk id="15" creationId="{FEF5BDBF-DFDC-9F4D-8EAA-17751C9810D0}"/>
          </ac:picMkLst>
        </pc:picChg>
        <pc:picChg chg="add del mod">
          <ac:chgData name="Cornago, Fernando" userId="048a41c0-cb7a-447c-b2ac-f7c7348706e9" providerId="ADAL" clId="{937591CA-C1D7-784D-9DA8-42716B827479}" dt="2020-06-15T05:30:28.615" v="226" actId="478"/>
          <ac:picMkLst>
            <pc:docMk/>
            <pc:sldMk cId="42210473" sldId="4269"/>
            <ac:picMk id="16" creationId="{95D6E023-824D-344C-9A11-30BCC4DB21E6}"/>
          </ac:picMkLst>
        </pc:picChg>
        <pc:picChg chg="add del mod">
          <ac:chgData name="Cornago, Fernando" userId="048a41c0-cb7a-447c-b2ac-f7c7348706e9" providerId="ADAL" clId="{937591CA-C1D7-784D-9DA8-42716B827479}" dt="2020-06-15T05:30:28.615" v="226" actId="478"/>
          <ac:picMkLst>
            <pc:docMk/>
            <pc:sldMk cId="42210473" sldId="4269"/>
            <ac:picMk id="17" creationId="{87A81321-0B57-7246-A779-6377E9C0C5F7}"/>
          </ac:picMkLst>
        </pc:picChg>
        <pc:picChg chg="add mod">
          <ac:chgData name="Cornago, Fernando" userId="048a41c0-cb7a-447c-b2ac-f7c7348706e9" providerId="ADAL" clId="{937591CA-C1D7-784D-9DA8-42716B827479}" dt="2020-06-15T05:30:43.975" v="229" actId="1076"/>
          <ac:picMkLst>
            <pc:docMk/>
            <pc:sldMk cId="42210473" sldId="4269"/>
            <ac:picMk id="18" creationId="{C0E2EC7B-2BC8-FD47-B929-9580578681AC}"/>
          </ac:picMkLst>
        </pc:picChg>
        <pc:picChg chg="add del mod">
          <ac:chgData name="Cornago, Fernando" userId="048a41c0-cb7a-447c-b2ac-f7c7348706e9" providerId="ADAL" clId="{937591CA-C1D7-784D-9DA8-42716B827479}" dt="2020-06-15T05:30:25.574" v="224"/>
          <ac:picMkLst>
            <pc:docMk/>
            <pc:sldMk cId="42210473" sldId="4269"/>
            <ac:picMk id="30" creationId="{D5811C58-9F03-3043-840F-89F7F5C9822C}"/>
          </ac:picMkLst>
        </pc:picChg>
        <pc:picChg chg="add del mod">
          <ac:chgData name="Cornago, Fernando" userId="048a41c0-cb7a-447c-b2ac-f7c7348706e9" providerId="ADAL" clId="{937591CA-C1D7-784D-9DA8-42716B827479}" dt="2020-06-15T05:30:25.574" v="224"/>
          <ac:picMkLst>
            <pc:docMk/>
            <pc:sldMk cId="42210473" sldId="4269"/>
            <ac:picMk id="31" creationId="{22DBF4EF-6391-2548-9669-EE8C97D2C456}"/>
          </ac:picMkLst>
        </pc:picChg>
        <pc:picChg chg="add del mod">
          <ac:chgData name="Cornago, Fernando" userId="048a41c0-cb7a-447c-b2ac-f7c7348706e9" providerId="ADAL" clId="{937591CA-C1D7-784D-9DA8-42716B827479}" dt="2020-06-15T05:30:25.574" v="224"/>
          <ac:picMkLst>
            <pc:docMk/>
            <pc:sldMk cId="42210473" sldId="4269"/>
            <ac:picMk id="32" creationId="{839648D8-FB58-7B4D-8733-48B846DEB6F2}"/>
          </ac:picMkLst>
        </pc:picChg>
        <pc:picChg chg="add del mod">
          <ac:chgData name="Cornago, Fernando" userId="048a41c0-cb7a-447c-b2ac-f7c7348706e9" providerId="ADAL" clId="{937591CA-C1D7-784D-9DA8-42716B827479}" dt="2020-06-15T05:30:25.574" v="224"/>
          <ac:picMkLst>
            <pc:docMk/>
            <pc:sldMk cId="42210473" sldId="4269"/>
            <ac:picMk id="33" creationId="{E82F48A9-EA01-FF4C-BDA6-E83A85C12632}"/>
          </ac:picMkLst>
        </pc:picChg>
        <pc:picChg chg="add del mod">
          <ac:chgData name="Cornago, Fernando" userId="048a41c0-cb7a-447c-b2ac-f7c7348706e9" providerId="ADAL" clId="{937591CA-C1D7-784D-9DA8-42716B827479}" dt="2020-06-15T05:30:25.574" v="224"/>
          <ac:picMkLst>
            <pc:docMk/>
            <pc:sldMk cId="42210473" sldId="4269"/>
            <ac:picMk id="34" creationId="{E1601E3D-525C-7449-AAF4-BDDF93FDAD6B}"/>
          </ac:picMkLst>
        </pc:picChg>
        <pc:picChg chg="add mod">
          <ac:chgData name="Cornago, Fernando" userId="048a41c0-cb7a-447c-b2ac-f7c7348706e9" providerId="ADAL" clId="{937591CA-C1D7-784D-9DA8-42716B827479}" dt="2020-06-15T05:30:38.666" v="228" actId="1076"/>
          <ac:picMkLst>
            <pc:docMk/>
            <pc:sldMk cId="42210473" sldId="4269"/>
            <ac:picMk id="35" creationId="{56EA961C-B5F1-0745-B874-FF8B5A75DFDD}"/>
          </ac:picMkLst>
        </pc:picChg>
      </pc:sldChg>
      <pc:sldChg chg="delSp new del">
        <pc:chgData name="Cornago, Fernando" userId="048a41c0-cb7a-447c-b2ac-f7c7348706e9" providerId="ADAL" clId="{937591CA-C1D7-784D-9DA8-42716B827479}" dt="2020-06-15T05:44:40.394" v="395" actId="2696"/>
        <pc:sldMkLst>
          <pc:docMk/>
          <pc:sldMk cId="3549272310" sldId="4270"/>
        </pc:sldMkLst>
        <pc:spChg chg="del">
          <ac:chgData name="Cornago, Fernando" userId="048a41c0-cb7a-447c-b2ac-f7c7348706e9" providerId="ADAL" clId="{937591CA-C1D7-784D-9DA8-42716B827479}" dt="2020-06-15T05:40:37.953" v="393" actId="478"/>
          <ac:spMkLst>
            <pc:docMk/>
            <pc:sldMk cId="3549272310" sldId="4270"/>
            <ac:spMk id="2" creationId="{64D38FBB-E493-4145-B1A9-F09B01CABAD8}"/>
          </ac:spMkLst>
        </pc:spChg>
      </pc:sldChg>
      <pc:sldChg chg="addSp delSp modSp add modNotesTx">
        <pc:chgData name="Cornago, Fernando" userId="048a41c0-cb7a-447c-b2ac-f7c7348706e9" providerId="ADAL" clId="{937591CA-C1D7-784D-9DA8-42716B827479}" dt="2020-06-17T06:38:54.762" v="14603" actId="20577"/>
        <pc:sldMkLst>
          <pc:docMk/>
          <pc:sldMk cId="3919801534" sldId="4908"/>
        </pc:sldMkLst>
        <pc:spChg chg="mod">
          <ac:chgData name="Cornago, Fernando" userId="048a41c0-cb7a-447c-b2ac-f7c7348706e9" providerId="ADAL" clId="{937591CA-C1D7-784D-9DA8-42716B827479}" dt="2020-06-15T14:56:53.735" v="906" actId="1076"/>
          <ac:spMkLst>
            <pc:docMk/>
            <pc:sldMk cId="3919801534" sldId="4908"/>
            <ac:spMk id="29" creationId="{A3C83527-93B4-422F-92F3-24B2689DE7A8}"/>
          </ac:spMkLst>
        </pc:spChg>
        <pc:spChg chg="mod">
          <ac:chgData name="Cornago, Fernando" userId="048a41c0-cb7a-447c-b2ac-f7c7348706e9" providerId="ADAL" clId="{937591CA-C1D7-784D-9DA8-42716B827479}" dt="2020-06-15T14:56:53.735" v="906" actId="1076"/>
          <ac:spMkLst>
            <pc:docMk/>
            <pc:sldMk cId="3919801534" sldId="4908"/>
            <ac:spMk id="38" creationId="{109C226E-5CFC-42F4-BAA3-58795B622782}"/>
          </ac:spMkLst>
        </pc:spChg>
        <pc:spChg chg="mod">
          <ac:chgData name="Cornago, Fernando" userId="048a41c0-cb7a-447c-b2ac-f7c7348706e9" providerId="ADAL" clId="{937591CA-C1D7-784D-9DA8-42716B827479}" dt="2020-06-15T14:56:53.735" v="906" actId="1076"/>
          <ac:spMkLst>
            <pc:docMk/>
            <pc:sldMk cId="3919801534" sldId="4908"/>
            <ac:spMk id="39" creationId="{FE762DD2-4A8F-4CDE-A6CB-4CECC2DA29F2}"/>
          </ac:spMkLst>
        </pc:spChg>
        <pc:spChg chg="mod">
          <ac:chgData name="Cornago, Fernando" userId="048a41c0-cb7a-447c-b2ac-f7c7348706e9" providerId="ADAL" clId="{937591CA-C1D7-784D-9DA8-42716B827479}" dt="2020-06-15T14:56:53.735" v="906" actId="1076"/>
          <ac:spMkLst>
            <pc:docMk/>
            <pc:sldMk cId="3919801534" sldId="4908"/>
            <ac:spMk id="40" creationId="{DC1A1478-251C-4581-9669-73EA8EA5B4B1}"/>
          </ac:spMkLst>
        </pc:spChg>
        <pc:spChg chg="mod">
          <ac:chgData name="Cornago, Fernando" userId="048a41c0-cb7a-447c-b2ac-f7c7348706e9" providerId="ADAL" clId="{937591CA-C1D7-784D-9DA8-42716B827479}" dt="2020-06-15T14:56:53.735" v="906" actId="1076"/>
          <ac:spMkLst>
            <pc:docMk/>
            <pc:sldMk cId="3919801534" sldId="4908"/>
            <ac:spMk id="41" creationId="{E7D4DCCF-89BD-4B06-9272-F49F4663D7C0}"/>
          </ac:spMkLst>
        </pc:spChg>
        <pc:spChg chg="mod">
          <ac:chgData name="Cornago, Fernando" userId="048a41c0-cb7a-447c-b2ac-f7c7348706e9" providerId="ADAL" clId="{937591CA-C1D7-784D-9DA8-42716B827479}" dt="2020-06-15T14:56:53.735" v="906" actId="1076"/>
          <ac:spMkLst>
            <pc:docMk/>
            <pc:sldMk cId="3919801534" sldId="4908"/>
            <ac:spMk id="43" creationId="{F7CDF6DF-2E5F-4EB1-9241-DA5E5E8660B2}"/>
          </ac:spMkLst>
        </pc:spChg>
        <pc:spChg chg="add del mod">
          <ac:chgData name="Cornago, Fernando" userId="048a41c0-cb7a-447c-b2ac-f7c7348706e9" providerId="ADAL" clId="{937591CA-C1D7-784D-9DA8-42716B827479}" dt="2020-06-16T04:21:25.698" v="1363"/>
          <ac:spMkLst>
            <pc:docMk/>
            <pc:sldMk cId="3919801534" sldId="4908"/>
            <ac:spMk id="46" creationId="{C38C0E5A-2576-3347-805E-E6E153903D3E}"/>
          </ac:spMkLst>
        </pc:spChg>
        <pc:spChg chg="mod">
          <ac:chgData name="Cornago, Fernando" userId="048a41c0-cb7a-447c-b2ac-f7c7348706e9" providerId="ADAL" clId="{937591CA-C1D7-784D-9DA8-42716B827479}" dt="2020-06-17T05:33:25.435" v="7746" actId="113"/>
          <ac:spMkLst>
            <pc:docMk/>
            <pc:sldMk cId="3919801534" sldId="4908"/>
            <ac:spMk id="47" creationId="{63A73BD3-DC94-4750-94C0-2A0985D3598E}"/>
          </ac:spMkLst>
        </pc:spChg>
        <pc:spChg chg="mod">
          <ac:chgData name="Cornago, Fernando" userId="048a41c0-cb7a-447c-b2ac-f7c7348706e9" providerId="ADAL" clId="{937591CA-C1D7-784D-9DA8-42716B827479}" dt="2020-06-17T05:33:25.435" v="7746" actId="113"/>
          <ac:spMkLst>
            <pc:docMk/>
            <pc:sldMk cId="3919801534" sldId="4908"/>
            <ac:spMk id="48" creationId="{DF059B49-9369-475E-A87A-E8FFF16E99AD}"/>
          </ac:spMkLst>
        </pc:spChg>
        <pc:spChg chg="add del mod">
          <ac:chgData name="Cornago, Fernando" userId="048a41c0-cb7a-447c-b2ac-f7c7348706e9" providerId="ADAL" clId="{937591CA-C1D7-784D-9DA8-42716B827479}" dt="2020-06-16T04:21:23.834" v="1361" actId="478"/>
          <ac:spMkLst>
            <pc:docMk/>
            <pc:sldMk cId="3919801534" sldId="4908"/>
            <ac:spMk id="75" creationId="{664C7C78-6CAF-4923-AD59-153231D15ED2}"/>
          </ac:spMkLst>
        </pc:spChg>
        <pc:spChg chg="mod">
          <ac:chgData name="Cornago, Fernando" userId="048a41c0-cb7a-447c-b2ac-f7c7348706e9" providerId="ADAL" clId="{937591CA-C1D7-784D-9DA8-42716B827479}" dt="2020-06-17T05:33:25.435" v="7746" actId="113"/>
          <ac:spMkLst>
            <pc:docMk/>
            <pc:sldMk cId="3919801534" sldId="4908"/>
            <ac:spMk id="83" creationId="{758D0E0D-DDD0-4F5D-BEF5-C6BB06254E96}"/>
          </ac:spMkLst>
        </pc:spChg>
        <pc:grpChg chg="mod">
          <ac:chgData name="Cornago, Fernando" userId="048a41c0-cb7a-447c-b2ac-f7c7348706e9" providerId="ADAL" clId="{937591CA-C1D7-784D-9DA8-42716B827479}" dt="2020-06-15T14:56:53.735" v="906" actId="1076"/>
          <ac:grpSpMkLst>
            <pc:docMk/>
            <pc:sldMk cId="3919801534" sldId="4908"/>
            <ac:grpSpMk id="42" creationId="{C1498875-46C0-435A-BCEC-348EE3A4CF90}"/>
          </ac:grpSpMkLst>
        </pc:grpChg>
        <pc:picChg chg="add mod">
          <ac:chgData name="Cornago, Fernando" userId="048a41c0-cb7a-447c-b2ac-f7c7348706e9" providerId="ADAL" clId="{937591CA-C1D7-784D-9DA8-42716B827479}" dt="2020-06-15T14:57:42.779" v="918" actId="14100"/>
          <ac:picMkLst>
            <pc:docMk/>
            <pc:sldMk cId="3919801534" sldId="4908"/>
            <ac:picMk id="45" creationId="{E7661F3A-8EAF-0C40-BD5E-484AF53CFA2E}"/>
          </ac:picMkLst>
        </pc:picChg>
        <pc:picChg chg="mod">
          <ac:chgData name="Cornago, Fernando" userId="048a41c0-cb7a-447c-b2ac-f7c7348706e9" providerId="ADAL" clId="{937591CA-C1D7-784D-9DA8-42716B827479}" dt="2020-06-15T14:56:53.735" v="906" actId="1076"/>
          <ac:picMkLst>
            <pc:docMk/>
            <pc:sldMk cId="3919801534" sldId="4908"/>
            <ac:picMk id="50" creationId="{8F4CAE63-0457-48E0-840D-EDDF704AC798}"/>
          </ac:picMkLst>
        </pc:picChg>
        <pc:picChg chg="mod">
          <ac:chgData name="Cornago, Fernando" userId="048a41c0-cb7a-447c-b2ac-f7c7348706e9" providerId="ADAL" clId="{937591CA-C1D7-784D-9DA8-42716B827479}" dt="2020-06-15T14:56:53.735" v="906" actId="1076"/>
          <ac:picMkLst>
            <pc:docMk/>
            <pc:sldMk cId="3919801534" sldId="4908"/>
            <ac:picMk id="52" creationId="{7DD552B3-16AB-48FE-8D77-8C43A7966709}"/>
          </ac:picMkLst>
        </pc:picChg>
        <pc:picChg chg="mod">
          <ac:chgData name="Cornago, Fernando" userId="048a41c0-cb7a-447c-b2ac-f7c7348706e9" providerId="ADAL" clId="{937591CA-C1D7-784D-9DA8-42716B827479}" dt="2020-06-15T14:56:56.861" v="907" actId="1076"/>
          <ac:picMkLst>
            <pc:docMk/>
            <pc:sldMk cId="3919801534" sldId="4908"/>
            <ac:picMk id="53" creationId="{595EB526-C6E9-4111-9DDB-EB9137C3E7BB}"/>
          </ac:picMkLst>
        </pc:picChg>
        <pc:picChg chg="mod">
          <ac:chgData name="Cornago, Fernando" userId="048a41c0-cb7a-447c-b2ac-f7c7348706e9" providerId="ADAL" clId="{937591CA-C1D7-784D-9DA8-42716B827479}" dt="2020-06-15T14:56:53.735" v="906" actId="1076"/>
          <ac:picMkLst>
            <pc:docMk/>
            <pc:sldMk cId="3919801534" sldId="4908"/>
            <ac:picMk id="54" creationId="{1973C54B-8A37-484B-8C65-9D10D35391AF}"/>
          </ac:picMkLst>
        </pc:picChg>
        <pc:cxnChg chg="mod">
          <ac:chgData name="Cornago, Fernando" userId="048a41c0-cb7a-447c-b2ac-f7c7348706e9" providerId="ADAL" clId="{937591CA-C1D7-784D-9DA8-42716B827479}" dt="2020-06-16T04:19:57.099" v="1331" actId="1076"/>
          <ac:cxnSpMkLst>
            <pc:docMk/>
            <pc:sldMk cId="3919801534" sldId="4908"/>
            <ac:cxnSpMk id="8" creationId="{5F1B4FB2-4CBF-4281-BA8C-DD56A2F84697}"/>
          </ac:cxnSpMkLst>
        </pc:cxnChg>
        <pc:cxnChg chg="del">
          <ac:chgData name="Cornago, Fernando" userId="048a41c0-cb7a-447c-b2ac-f7c7348706e9" providerId="ADAL" clId="{937591CA-C1D7-784D-9DA8-42716B827479}" dt="2020-06-15T14:57:32.323" v="917" actId="478"/>
          <ac:cxnSpMkLst>
            <pc:docMk/>
            <pc:sldMk cId="3919801534" sldId="4908"/>
            <ac:cxnSpMk id="31" creationId="{E44EEB04-C603-4F50-B830-95C0C162888E}"/>
          </ac:cxnSpMkLst>
        </pc:cxnChg>
        <pc:cxnChg chg="mod">
          <ac:chgData name="Cornago, Fernando" userId="048a41c0-cb7a-447c-b2ac-f7c7348706e9" providerId="ADAL" clId="{937591CA-C1D7-784D-9DA8-42716B827479}" dt="2020-06-15T14:56:53.735" v="906" actId="1076"/>
          <ac:cxnSpMkLst>
            <pc:docMk/>
            <pc:sldMk cId="3919801534" sldId="4908"/>
            <ac:cxnSpMk id="34" creationId="{509C6095-5D9B-4ADB-9A5C-300F69A3A7D5}"/>
          </ac:cxnSpMkLst>
        </pc:cxnChg>
        <pc:cxnChg chg="mod">
          <ac:chgData name="Cornago, Fernando" userId="048a41c0-cb7a-447c-b2ac-f7c7348706e9" providerId="ADAL" clId="{937591CA-C1D7-784D-9DA8-42716B827479}" dt="2020-06-15T14:56:53.735" v="906" actId="1076"/>
          <ac:cxnSpMkLst>
            <pc:docMk/>
            <pc:sldMk cId="3919801534" sldId="4908"/>
            <ac:cxnSpMk id="37" creationId="{FCDF4723-21BF-4136-8110-AE5A1EFC3D59}"/>
          </ac:cxnSpMkLst>
        </pc:cxnChg>
      </pc:sldChg>
      <pc:sldChg chg="add del">
        <pc:chgData name="Cornago, Fernando" userId="048a41c0-cb7a-447c-b2ac-f7c7348706e9" providerId="ADAL" clId="{937591CA-C1D7-784D-9DA8-42716B827479}" dt="2020-06-15T14:19:05.392" v="734"/>
        <pc:sldMkLst>
          <pc:docMk/>
          <pc:sldMk cId="1173329670" sldId="8686"/>
        </pc:sldMkLst>
      </pc:sldChg>
      <pc:sldChg chg="add modNotesTx">
        <pc:chgData name="Cornago, Fernando" userId="048a41c0-cb7a-447c-b2ac-f7c7348706e9" providerId="ADAL" clId="{937591CA-C1D7-784D-9DA8-42716B827479}" dt="2020-06-17T06:03:16.422" v="11311" actId="5793"/>
        <pc:sldMkLst>
          <pc:docMk/>
          <pc:sldMk cId="3086230165" sldId="8686"/>
        </pc:sldMkLst>
      </pc:sldChg>
      <pc:sldChg chg="add del">
        <pc:chgData name="Cornago, Fernando" userId="048a41c0-cb7a-447c-b2ac-f7c7348706e9" providerId="ADAL" clId="{937591CA-C1D7-784D-9DA8-42716B827479}" dt="2020-06-15T14:19:05.392" v="734"/>
        <pc:sldMkLst>
          <pc:docMk/>
          <pc:sldMk cId="1231038562" sldId="8717"/>
        </pc:sldMkLst>
      </pc:sldChg>
      <pc:sldChg chg="addSp delSp modSp add modNotesTx">
        <pc:chgData name="Cornago, Fernando" userId="048a41c0-cb7a-447c-b2ac-f7c7348706e9" providerId="ADAL" clId="{937591CA-C1D7-784D-9DA8-42716B827479}" dt="2020-06-17T06:45:31.387" v="14985" actId="20577"/>
        <pc:sldMkLst>
          <pc:docMk/>
          <pc:sldMk cId="1958243436" sldId="8717"/>
        </pc:sldMkLst>
        <pc:spChg chg="mod">
          <ac:chgData name="Cornago, Fernando" userId="048a41c0-cb7a-447c-b2ac-f7c7348706e9" providerId="ADAL" clId="{937591CA-C1D7-784D-9DA8-42716B827479}" dt="2020-06-16T04:32:48.382" v="1470" actId="1076"/>
          <ac:spMkLst>
            <pc:docMk/>
            <pc:sldMk cId="1958243436" sldId="8717"/>
            <ac:spMk id="11" creationId="{ED2F7312-D086-48F3-84E2-A83814DA3B2B}"/>
          </ac:spMkLst>
        </pc:spChg>
        <pc:spChg chg="add mod">
          <ac:chgData name="Cornago, Fernando" userId="048a41c0-cb7a-447c-b2ac-f7c7348706e9" providerId="ADAL" clId="{937591CA-C1D7-784D-9DA8-42716B827479}" dt="2020-06-16T04:33:06.237" v="1474" actId="1076"/>
          <ac:spMkLst>
            <pc:docMk/>
            <pc:sldMk cId="1958243436" sldId="8717"/>
            <ac:spMk id="12" creationId="{058DF6BC-54BE-A44C-8040-F91E9E027ED9}"/>
          </ac:spMkLst>
        </pc:spChg>
        <pc:spChg chg="add mod">
          <ac:chgData name="Cornago, Fernando" userId="048a41c0-cb7a-447c-b2ac-f7c7348706e9" providerId="ADAL" clId="{937591CA-C1D7-784D-9DA8-42716B827479}" dt="2020-06-16T04:33:12.793" v="1475" actId="1076"/>
          <ac:spMkLst>
            <pc:docMk/>
            <pc:sldMk cId="1958243436" sldId="8717"/>
            <ac:spMk id="14" creationId="{DC4E5DAA-019B-F34D-B735-62E3BAC09620}"/>
          </ac:spMkLst>
        </pc:spChg>
        <pc:spChg chg="del">
          <ac:chgData name="Cornago, Fernando" userId="048a41c0-cb7a-447c-b2ac-f7c7348706e9" providerId="ADAL" clId="{937591CA-C1D7-784D-9DA8-42716B827479}" dt="2020-06-16T04:32:59.434" v="1472" actId="478"/>
          <ac:spMkLst>
            <pc:docMk/>
            <pc:sldMk cId="1958243436" sldId="8717"/>
            <ac:spMk id="16" creationId="{BCC0B305-7BAE-4C0A-A33F-A105F20B8312}"/>
          </ac:spMkLst>
        </pc:spChg>
        <pc:spChg chg="mod">
          <ac:chgData name="Cornago, Fernando" userId="048a41c0-cb7a-447c-b2ac-f7c7348706e9" providerId="ADAL" clId="{937591CA-C1D7-784D-9DA8-42716B827479}" dt="2020-06-16T04:32:48.382" v="1470" actId="1076"/>
          <ac:spMkLst>
            <pc:docMk/>
            <pc:sldMk cId="1958243436" sldId="8717"/>
            <ac:spMk id="30" creationId="{E80B1407-ECAC-4FCE-B73D-A1D05C5A5DB7}"/>
          </ac:spMkLst>
        </pc:spChg>
      </pc:sldChg>
      <pc:sldChg chg="delSp modSp add modNotesTx">
        <pc:chgData name="Cornago, Fernando" userId="048a41c0-cb7a-447c-b2ac-f7c7348706e9" providerId="ADAL" clId="{937591CA-C1D7-784D-9DA8-42716B827479}" dt="2020-06-17T06:33:13.018" v="14126" actId="20577"/>
        <pc:sldMkLst>
          <pc:docMk/>
          <pc:sldMk cId="1606365903" sldId="2134804581"/>
        </pc:sldMkLst>
        <pc:spChg chg="mod">
          <ac:chgData name="Cornago, Fernando" userId="048a41c0-cb7a-447c-b2ac-f7c7348706e9" providerId="ADAL" clId="{937591CA-C1D7-784D-9DA8-42716B827479}" dt="2020-06-17T03:53:42.824" v="2794" actId="20577"/>
          <ac:spMkLst>
            <pc:docMk/>
            <pc:sldMk cId="1606365903" sldId="2134804581"/>
            <ac:spMk id="47" creationId="{A6E1CA49-871F-46E1-9645-2FD9F7FCA408}"/>
          </ac:spMkLst>
        </pc:spChg>
        <pc:spChg chg="del">
          <ac:chgData name="Cornago, Fernando" userId="048a41c0-cb7a-447c-b2ac-f7c7348706e9" providerId="ADAL" clId="{937591CA-C1D7-784D-9DA8-42716B827479}" dt="2020-06-15T05:45:33.509" v="409" actId="478"/>
          <ac:spMkLst>
            <pc:docMk/>
            <pc:sldMk cId="1606365903" sldId="2134804581"/>
            <ac:spMk id="65" creationId="{ED60FC40-94CD-40AF-B537-6A73F15D3A9D}"/>
          </ac:spMkLst>
        </pc:spChg>
      </pc:sldChg>
      <pc:sldChg chg="new del">
        <pc:chgData name="Cornago, Fernando" userId="048a41c0-cb7a-447c-b2ac-f7c7348706e9" providerId="ADAL" clId="{937591CA-C1D7-784D-9DA8-42716B827479}" dt="2020-06-15T14:06:03.626" v="561" actId="2696"/>
        <pc:sldMkLst>
          <pc:docMk/>
          <pc:sldMk cId="2356801910" sldId="2134804582"/>
        </pc:sldMkLst>
      </pc:sldChg>
      <pc:sldChg chg="addSp delSp modSp new modAnim modNotesTx">
        <pc:chgData name="Cornago, Fernando" userId="048a41c0-cb7a-447c-b2ac-f7c7348706e9" providerId="ADAL" clId="{937591CA-C1D7-784D-9DA8-42716B827479}" dt="2020-06-17T06:48:23.552" v="15130" actId="20577"/>
        <pc:sldMkLst>
          <pc:docMk/>
          <pc:sldMk cId="3070004961" sldId="2134804583"/>
        </pc:sldMkLst>
        <pc:spChg chg="del">
          <ac:chgData name="Cornago, Fernando" userId="048a41c0-cb7a-447c-b2ac-f7c7348706e9" providerId="ADAL" clId="{937591CA-C1D7-784D-9DA8-42716B827479}" dt="2020-06-16T05:31:35.130" v="1836" actId="478"/>
          <ac:spMkLst>
            <pc:docMk/>
            <pc:sldMk cId="3070004961" sldId="2134804583"/>
            <ac:spMk id="2" creationId="{B574FC59-9370-FB42-942B-254DADE08ED5}"/>
          </ac:spMkLst>
        </pc:spChg>
        <pc:spChg chg="add mod">
          <ac:chgData name="Cornago, Fernando" userId="048a41c0-cb7a-447c-b2ac-f7c7348706e9" providerId="ADAL" clId="{937591CA-C1D7-784D-9DA8-42716B827479}" dt="2020-06-17T04:00:59.957" v="3107" actId="1076"/>
          <ac:spMkLst>
            <pc:docMk/>
            <pc:sldMk cId="3070004961" sldId="2134804583"/>
            <ac:spMk id="2" creationId="{F2B9CB1C-BB3D-7C4F-9070-8066FE62CA74}"/>
          </ac:spMkLst>
        </pc:spChg>
        <pc:spChg chg="del">
          <ac:chgData name="Cornago, Fernando" userId="048a41c0-cb7a-447c-b2ac-f7c7348706e9" providerId="ADAL" clId="{937591CA-C1D7-784D-9DA8-42716B827479}" dt="2020-06-16T05:31:35.130" v="1836" actId="478"/>
          <ac:spMkLst>
            <pc:docMk/>
            <pc:sldMk cId="3070004961" sldId="2134804583"/>
            <ac:spMk id="3" creationId="{B79A1BF2-0BF3-C346-9AAA-E696D89991E4}"/>
          </ac:spMkLst>
        </pc:spChg>
        <pc:spChg chg="del">
          <ac:chgData name="Cornago, Fernando" userId="048a41c0-cb7a-447c-b2ac-f7c7348706e9" providerId="ADAL" clId="{937591CA-C1D7-784D-9DA8-42716B827479}" dt="2020-06-16T05:31:35.130" v="1836" actId="478"/>
          <ac:spMkLst>
            <pc:docMk/>
            <pc:sldMk cId="3070004961" sldId="2134804583"/>
            <ac:spMk id="4" creationId="{402C53E9-DEEC-5849-A4A7-939B7CB5D2BA}"/>
          </ac:spMkLst>
        </pc:spChg>
        <pc:spChg chg="del">
          <ac:chgData name="Cornago, Fernando" userId="048a41c0-cb7a-447c-b2ac-f7c7348706e9" providerId="ADAL" clId="{937591CA-C1D7-784D-9DA8-42716B827479}" dt="2020-06-16T05:31:35.130" v="1836" actId="478"/>
          <ac:spMkLst>
            <pc:docMk/>
            <pc:sldMk cId="3070004961" sldId="2134804583"/>
            <ac:spMk id="5" creationId="{4481809B-417B-2045-9A1C-9B44CF275191}"/>
          </ac:spMkLst>
        </pc:spChg>
        <pc:spChg chg="add del mod">
          <ac:chgData name="Cornago, Fernando" userId="048a41c0-cb7a-447c-b2ac-f7c7348706e9" providerId="ADAL" clId="{937591CA-C1D7-784D-9DA8-42716B827479}" dt="2020-06-16T05:31:35.130" v="1836" actId="478"/>
          <ac:spMkLst>
            <pc:docMk/>
            <pc:sldMk cId="3070004961" sldId="2134804583"/>
            <ac:spMk id="8" creationId="{9A5AC113-DA9A-4F42-AFD7-DE38C86648D5}"/>
          </ac:spMkLst>
        </pc:spChg>
        <pc:spChg chg="add del mod">
          <ac:chgData name="Cornago, Fernando" userId="048a41c0-cb7a-447c-b2ac-f7c7348706e9" providerId="ADAL" clId="{937591CA-C1D7-784D-9DA8-42716B827479}" dt="2020-06-16T05:31:35.130" v="1836" actId="478"/>
          <ac:spMkLst>
            <pc:docMk/>
            <pc:sldMk cId="3070004961" sldId="2134804583"/>
            <ac:spMk id="9" creationId="{6529C581-FA2D-C740-AA77-9693145D9253}"/>
          </ac:spMkLst>
        </pc:spChg>
        <pc:spChg chg="add del mod">
          <ac:chgData name="Cornago, Fernando" userId="048a41c0-cb7a-447c-b2ac-f7c7348706e9" providerId="ADAL" clId="{937591CA-C1D7-784D-9DA8-42716B827479}" dt="2020-06-16T05:31:35.130" v="1836" actId="478"/>
          <ac:spMkLst>
            <pc:docMk/>
            <pc:sldMk cId="3070004961" sldId="2134804583"/>
            <ac:spMk id="10" creationId="{3E0213A5-31A4-0C49-AF62-03CD8ECFF1F4}"/>
          </ac:spMkLst>
        </pc:spChg>
        <pc:spChg chg="add mod">
          <ac:chgData name="Cornago, Fernando" userId="048a41c0-cb7a-447c-b2ac-f7c7348706e9" providerId="ADAL" clId="{937591CA-C1D7-784D-9DA8-42716B827479}" dt="2020-06-16T05:35:45.594" v="1957" actId="14100"/>
          <ac:spMkLst>
            <pc:docMk/>
            <pc:sldMk cId="3070004961" sldId="2134804583"/>
            <ac:spMk id="13" creationId="{1F99C040-C88F-F241-99AA-23CE2F739D55}"/>
          </ac:spMkLst>
        </pc:spChg>
        <pc:spChg chg="add del mod">
          <ac:chgData name="Cornago, Fernando" userId="048a41c0-cb7a-447c-b2ac-f7c7348706e9" providerId="ADAL" clId="{937591CA-C1D7-784D-9DA8-42716B827479}" dt="2020-06-16T07:50:47.263" v="2176" actId="478"/>
          <ac:spMkLst>
            <pc:docMk/>
            <pc:sldMk cId="3070004961" sldId="2134804583"/>
            <ac:spMk id="14" creationId="{4F92D9BE-3030-924A-A010-8F01EF31932E}"/>
          </ac:spMkLst>
        </pc:spChg>
        <pc:spChg chg="add mod">
          <ac:chgData name="Cornago, Fernando" userId="048a41c0-cb7a-447c-b2ac-f7c7348706e9" providerId="ADAL" clId="{937591CA-C1D7-784D-9DA8-42716B827479}" dt="2020-06-16T07:53:50.204" v="2279" actId="20577"/>
          <ac:spMkLst>
            <pc:docMk/>
            <pc:sldMk cId="3070004961" sldId="2134804583"/>
            <ac:spMk id="15" creationId="{3E0CFFA0-8965-A240-BFBA-F132FD7C4B0E}"/>
          </ac:spMkLst>
        </pc:spChg>
        <pc:spChg chg="add mod">
          <ac:chgData name="Cornago, Fernando" userId="048a41c0-cb7a-447c-b2ac-f7c7348706e9" providerId="ADAL" clId="{937591CA-C1D7-784D-9DA8-42716B827479}" dt="2020-06-16T07:54:38.855" v="2357" actId="20577"/>
          <ac:spMkLst>
            <pc:docMk/>
            <pc:sldMk cId="3070004961" sldId="2134804583"/>
            <ac:spMk id="16" creationId="{0F861B60-CF75-D547-A8E0-182EE6BDD06B}"/>
          </ac:spMkLst>
        </pc:spChg>
        <pc:spChg chg="add mod">
          <ac:chgData name="Cornago, Fernando" userId="048a41c0-cb7a-447c-b2ac-f7c7348706e9" providerId="ADAL" clId="{937591CA-C1D7-784D-9DA8-42716B827479}" dt="2020-06-16T07:54:52.037" v="2387" actId="20577"/>
          <ac:spMkLst>
            <pc:docMk/>
            <pc:sldMk cId="3070004961" sldId="2134804583"/>
            <ac:spMk id="18" creationId="{56B7C0A1-2EC3-4B4A-8EE3-132B3F4EE36B}"/>
          </ac:spMkLst>
        </pc:spChg>
        <pc:spChg chg="add mod">
          <ac:chgData name="Cornago, Fernando" userId="048a41c0-cb7a-447c-b2ac-f7c7348706e9" providerId="ADAL" clId="{937591CA-C1D7-784D-9DA8-42716B827479}" dt="2020-06-16T07:55:08.105" v="2418" actId="20577"/>
          <ac:spMkLst>
            <pc:docMk/>
            <pc:sldMk cId="3070004961" sldId="2134804583"/>
            <ac:spMk id="20" creationId="{17A1D304-AF75-CA4A-8ADA-9E01A7C9C936}"/>
          </ac:spMkLst>
        </pc:spChg>
        <pc:spChg chg="add mod">
          <ac:chgData name="Cornago, Fernando" userId="048a41c0-cb7a-447c-b2ac-f7c7348706e9" providerId="ADAL" clId="{937591CA-C1D7-784D-9DA8-42716B827479}" dt="2020-06-16T07:58:15.689" v="2599"/>
          <ac:spMkLst>
            <pc:docMk/>
            <pc:sldMk cId="3070004961" sldId="2134804583"/>
            <ac:spMk id="22" creationId="{4B6697B1-167C-D748-88BF-AABD3AC93F1F}"/>
          </ac:spMkLst>
        </pc:spChg>
        <pc:spChg chg="add mod">
          <ac:chgData name="Cornago, Fernando" userId="048a41c0-cb7a-447c-b2ac-f7c7348706e9" providerId="ADAL" clId="{937591CA-C1D7-784D-9DA8-42716B827479}" dt="2020-06-16T07:52:08.420" v="2193" actId="1076"/>
          <ac:spMkLst>
            <pc:docMk/>
            <pc:sldMk cId="3070004961" sldId="2134804583"/>
            <ac:spMk id="24" creationId="{62269293-E475-CE4A-BECC-85BDFF4AABF6}"/>
          </ac:spMkLst>
        </pc:spChg>
        <pc:spChg chg="add del mod">
          <ac:chgData name="Cornago, Fernando" userId="048a41c0-cb7a-447c-b2ac-f7c7348706e9" providerId="ADAL" clId="{937591CA-C1D7-784D-9DA8-42716B827479}" dt="2020-06-16T07:53:06.345" v="2204" actId="478"/>
          <ac:spMkLst>
            <pc:docMk/>
            <pc:sldMk cId="3070004961" sldId="2134804583"/>
            <ac:spMk id="26" creationId="{A8C95895-1E4B-9A4E-88EC-0B9E88A33CB8}"/>
          </ac:spMkLst>
        </pc:spChg>
        <pc:spChg chg="add del mod">
          <ac:chgData name="Cornago, Fernando" userId="048a41c0-cb7a-447c-b2ac-f7c7348706e9" providerId="ADAL" clId="{937591CA-C1D7-784D-9DA8-42716B827479}" dt="2020-06-16T07:53:11.755" v="2205" actId="478"/>
          <ac:spMkLst>
            <pc:docMk/>
            <pc:sldMk cId="3070004961" sldId="2134804583"/>
            <ac:spMk id="28" creationId="{98B268BE-18A5-1B43-A56B-881F33436050}"/>
          </ac:spMkLst>
        </pc:spChg>
        <pc:spChg chg="add mod">
          <ac:chgData name="Cornago, Fernando" userId="048a41c0-cb7a-447c-b2ac-f7c7348706e9" providerId="ADAL" clId="{937591CA-C1D7-784D-9DA8-42716B827479}" dt="2020-06-16T07:52:40.980" v="2200" actId="1076"/>
          <ac:spMkLst>
            <pc:docMk/>
            <pc:sldMk cId="3070004961" sldId="2134804583"/>
            <ac:spMk id="30" creationId="{9629ECF2-8394-AA46-829B-CC3DB26F7E0F}"/>
          </ac:spMkLst>
        </pc:spChg>
        <pc:spChg chg="add mod">
          <ac:chgData name="Cornago, Fernando" userId="048a41c0-cb7a-447c-b2ac-f7c7348706e9" providerId="ADAL" clId="{937591CA-C1D7-784D-9DA8-42716B827479}" dt="2020-06-16T07:54:06.636" v="2310" actId="20577"/>
          <ac:spMkLst>
            <pc:docMk/>
            <pc:sldMk cId="3070004961" sldId="2134804583"/>
            <ac:spMk id="32" creationId="{FE6574BB-F319-A141-ADD4-4F3F73000B3C}"/>
          </ac:spMkLst>
        </pc:spChg>
        <pc:spChg chg="add mod">
          <ac:chgData name="Cornago, Fernando" userId="048a41c0-cb7a-447c-b2ac-f7c7348706e9" providerId="ADAL" clId="{937591CA-C1D7-784D-9DA8-42716B827479}" dt="2020-06-16T07:54:25.043" v="2338" actId="20577"/>
          <ac:spMkLst>
            <pc:docMk/>
            <pc:sldMk cId="3070004961" sldId="2134804583"/>
            <ac:spMk id="34" creationId="{865BFDF3-B015-C348-9B91-EC8BFC49BBB2}"/>
          </ac:spMkLst>
        </pc:spChg>
        <pc:spChg chg="add mod">
          <ac:chgData name="Cornago, Fernando" userId="048a41c0-cb7a-447c-b2ac-f7c7348706e9" providerId="ADAL" clId="{937591CA-C1D7-784D-9DA8-42716B827479}" dt="2020-06-16T07:55:49.783" v="2464" actId="20577"/>
          <ac:spMkLst>
            <pc:docMk/>
            <pc:sldMk cId="3070004961" sldId="2134804583"/>
            <ac:spMk id="36" creationId="{C4368649-87C9-8649-9898-7D201F2E288E}"/>
          </ac:spMkLst>
        </pc:spChg>
        <pc:spChg chg="add mod">
          <ac:chgData name="Cornago, Fernando" userId="048a41c0-cb7a-447c-b2ac-f7c7348706e9" providerId="ADAL" clId="{937591CA-C1D7-784D-9DA8-42716B827479}" dt="2020-06-16T07:56:03.605" v="2481" actId="20577"/>
          <ac:spMkLst>
            <pc:docMk/>
            <pc:sldMk cId="3070004961" sldId="2134804583"/>
            <ac:spMk id="38" creationId="{4EAB2607-DFBB-FC42-8463-A7F92F5C7C84}"/>
          </ac:spMkLst>
        </pc:spChg>
        <pc:spChg chg="add mod">
          <ac:chgData name="Cornago, Fernando" userId="048a41c0-cb7a-447c-b2ac-f7c7348706e9" providerId="ADAL" clId="{937591CA-C1D7-784D-9DA8-42716B827479}" dt="2020-06-16T07:56:26.499" v="2510" actId="20577"/>
          <ac:spMkLst>
            <pc:docMk/>
            <pc:sldMk cId="3070004961" sldId="2134804583"/>
            <ac:spMk id="40" creationId="{F9C39E86-0BDE-7342-AC2D-FFF7E80B2628}"/>
          </ac:spMkLst>
        </pc:spChg>
        <pc:spChg chg="add mod">
          <ac:chgData name="Cornago, Fernando" userId="048a41c0-cb7a-447c-b2ac-f7c7348706e9" providerId="ADAL" clId="{937591CA-C1D7-784D-9DA8-42716B827479}" dt="2020-06-16T07:53:28.217" v="2226" actId="20577"/>
          <ac:spMkLst>
            <pc:docMk/>
            <pc:sldMk cId="3070004961" sldId="2134804583"/>
            <ac:spMk id="42" creationId="{D506AD58-481C-8843-8DAC-18690A11D26A}"/>
          </ac:spMkLst>
        </pc:spChg>
        <pc:spChg chg="add mod">
          <ac:chgData name="Cornago, Fernando" userId="048a41c0-cb7a-447c-b2ac-f7c7348706e9" providerId="ADAL" clId="{937591CA-C1D7-784D-9DA8-42716B827479}" dt="2020-06-16T07:59:01.648" v="2630" actId="1076"/>
          <ac:spMkLst>
            <pc:docMk/>
            <pc:sldMk cId="3070004961" sldId="2134804583"/>
            <ac:spMk id="44" creationId="{9B43DB66-671B-C64D-9A22-4CE922F2FB00}"/>
          </ac:spMkLst>
        </pc:spChg>
        <pc:spChg chg="add mod">
          <ac:chgData name="Cornago, Fernando" userId="048a41c0-cb7a-447c-b2ac-f7c7348706e9" providerId="ADAL" clId="{937591CA-C1D7-784D-9DA8-42716B827479}" dt="2020-06-16T07:57:27" v="2565" actId="20577"/>
          <ac:spMkLst>
            <pc:docMk/>
            <pc:sldMk cId="3070004961" sldId="2134804583"/>
            <ac:spMk id="46" creationId="{38E813C0-B175-B14B-A532-4785EF8E87EC}"/>
          </ac:spMkLst>
        </pc:spChg>
        <pc:spChg chg="add mod">
          <ac:chgData name="Cornago, Fernando" userId="048a41c0-cb7a-447c-b2ac-f7c7348706e9" providerId="ADAL" clId="{937591CA-C1D7-784D-9DA8-42716B827479}" dt="2020-06-16T07:59:17.091" v="2631" actId="20577"/>
          <ac:spMkLst>
            <pc:docMk/>
            <pc:sldMk cId="3070004961" sldId="2134804583"/>
            <ac:spMk id="48" creationId="{A165F5C3-E987-7B4C-9BE6-8BF5B56BF286}"/>
          </ac:spMkLst>
        </pc:spChg>
        <pc:spChg chg="add mod">
          <ac:chgData name="Cornago, Fernando" userId="048a41c0-cb7a-447c-b2ac-f7c7348706e9" providerId="ADAL" clId="{937591CA-C1D7-784D-9DA8-42716B827479}" dt="2020-06-16T07:59:33.280" v="2648" actId="20577"/>
          <ac:spMkLst>
            <pc:docMk/>
            <pc:sldMk cId="3070004961" sldId="2134804583"/>
            <ac:spMk id="50" creationId="{92C8335C-1EBF-EE46-94C9-034BDC208286}"/>
          </ac:spMkLst>
        </pc:spChg>
        <pc:spChg chg="add mod">
          <ac:chgData name="Cornago, Fernando" userId="048a41c0-cb7a-447c-b2ac-f7c7348706e9" providerId="ADAL" clId="{937591CA-C1D7-784D-9DA8-42716B827479}" dt="2020-06-17T04:00:59.957" v="3107" actId="1076"/>
          <ac:spMkLst>
            <pc:docMk/>
            <pc:sldMk cId="3070004961" sldId="2134804583"/>
            <ac:spMk id="52" creationId="{5885D627-2656-EC4B-B0B6-26FFC79482EC}"/>
          </ac:spMkLst>
        </pc:spChg>
        <pc:spChg chg="add mod">
          <ac:chgData name="Cornago, Fernando" userId="048a41c0-cb7a-447c-b2ac-f7c7348706e9" providerId="ADAL" clId="{937591CA-C1D7-784D-9DA8-42716B827479}" dt="2020-06-17T04:01:17.612" v="3121" actId="20577"/>
          <ac:spMkLst>
            <pc:docMk/>
            <pc:sldMk cId="3070004961" sldId="2134804583"/>
            <ac:spMk id="53" creationId="{E8350BD6-FF12-4F44-B1EF-4F242C8ABC4F}"/>
          </ac:spMkLst>
        </pc:spChg>
        <pc:graphicFrameChg chg="add mod">
          <ac:chgData name="Cornago, Fernando" userId="048a41c0-cb7a-447c-b2ac-f7c7348706e9" providerId="ADAL" clId="{937591CA-C1D7-784D-9DA8-42716B827479}" dt="2020-06-16T07:50:45.539" v="2175" actId="1076"/>
          <ac:graphicFrameMkLst>
            <pc:docMk/>
            <pc:sldMk cId="3070004961" sldId="2134804583"/>
            <ac:graphicFrameMk id="12" creationId="{A216A0E7-F833-4540-955E-6330D858A169}"/>
          </ac:graphicFrameMkLst>
        </pc:graphicFrameChg>
        <pc:picChg chg="add mod">
          <ac:chgData name="Cornago, Fernando" userId="048a41c0-cb7a-447c-b2ac-f7c7348706e9" providerId="ADAL" clId="{937591CA-C1D7-784D-9DA8-42716B827479}" dt="2020-06-17T04:00:59.957" v="3107" actId="1076"/>
          <ac:picMkLst>
            <pc:docMk/>
            <pc:sldMk cId="3070004961" sldId="2134804583"/>
            <ac:picMk id="4" creationId="{11A617BC-AE5E-1242-8C2D-6875B30C4375}"/>
          </ac:picMkLst>
        </pc:picChg>
        <pc:picChg chg="add mod">
          <ac:chgData name="Cornago, Fernando" userId="048a41c0-cb7a-447c-b2ac-f7c7348706e9" providerId="ADAL" clId="{937591CA-C1D7-784D-9DA8-42716B827479}" dt="2020-06-16T07:51:22.192" v="2182" actId="1076"/>
          <ac:picMkLst>
            <pc:docMk/>
            <pc:sldMk cId="3070004961" sldId="2134804583"/>
            <ac:picMk id="6" creationId="{D607B0B9-42F2-EE4F-BD4C-05AB9999710B}"/>
          </ac:picMkLst>
        </pc:picChg>
        <pc:picChg chg="add del mod">
          <ac:chgData name="Cornago, Fernando" userId="048a41c0-cb7a-447c-b2ac-f7c7348706e9" providerId="ADAL" clId="{937591CA-C1D7-784D-9DA8-42716B827479}" dt="2020-06-16T05:31:35.130" v="1836" actId="478"/>
          <ac:picMkLst>
            <pc:docMk/>
            <pc:sldMk cId="3070004961" sldId="2134804583"/>
            <ac:picMk id="7" creationId="{2EACB5E1-B769-0947-9A68-008246142687}"/>
          </ac:picMkLst>
        </pc:picChg>
        <pc:picChg chg="add mod">
          <ac:chgData name="Cornago, Fernando" userId="048a41c0-cb7a-447c-b2ac-f7c7348706e9" providerId="ADAL" clId="{937591CA-C1D7-784D-9DA8-42716B827479}" dt="2020-06-17T04:00:59.957" v="3107" actId="1076"/>
          <ac:picMkLst>
            <pc:docMk/>
            <pc:sldMk cId="3070004961" sldId="2134804583"/>
            <ac:picMk id="7" creationId="{370A7262-6CAA-434B-A349-DAA97AA1F18F}"/>
          </ac:picMkLst>
        </pc:picChg>
        <pc:picChg chg="add mod">
          <ac:chgData name="Cornago, Fernando" userId="048a41c0-cb7a-447c-b2ac-f7c7348706e9" providerId="ADAL" clId="{937591CA-C1D7-784D-9DA8-42716B827479}" dt="2020-06-16T05:33:33.462" v="1861"/>
          <ac:picMkLst>
            <pc:docMk/>
            <pc:sldMk cId="3070004961" sldId="2134804583"/>
            <ac:picMk id="11" creationId="{8FD949FC-9EE4-4D4D-AB98-612877920709}"/>
          </ac:picMkLst>
        </pc:picChg>
        <pc:picChg chg="add mod">
          <ac:chgData name="Cornago, Fernando" userId="048a41c0-cb7a-447c-b2ac-f7c7348706e9" providerId="ADAL" clId="{937591CA-C1D7-784D-9DA8-42716B827479}" dt="2020-06-16T07:51:29.095" v="2184" actId="1076"/>
          <ac:picMkLst>
            <pc:docMk/>
            <pc:sldMk cId="3070004961" sldId="2134804583"/>
            <ac:picMk id="17" creationId="{5E7BF6FC-11B3-DD41-B7FA-F6225B9CA017}"/>
          </ac:picMkLst>
        </pc:picChg>
        <pc:picChg chg="add mod">
          <ac:chgData name="Cornago, Fernando" userId="048a41c0-cb7a-447c-b2ac-f7c7348706e9" providerId="ADAL" clId="{937591CA-C1D7-784D-9DA8-42716B827479}" dt="2020-06-16T07:51:39.382" v="2187" actId="1076"/>
          <ac:picMkLst>
            <pc:docMk/>
            <pc:sldMk cId="3070004961" sldId="2134804583"/>
            <ac:picMk id="19" creationId="{0A049330-5C80-1547-B0AB-39F58F44C5B1}"/>
          </ac:picMkLst>
        </pc:picChg>
        <pc:picChg chg="add mod">
          <ac:chgData name="Cornago, Fernando" userId="048a41c0-cb7a-447c-b2ac-f7c7348706e9" providerId="ADAL" clId="{937591CA-C1D7-784D-9DA8-42716B827479}" dt="2020-06-16T07:51:44.193" v="2189" actId="1076"/>
          <ac:picMkLst>
            <pc:docMk/>
            <pc:sldMk cId="3070004961" sldId="2134804583"/>
            <ac:picMk id="21" creationId="{D284642F-F3CF-F24A-9F07-8D220724BACD}"/>
          </ac:picMkLst>
        </pc:picChg>
        <pc:picChg chg="add mod">
          <ac:chgData name="Cornago, Fernando" userId="048a41c0-cb7a-447c-b2ac-f7c7348706e9" providerId="ADAL" clId="{937591CA-C1D7-784D-9DA8-42716B827479}" dt="2020-06-16T07:51:50.405" v="2191" actId="1076"/>
          <ac:picMkLst>
            <pc:docMk/>
            <pc:sldMk cId="3070004961" sldId="2134804583"/>
            <ac:picMk id="23" creationId="{67014ED7-4EEE-4E4D-99D6-E73EEF6C70A2}"/>
          </ac:picMkLst>
        </pc:picChg>
        <pc:picChg chg="add mod">
          <ac:chgData name="Cornago, Fernando" userId="048a41c0-cb7a-447c-b2ac-f7c7348706e9" providerId="ADAL" clId="{937591CA-C1D7-784D-9DA8-42716B827479}" dt="2020-06-16T07:52:08.420" v="2193" actId="1076"/>
          <ac:picMkLst>
            <pc:docMk/>
            <pc:sldMk cId="3070004961" sldId="2134804583"/>
            <ac:picMk id="25" creationId="{025272B5-A13F-CF4A-A2A7-A6054DB9D711}"/>
          </ac:picMkLst>
        </pc:picChg>
        <pc:picChg chg="add del mod">
          <ac:chgData name="Cornago, Fernando" userId="048a41c0-cb7a-447c-b2ac-f7c7348706e9" providerId="ADAL" clId="{937591CA-C1D7-784D-9DA8-42716B827479}" dt="2020-06-16T07:53:14.682" v="2206" actId="478"/>
          <ac:picMkLst>
            <pc:docMk/>
            <pc:sldMk cId="3070004961" sldId="2134804583"/>
            <ac:picMk id="27" creationId="{9903CC13-6E7C-C943-99E9-DEDF90C28F95}"/>
          </ac:picMkLst>
        </pc:picChg>
        <pc:picChg chg="add del mod">
          <ac:chgData name="Cornago, Fernando" userId="048a41c0-cb7a-447c-b2ac-f7c7348706e9" providerId="ADAL" clId="{937591CA-C1D7-784D-9DA8-42716B827479}" dt="2020-06-16T07:53:14.682" v="2206" actId="478"/>
          <ac:picMkLst>
            <pc:docMk/>
            <pc:sldMk cId="3070004961" sldId="2134804583"/>
            <ac:picMk id="29" creationId="{0C2DD773-02B4-4941-81EA-8CD32415828A}"/>
          </ac:picMkLst>
        </pc:picChg>
        <pc:picChg chg="add mod">
          <ac:chgData name="Cornago, Fernando" userId="048a41c0-cb7a-447c-b2ac-f7c7348706e9" providerId="ADAL" clId="{937591CA-C1D7-784D-9DA8-42716B827479}" dt="2020-06-16T07:52:40.980" v="2200" actId="1076"/>
          <ac:picMkLst>
            <pc:docMk/>
            <pc:sldMk cId="3070004961" sldId="2134804583"/>
            <ac:picMk id="31" creationId="{D30FC37E-073A-A145-8B03-6782743E3046}"/>
          </ac:picMkLst>
        </pc:picChg>
        <pc:picChg chg="add mod">
          <ac:chgData name="Cornago, Fernando" userId="048a41c0-cb7a-447c-b2ac-f7c7348706e9" providerId="ADAL" clId="{937591CA-C1D7-784D-9DA8-42716B827479}" dt="2020-06-16T07:52:59.132" v="2203" actId="1076"/>
          <ac:picMkLst>
            <pc:docMk/>
            <pc:sldMk cId="3070004961" sldId="2134804583"/>
            <ac:picMk id="33" creationId="{383B7196-2E5F-5D45-91F2-1D9DFEF2AAA4}"/>
          </ac:picMkLst>
        </pc:picChg>
        <pc:picChg chg="add mod">
          <ac:chgData name="Cornago, Fernando" userId="048a41c0-cb7a-447c-b2ac-f7c7348706e9" providerId="ADAL" clId="{937591CA-C1D7-784D-9DA8-42716B827479}" dt="2020-06-16T07:52:59.132" v="2203" actId="1076"/>
          <ac:picMkLst>
            <pc:docMk/>
            <pc:sldMk cId="3070004961" sldId="2134804583"/>
            <ac:picMk id="35" creationId="{1FA7CB8C-F8CB-B343-AE7D-322FD0F73174}"/>
          </ac:picMkLst>
        </pc:picChg>
        <pc:picChg chg="add mod">
          <ac:chgData name="Cornago, Fernando" userId="048a41c0-cb7a-447c-b2ac-f7c7348706e9" providerId="ADAL" clId="{937591CA-C1D7-784D-9DA8-42716B827479}" dt="2020-06-16T07:52:59.132" v="2203" actId="1076"/>
          <ac:picMkLst>
            <pc:docMk/>
            <pc:sldMk cId="3070004961" sldId="2134804583"/>
            <ac:picMk id="37" creationId="{0BFD5F59-7B77-024A-9267-12AB87410736}"/>
          </ac:picMkLst>
        </pc:picChg>
        <pc:picChg chg="add mod">
          <ac:chgData name="Cornago, Fernando" userId="048a41c0-cb7a-447c-b2ac-f7c7348706e9" providerId="ADAL" clId="{937591CA-C1D7-784D-9DA8-42716B827479}" dt="2020-06-16T07:52:59.132" v="2203" actId="1076"/>
          <ac:picMkLst>
            <pc:docMk/>
            <pc:sldMk cId="3070004961" sldId="2134804583"/>
            <ac:picMk id="39" creationId="{10C03A06-6572-3C4B-8EF9-E403CBC69B75}"/>
          </ac:picMkLst>
        </pc:picChg>
        <pc:picChg chg="add mod">
          <ac:chgData name="Cornago, Fernando" userId="048a41c0-cb7a-447c-b2ac-f7c7348706e9" providerId="ADAL" clId="{937591CA-C1D7-784D-9DA8-42716B827479}" dt="2020-06-16T07:52:59.132" v="2203" actId="1076"/>
          <ac:picMkLst>
            <pc:docMk/>
            <pc:sldMk cId="3070004961" sldId="2134804583"/>
            <ac:picMk id="41" creationId="{91C412D2-59A6-A941-829A-129C2D6D3213}"/>
          </ac:picMkLst>
        </pc:picChg>
        <pc:picChg chg="add mod">
          <ac:chgData name="Cornago, Fernando" userId="048a41c0-cb7a-447c-b2ac-f7c7348706e9" providerId="ADAL" clId="{937591CA-C1D7-784D-9DA8-42716B827479}" dt="2020-06-16T07:52:59.132" v="2203" actId="1076"/>
          <ac:picMkLst>
            <pc:docMk/>
            <pc:sldMk cId="3070004961" sldId="2134804583"/>
            <ac:picMk id="43" creationId="{EFE014D8-503B-E445-81EF-A0A168FC7C5D}"/>
          </ac:picMkLst>
        </pc:picChg>
        <pc:picChg chg="add mod">
          <ac:chgData name="Cornago, Fernando" userId="048a41c0-cb7a-447c-b2ac-f7c7348706e9" providerId="ADAL" clId="{937591CA-C1D7-784D-9DA8-42716B827479}" dt="2020-06-16T07:59:01.648" v="2630" actId="1076"/>
          <ac:picMkLst>
            <pc:docMk/>
            <pc:sldMk cId="3070004961" sldId="2134804583"/>
            <ac:picMk id="45" creationId="{79922ACB-123E-514A-96E7-0D507F255177}"/>
          </ac:picMkLst>
        </pc:picChg>
        <pc:picChg chg="add mod">
          <ac:chgData name="Cornago, Fernando" userId="048a41c0-cb7a-447c-b2ac-f7c7348706e9" providerId="ADAL" clId="{937591CA-C1D7-784D-9DA8-42716B827479}" dt="2020-06-16T07:57:16.681" v="2538" actId="1076"/>
          <ac:picMkLst>
            <pc:docMk/>
            <pc:sldMk cId="3070004961" sldId="2134804583"/>
            <ac:picMk id="47" creationId="{AF5686E4-3CD6-5D40-97D7-620B6C7D3141}"/>
          </ac:picMkLst>
        </pc:picChg>
        <pc:picChg chg="add mod">
          <ac:chgData name="Cornago, Fernando" userId="048a41c0-cb7a-447c-b2ac-f7c7348706e9" providerId="ADAL" clId="{937591CA-C1D7-784D-9DA8-42716B827479}" dt="2020-06-16T07:57:45.100" v="2567" actId="1076"/>
          <ac:picMkLst>
            <pc:docMk/>
            <pc:sldMk cId="3070004961" sldId="2134804583"/>
            <ac:picMk id="49" creationId="{3851A3B5-2A24-CD43-B28F-83788A1CB080}"/>
          </ac:picMkLst>
        </pc:picChg>
        <pc:picChg chg="add mod">
          <ac:chgData name="Cornago, Fernando" userId="048a41c0-cb7a-447c-b2ac-f7c7348706e9" providerId="ADAL" clId="{937591CA-C1D7-784D-9DA8-42716B827479}" dt="2020-06-16T07:58:54.184" v="2629" actId="1076"/>
          <ac:picMkLst>
            <pc:docMk/>
            <pc:sldMk cId="3070004961" sldId="2134804583"/>
            <ac:picMk id="51" creationId="{37CCA642-4BE0-E546-861D-AEF81A87ECFE}"/>
          </ac:picMkLst>
        </pc:picChg>
        <pc:picChg chg="add mod">
          <ac:chgData name="Cornago, Fernando" userId="048a41c0-cb7a-447c-b2ac-f7c7348706e9" providerId="ADAL" clId="{937591CA-C1D7-784D-9DA8-42716B827479}" dt="2020-06-17T04:01:10.931" v="3109" actId="1076"/>
          <ac:picMkLst>
            <pc:docMk/>
            <pc:sldMk cId="3070004961" sldId="2134804583"/>
            <ac:picMk id="54" creationId="{7433288E-30A5-1D49-BB02-EB33C0B7E98B}"/>
          </ac:picMkLst>
        </pc:picChg>
      </pc:sldChg>
      <pc:sldChg chg="addSp delSp modSp add modNotesTx">
        <pc:chgData name="Cornago, Fernando" userId="048a41c0-cb7a-447c-b2ac-f7c7348706e9" providerId="ADAL" clId="{937591CA-C1D7-784D-9DA8-42716B827479}" dt="2020-06-17T06:40:25.012" v="14745" actId="20577"/>
        <pc:sldMkLst>
          <pc:docMk/>
          <pc:sldMk cId="691916984" sldId="2134804584"/>
        </pc:sldMkLst>
        <pc:spChg chg="add mod">
          <ac:chgData name="Cornago, Fernando" userId="048a41c0-cb7a-447c-b2ac-f7c7348706e9" providerId="ADAL" clId="{937591CA-C1D7-784D-9DA8-42716B827479}" dt="2020-06-15T13:57:00.867" v="462" actId="1076"/>
          <ac:spMkLst>
            <pc:docMk/>
            <pc:sldMk cId="691916984" sldId="2134804584"/>
            <ac:spMk id="6" creationId="{D00E8AEE-383D-084A-A7E8-CCA1BCEE4415}"/>
          </ac:spMkLst>
        </pc:spChg>
        <pc:picChg chg="add mod">
          <ac:chgData name="Cornago, Fernando" userId="048a41c0-cb7a-447c-b2ac-f7c7348706e9" providerId="ADAL" clId="{937591CA-C1D7-784D-9DA8-42716B827479}" dt="2020-06-15T13:56:45.968" v="457" actId="1076"/>
          <ac:picMkLst>
            <pc:docMk/>
            <pc:sldMk cId="691916984" sldId="2134804584"/>
            <ac:picMk id="5" creationId="{831C85B7-A144-234C-AA67-C563512F471C}"/>
          </ac:picMkLst>
        </pc:picChg>
        <pc:picChg chg="del">
          <ac:chgData name="Cornago, Fernando" userId="048a41c0-cb7a-447c-b2ac-f7c7348706e9" providerId="ADAL" clId="{937591CA-C1D7-784D-9DA8-42716B827479}" dt="2020-06-15T13:56:41.279" v="456" actId="478"/>
          <ac:picMkLst>
            <pc:docMk/>
            <pc:sldMk cId="691916984" sldId="2134804584"/>
            <ac:picMk id="18" creationId="{C0E2EC7B-2BC8-FD47-B929-9580578681AC}"/>
          </ac:picMkLst>
        </pc:picChg>
      </pc:sldChg>
      <pc:sldChg chg="add del">
        <pc:chgData name="Cornago, Fernando" userId="048a41c0-cb7a-447c-b2ac-f7c7348706e9" providerId="ADAL" clId="{937591CA-C1D7-784D-9DA8-42716B827479}" dt="2020-06-15T14:06:25.622" v="562" actId="2696"/>
        <pc:sldMkLst>
          <pc:docMk/>
          <pc:sldMk cId="1066353576" sldId="2134804585"/>
        </pc:sldMkLst>
      </pc:sldChg>
      <pc:sldChg chg="add del">
        <pc:chgData name="Cornago, Fernando" userId="048a41c0-cb7a-447c-b2ac-f7c7348706e9" providerId="ADAL" clId="{937591CA-C1D7-784D-9DA8-42716B827479}" dt="2020-06-15T13:07:21.094" v="417" actId="2696"/>
        <pc:sldMkLst>
          <pc:docMk/>
          <pc:sldMk cId="1564712595" sldId="2134804586"/>
        </pc:sldMkLst>
      </pc:sldChg>
      <pc:sldChg chg="delSp add modNotesTx">
        <pc:chgData name="Cornago, Fernando" userId="048a41c0-cb7a-447c-b2ac-f7c7348706e9" providerId="ADAL" clId="{937591CA-C1D7-784D-9DA8-42716B827479}" dt="2020-06-17T06:57:06.131" v="15163" actId="20577"/>
        <pc:sldMkLst>
          <pc:docMk/>
          <pc:sldMk cId="3724447281" sldId="2134804587"/>
        </pc:sldMkLst>
        <pc:spChg chg="del">
          <ac:chgData name="Cornago, Fernando" userId="048a41c0-cb7a-447c-b2ac-f7c7348706e9" providerId="ADAL" clId="{937591CA-C1D7-784D-9DA8-42716B827479}" dt="2020-06-16T04:30:03.683" v="1443" actId="478"/>
          <ac:spMkLst>
            <pc:docMk/>
            <pc:sldMk cId="3724447281" sldId="2134804587"/>
            <ac:spMk id="201" creationId="{A0D21AE8-0074-4A06-B977-842A22D7E79C}"/>
          </ac:spMkLst>
        </pc:spChg>
        <pc:spChg chg="del">
          <ac:chgData name="Cornago, Fernando" userId="048a41c0-cb7a-447c-b2ac-f7c7348706e9" providerId="ADAL" clId="{937591CA-C1D7-784D-9DA8-42716B827479}" dt="2020-06-16T04:29:55.631" v="1442" actId="478"/>
          <ac:spMkLst>
            <pc:docMk/>
            <pc:sldMk cId="3724447281" sldId="2134804587"/>
            <ac:spMk id="202" creationId="{D8A136AA-432D-4582-8FA7-EB86A28EE56D}"/>
          </ac:spMkLst>
        </pc:spChg>
      </pc:sldChg>
      <pc:sldChg chg="modSp new del ord">
        <pc:chgData name="Cornago, Fernando" userId="048a41c0-cb7a-447c-b2ac-f7c7348706e9" providerId="ADAL" clId="{937591CA-C1D7-784D-9DA8-42716B827479}" dt="2020-06-15T14:04:40.337" v="550" actId="2696"/>
        <pc:sldMkLst>
          <pc:docMk/>
          <pc:sldMk cId="2978142043" sldId="2134804588"/>
        </pc:sldMkLst>
        <pc:spChg chg="mod">
          <ac:chgData name="Cornago, Fernando" userId="048a41c0-cb7a-447c-b2ac-f7c7348706e9" providerId="ADAL" clId="{937591CA-C1D7-784D-9DA8-42716B827479}" dt="2020-06-15T13:56:03.929" v="437" actId="1076"/>
          <ac:spMkLst>
            <pc:docMk/>
            <pc:sldMk cId="2978142043" sldId="2134804588"/>
            <ac:spMk id="2" creationId="{E1E1026C-875D-6345-9173-83E3DB7BEDE1}"/>
          </ac:spMkLst>
        </pc:spChg>
      </pc:sldChg>
      <pc:sldChg chg="modSp add modNotesTx">
        <pc:chgData name="Cornago, Fernando" userId="048a41c0-cb7a-447c-b2ac-f7c7348706e9" providerId="ADAL" clId="{937591CA-C1D7-784D-9DA8-42716B827479}" dt="2020-06-17T05:40:12.929" v="8892" actId="20577"/>
        <pc:sldMkLst>
          <pc:docMk/>
          <pc:sldMk cId="2098507423" sldId="2134804589"/>
        </pc:sldMkLst>
        <pc:spChg chg="mod">
          <ac:chgData name="Cornago, Fernando" userId="048a41c0-cb7a-447c-b2ac-f7c7348706e9" providerId="ADAL" clId="{937591CA-C1D7-784D-9DA8-42716B827479}" dt="2020-06-15T14:20:02.739" v="755" actId="20577"/>
          <ac:spMkLst>
            <pc:docMk/>
            <pc:sldMk cId="2098507423" sldId="2134804589"/>
            <ac:spMk id="6" creationId="{D00E8AEE-383D-084A-A7E8-CCA1BCEE4415}"/>
          </ac:spMkLst>
        </pc:spChg>
      </pc:sldChg>
      <pc:sldChg chg="addSp delSp modSp add delAnim modAnim modNotesTx">
        <pc:chgData name="Cornago, Fernando" userId="048a41c0-cb7a-447c-b2ac-f7c7348706e9" providerId="ADAL" clId="{937591CA-C1D7-784D-9DA8-42716B827479}" dt="2020-06-17T06:44:09.201" v="14980" actId="20577"/>
        <pc:sldMkLst>
          <pc:docMk/>
          <pc:sldMk cId="3934166094" sldId="2134804590"/>
        </pc:sldMkLst>
        <pc:spChg chg="del">
          <ac:chgData name="Cornago, Fernando" userId="048a41c0-cb7a-447c-b2ac-f7c7348706e9" providerId="ADAL" clId="{937591CA-C1D7-784D-9DA8-42716B827479}" dt="2020-06-16T04:31:30.866" v="1464" actId="478"/>
          <ac:spMkLst>
            <pc:docMk/>
            <pc:sldMk cId="3934166094" sldId="2134804590"/>
            <ac:spMk id="71" creationId="{52BD7E17-D074-4022-B7D5-FE46247187D3}"/>
          </ac:spMkLst>
        </pc:spChg>
        <pc:spChg chg="mod">
          <ac:chgData name="Cornago, Fernando" userId="048a41c0-cb7a-447c-b2ac-f7c7348706e9" providerId="ADAL" clId="{937591CA-C1D7-784D-9DA8-42716B827479}" dt="2020-06-17T05:44:35.849" v="9462" actId="20577"/>
          <ac:spMkLst>
            <pc:docMk/>
            <pc:sldMk cId="3934166094" sldId="2134804590"/>
            <ac:spMk id="189" creationId="{98BF26B1-1922-4841-9745-39C8F141CCA1}"/>
          </ac:spMkLst>
        </pc:spChg>
        <pc:spChg chg="add del mod">
          <ac:chgData name="Cornago, Fernando" userId="048a41c0-cb7a-447c-b2ac-f7c7348706e9" providerId="ADAL" clId="{937591CA-C1D7-784D-9DA8-42716B827479}" dt="2020-06-16T04:30:49.848" v="1457" actId="1076"/>
          <ac:spMkLst>
            <pc:docMk/>
            <pc:sldMk cId="3934166094" sldId="2134804590"/>
            <ac:spMk id="201" creationId="{A0D21AE8-0074-4A06-B977-842A22D7E79C}"/>
          </ac:spMkLst>
        </pc:spChg>
        <pc:spChg chg="del">
          <ac:chgData name="Cornago, Fernando" userId="048a41c0-cb7a-447c-b2ac-f7c7348706e9" providerId="ADAL" clId="{937591CA-C1D7-784D-9DA8-42716B827479}" dt="2020-06-16T04:30:24.593" v="1444" actId="478"/>
          <ac:spMkLst>
            <pc:docMk/>
            <pc:sldMk cId="3934166094" sldId="2134804590"/>
            <ac:spMk id="202" creationId="{D8A136AA-432D-4582-8FA7-EB86A28EE56D}"/>
          </ac:spMkLst>
        </pc:spChg>
        <pc:spChg chg="del">
          <ac:chgData name="Cornago, Fernando" userId="048a41c0-cb7a-447c-b2ac-f7c7348706e9" providerId="ADAL" clId="{937591CA-C1D7-784D-9DA8-42716B827479}" dt="2020-06-16T04:31:30.866" v="1464" actId="478"/>
          <ac:spMkLst>
            <pc:docMk/>
            <pc:sldMk cId="3934166094" sldId="2134804590"/>
            <ac:spMk id="311" creationId="{6ED99556-A7AA-4AFA-9EC5-DAA0A02E1C09}"/>
          </ac:spMkLst>
        </pc:spChg>
        <pc:grpChg chg="del">
          <ac:chgData name="Cornago, Fernando" userId="048a41c0-cb7a-447c-b2ac-f7c7348706e9" providerId="ADAL" clId="{937591CA-C1D7-784D-9DA8-42716B827479}" dt="2020-06-16T04:31:30.866" v="1464" actId="478"/>
          <ac:grpSpMkLst>
            <pc:docMk/>
            <pc:sldMk cId="3934166094" sldId="2134804590"/>
            <ac:grpSpMk id="6" creationId="{88738BE1-BC30-4AD6-AF48-DCBEA4A88797}"/>
          </ac:grpSpMkLst>
        </pc:grpChg>
        <pc:grpChg chg="del">
          <ac:chgData name="Cornago, Fernando" userId="048a41c0-cb7a-447c-b2ac-f7c7348706e9" providerId="ADAL" clId="{937591CA-C1D7-784D-9DA8-42716B827479}" dt="2020-06-16T04:30:55.267" v="1458" actId="478"/>
          <ac:grpSpMkLst>
            <pc:docMk/>
            <pc:sldMk cId="3934166094" sldId="2134804590"/>
            <ac:grpSpMk id="73" creationId="{B63D7650-F91C-4DA2-9783-D14DEAD25C90}"/>
          </ac:grpSpMkLst>
        </pc:grpChg>
        <pc:grpChg chg="del">
          <ac:chgData name="Cornago, Fernando" userId="048a41c0-cb7a-447c-b2ac-f7c7348706e9" providerId="ADAL" clId="{937591CA-C1D7-784D-9DA8-42716B827479}" dt="2020-06-16T04:30:55.267" v="1458" actId="478"/>
          <ac:grpSpMkLst>
            <pc:docMk/>
            <pc:sldMk cId="3934166094" sldId="2134804590"/>
            <ac:grpSpMk id="77" creationId="{08FE97A5-99A5-414B-865F-140B599E5C98}"/>
          </ac:grpSpMkLst>
        </pc:grpChg>
        <pc:grpChg chg="del">
          <ac:chgData name="Cornago, Fernando" userId="048a41c0-cb7a-447c-b2ac-f7c7348706e9" providerId="ADAL" clId="{937591CA-C1D7-784D-9DA8-42716B827479}" dt="2020-06-16T04:30:55.267" v="1458" actId="478"/>
          <ac:grpSpMkLst>
            <pc:docMk/>
            <pc:sldMk cId="3934166094" sldId="2134804590"/>
            <ac:grpSpMk id="81" creationId="{3D608606-7C5A-4244-A3F0-B4E123038ABD}"/>
          </ac:grpSpMkLst>
        </pc:grpChg>
        <pc:grpChg chg="del">
          <ac:chgData name="Cornago, Fernando" userId="048a41c0-cb7a-447c-b2ac-f7c7348706e9" providerId="ADAL" clId="{937591CA-C1D7-784D-9DA8-42716B827479}" dt="2020-06-16T04:30:55.267" v="1458" actId="478"/>
          <ac:grpSpMkLst>
            <pc:docMk/>
            <pc:sldMk cId="3934166094" sldId="2134804590"/>
            <ac:grpSpMk id="85" creationId="{B3CA39E6-8DBD-4353-BFB2-957CE956D116}"/>
          </ac:grpSpMkLst>
        </pc:grpChg>
        <pc:grpChg chg="del">
          <ac:chgData name="Cornago, Fernando" userId="048a41c0-cb7a-447c-b2ac-f7c7348706e9" providerId="ADAL" clId="{937591CA-C1D7-784D-9DA8-42716B827479}" dt="2020-06-16T04:30:55.267" v="1458" actId="478"/>
          <ac:grpSpMkLst>
            <pc:docMk/>
            <pc:sldMk cId="3934166094" sldId="2134804590"/>
            <ac:grpSpMk id="89" creationId="{6145F789-8757-4D69-93DF-8DFF5D267B4A}"/>
          </ac:grpSpMkLst>
        </pc:grpChg>
        <pc:grpChg chg="del">
          <ac:chgData name="Cornago, Fernando" userId="048a41c0-cb7a-447c-b2ac-f7c7348706e9" providerId="ADAL" clId="{937591CA-C1D7-784D-9DA8-42716B827479}" dt="2020-06-16T04:31:30.866" v="1464" actId="478"/>
          <ac:grpSpMkLst>
            <pc:docMk/>
            <pc:sldMk cId="3934166094" sldId="2134804590"/>
            <ac:grpSpMk id="93" creationId="{B0D8D741-49CA-4DAF-AC22-F375058A8432}"/>
          </ac:grpSpMkLst>
        </pc:grpChg>
        <pc:grpChg chg="del">
          <ac:chgData name="Cornago, Fernando" userId="048a41c0-cb7a-447c-b2ac-f7c7348706e9" providerId="ADAL" clId="{937591CA-C1D7-784D-9DA8-42716B827479}" dt="2020-06-16T04:31:30.866" v="1464" actId="478"/>
          <ac:grpSpMkLst>
            <pc:docMk/>
            <pc:sldMk cId="3934166094" sldId="2134804590"/>
            <ac:grpSpMk id="97" creationId="{3643F235-433B-4735-BFD7-92E52CB21B61}"/>
          </ac:grpSpMkLst>
        </pc:grpChg>
        <pc:grpChg chg="del">
          <ac:chgData name="Cornago, Fernando" userId="048a41c0-cb7a-447c-b2ac-f7c7348706e9" providerId="ADAL" clId="{937591CA-C1D7-784D-9DA8-42716B827479}" dt="2020-06-16T04:31:30.866" v="1464" actId="478"/>
          <ac:grpSpMkLst>
            <pc:docMk/>
            <pc:sldMk cId="3934166094" sldId="2134804590"/>
            <ac:grpSpMk id="101" creationId="{FBA4E922-C0AC-448E-AE25-197FCB85B229}"/>
          </ac:grpSpMkLst>
        </pc:grpChg>
        <pc:grpChg chg="del">
          <ac:chgData name="Cornago, Fernando" userId="048a41c0-cb7a-447c-b2ac-f7c7348706e9" providerId="ADAL" clId="{937591CA-C1D7-784D-9DA8-42716B827479}" dt="2020-06-16T04:31:30.866" v="1464" actId="478"/>
          <ac:grpSpMkLst>
            <pc:docMk/>
            <pc:sldMk cId="3934166094" sldId="2134804590"/>
            <ac:grpSpMk id="109" creationId="{03F0D278-84A4-4656-A7A9-3B2DE0591BA8}"/>
          </ac:grpSpMkLst>
        </pc:grpChg>
        <pc:grpChg chg="del">
          <ac:chgData name="Cornago, Fernando" userId="048a41c0-cb7a-447c-b2ac-f7c7348706e9" providerId="ADAL" clId="{937591CA-C1D7-784D-9DA8-42716B827479}" dt="2020-06-16T04:31:25.519" v="1463" actId="478"/>
          <ac:grpSpMkLst>
            <pc:docMk/>
            <pc:sldMk cId="3934166094" sldId="2134804590"/>
            <ac:grpSpMk id="113" creationId="{54B0C88A-9C91-4829-965B-EBD35BEB8819}"/>
          </ac:grpSpMkLst>
        </pc:grpChg>
        <pc:grpChg chg="del">
          <ac:chgData name="Cornago, Fernando" userId="048a41c0-cb7a-447c-b2ac-f7c7348706e9" providerId="ADAL" clId="{937591CA-C1D7-784D-9DA8-42716B827479}" dt="2020-06-16T04:31:11.888" v="1460" actId="478"/>
          <ac:grpSpMkLst>
            <pc:docMk/>
            <pc:sldMk cId="3934166094" sldId="2134804590"/>
            <ac:grpSpMk id="117" creationId="{0A1011A8-8733-4445-963C-64745957E8F4}"/>
          </ac:grpSpMkLst>
        </pc:grpChg>
        <pc:grpChg chg="del">
          <ac:chgData name="Cornago, Fernando" userId="048a41c0-cb7a-447c-b2ac-f7c7348706e9" providerId="ADAL" clId="{937591CA-C1D7-784D-9DA8-42716B827479}" dt="2020-06-16T04:31:11.888" v="1460" actId="478"/>
          <ac:grpSpMkLst>
            <pc:docMk/>
            <pc:sldMk cId="3934166094" sldId="2134804590"/>
            <ac:grpSpMk id="122" creationId="{BF84F8FA-0E59-42E5-AC08-7EC2BCF06086}"/>
          </ac:grpSpMkLst>
        </pc:grpChg>
        <pc:grpChg chg="del">
          <ac:chgData name="Cornago, Fernando" userId="048a41c0-cb7a-447c-b2ac-f7c7348706e9" providerId="ADAL" clId="{937591CA-C1D7-784D-9DA8-42716B827479}" dt="2020-06-16T04:31:11.888" v="1460" actId="478"/>
          <ac:grpSpMkLst>
            <pc:docMk/>
            <pc:sldMk cId="3934166094" sldId="2134804590"/>
            <ac:grpSpMk id="127" creationId="{9720E9D0-4EC2-49EA-8764-E158C0A6316B}"/>
          </ac:grpSpMkLst>
        </pc:grpChg>
        <pc:grpChg chg="del">
          <ac:chgData name="Cornago, Fernando" userId="048a41c0-cb7a-447c-b2ac-f7c7348706e9" providerId="ADAL" clId="{937591CA-C1D7-784D-9DA8-42716B827479}" dt="2020-06-16T04:31:11.888" v="1460" actId="478"/>
          <ac:grpSpMkLst>
            <pc:docMk/>
            <pc:sldMk cId="3934166094" sldId="2134804590"/>
            <ac:grpSpMk id="132" creationId="{7A328399-195D-4BF0-B3F1-594331807820}"/>
          </ac:grpSpMkLst>
        </pc:grpChg>
        <pc:grpChg chg="del">
          <ac:chgData name="Cornago, Fernando" userId="048a41c0-cb7a-447c-b2ac-f7c7348706e9" providerId="ADAL" clId="{937591CA-C1D7-784D-9DA8-42716B827479}" dt="2020-06-16T04:31:11.888" v="1460" actId="478"/>
          <ac:grpSpMkLst>
            <pc:docMk/>
            <pc:sldMk cId="3934166094" sldId="2134804590"/>
            <ac:grpSpMk id="191" creationId="{3EB292D1-A47E-45F8-A3DC-1628538D683E}"/>
          </ac:grpSpMkLst>
        </pc:grpChg>
        <pc:grpChg chg="del">
          <ac:chgData name="Cornago, Fernando" userId="048a41c0-cb7a-447c-b2ac-f7c7348706e9" providerId="ADAL" clId="{937591CA-C1D7-784D-9DA8-42716B827479}" dt="2020-06-16T04:31:11.888" v="1460" actId="478"/>
          <ac:grpSpMkLst>
            <pc:docMk/>
            <pc:sldMk cId="3934166094" sldId="2134804590"/>
            <ac:grpSpMk id="203" creationId="{EC6F5A1D-F531-4738-BB3D-3C77DD2A1FDB}"/>
          </ac:grpSpMkLst>
        </pc:grpChg>
        <pc:grpChg chg="del">
          <ac:chgData name="Cornago, Fernando" userId="048a41c0-cb7a-447c-b2ac-f7c7348706e9" providerId="ADAL" clId="{937591CA-C1D7-784D-9DA8-42716B827479}" dt="2020-06-16T04:31:05.814" v="1459" actId="478"/>
          <ac:grpSpMkLst>
            <pc:docMk/>
            <pc:sldMk cId="3934166094" sldId="2134804590"/>
            <ac:grpSpMk id="207" creationId="{D9C250F2-6BBB-4AC4-8DC7-B3C6C23CC368}"/>
          </ac:grpSpMkLst>
        </pc:grpChg>
        <pc:grpChg chg="del">
          <ac:chgData name="Cornago, Fernando" userId="048a41c0-cb7a-447c-b2ac-f7c7348706e9" providerId="ADAL" clId="{937591CA-C1D7-784D-9DA8-42716B827479}" dt="2020-06-16T04:31:05.814" v="1459" actId="478"/>
          <ac:grpSpMkLst>
            <pc:docMk/>
            <pc:sldMk cId="3934166094" sldId="2134804590"/>
            <ac:grpSpMk id="211" creationId="{025A84A5-F050-41EE-A44D-310990AEF9BC}"/>
          </ac:grpSpMkLst>
        </pc:grpChg>
        <pc:grpChg chg="del">
          <ac:chgData name="Cornago, Fernando" userId="048a41c0-cb7a-447c-b2ac-f7c7348706e9" providerId="ADAL" clId="{937591CA-C1D7-784D-9DA8-42716B827479}" dt="2020-06-16T04:31:05.814" v="1459" actId="478"/>
          <ac:grpSpMkLst>
            <pc:docMk/>
            <pc:sldMk cId="3934166094" sldId="2134804590"/>
            <ac:grpSpMk id="215" creationId="{3103C243-1EE4-4F74-862D-D9024D46C7D0}"/>
          </ac:grpSpMkLst>
        </pc:grpChg>
        <pc:grpChg chg="del">
          <ac:chgData name="Cornago, Fernando" userId="048a41c0-cb7a-447c-b2ac-f7c7348706e9" providerId="ADAL" clId="{937591CA-C1D7-784D-9DA8-42716B827479}" dt="2020-06-16T04:31:05.814" v="1459" actId="478"/>
          <ac:grpSpMkLst>
            <pc:docMk/>
            <pc:sldMk cId="3934166094" sldId="2134804590"/>
            <ac:grpSpMk id="219" creationId="{07560191-2A87-41C2-84E8-9D716A07B32C}"/>
          </ac:grpSpMkLst>
        </pc:grpChg>
        <pc:grpChg chg="del">
          <ac:chgData name="Cornago, Fernando" userId="048a41c0-cb7a-447c-b2ac-f7c7348706e9" providerId="ADAL" clId="{937591CA-C1D7-784D-9DA8-42716B827479}" dt="2020-06-16T04:31:05.814" v="1459" actId="478"/>
          <ac:grpSpMkLst>
            <pc:docMk/>
            <pc:sldMk cId="3934166094" sldId="2134804590"/>
            <ac:grpSpMk id="223" creationId="{B8B6463E-DDA6-48F5-B9EE-28BE6F1DED60}"/>
          </ac:grpSpMkLst>
        </pc:grpChg>
        <pc:grpChg chg="del">
          <ac:chgData name="Cornago, Fernando" userId="048a41c0-cb7a-447c-b2ac-f7c7348706e9" providerId="ADAL" clId="{937591CA-C1D7-784D-9DA8-42716B827479}" dt="2020-06-16T04:31:20.925" v="1462" actId="478"/>
          <ac:grpSpMkLst>
            <pc:docMk/>
            <pc:sldMk cId="3934166094" sldId="2134804590"/>
            <ac:grpSpMk id="227" creationId="{C974F413-F08E-4579-8A3F-BBE472949B63}"/>
          </ac:grpSpMkLst>
        </pc:grpChg>
        <pc:grpChg chg="del">
          <ac:chgData name="Cornago, Fernando" userId="048a41c0-cb7a-447c-b2ac-f7c7348706e9" providerId="ADAL" clId="{937591CA-C1D7-784D-9DA8-42716B827479}" dt="2020-06-16T04:31:20.925" v="1462" actId="478"/>
          <ac:grpSpMkLst>
            <pc:docMk/>
            <pc:sldMk cId="3934166094" sldId="2134804590"/>
            <ac:grpSpMk id="231" creationId="{4FEC8503-7A35-4429-B858-2C2C42F99048}"/>
          </ac:grpSpMkLst>
        </pc:grpChg>
        <pc:grpChg chg="del">
          <ac:chgData name="Cornago, Fernando" userId="048a41c0-cb7a-447c-b2ac-f7c7348706e9" providerId="ADAL" clId="{937591CA-C1D7-784D-9DA8-42716B827479}" dt="2020-06-16T04:31:20.925" v="1462" actId="478"/>
          <ac:grpSpMkLst>
            <pc:docMk/>
            <pc:sldMk cId="3934166094" sldId="2134804590"/>
            <ac:grpSpMk id="235" creationId="{E79FF5A4-E66A-4DED-BE31-F18944C23517}"/>
          </ac:grpSpMkLst>
        </pc:grpChg>
        <pc:grpChg chg="del">
          <ac:chgData name="Cornago, Fernando" userId="048a41c0-cb7a-447c-b2ac-f7c7348706e9" providerId="ADAL" clId="{937591CA-C1D7-784D-9DA8-42716B827479}" dt="2020-06-16T04:31:20.925" v="1462" actId="478"/>
          <ac:grpSpMkLst>
            <pc:docMk/>
            <pc:sldMk cId="3934166094" sldId="2134804590"/>
            <ac:grpSpMk id="239" creationId="{43B01872-791C-48B5-AD8C-E2DAFE9CEE10}"/>
          </ac:grpSpMkLst>
        </pc:grpChg>
        <pc:grpChg chg="del">
          <ac:chgData name="Cornago, Fernando" userId="048a41c0-cb7a-447c-b2ac-f7c7348706e9" providerId="ADAL" clId="{937591CA-C1D7-784D-9DA8-42716B827479}" dt="2020-06-16T04:31:20.925" v="1462" actId="478"/>
          <ac:grpSpMkLst>
            <pc:docMk/>
            <pc:sldMk cId="3934166094" sldId="2134804590"/>
            <ac:grpSpMk id="243" creationId="{25F43155-B952-4130-BE9D-1C374632DFC2}"/>
          </ac:grpSpMkLst>
        </pc:grpChg>
        <pc:grpChg chg="del">
          <ac:chgData name="Cornago, Fernando" userId="048a41c0-cb7a-447c-b2ac-f7c7348706e9" providerId="ADAL" clId="{937591CA-C1D7-784D-9DA8-42716B827479}" dt="2020-06-16T04:31:20.925" v="1462" actId="478"/>
          <ac:grpSpMkLst>
            <pc:docMk/>
            <pc:sldMk cId="3934166094" sldId="2134804590"/>
            <ac:grpSpMk id="247" creationId="{1E625035-F0E5-46A2-A2F3-25D5CE4B9455}"/>
          </ac:grpSpMkLst>
        </pc:grpChg>
        <pc:grpChg chg="del">
          <ac:chgData name="Cornago, Fernando" userId="048a41c0-cb7a-447c-b2ac-f7c7348706e9" providerId="ADAL" clId="{937591CA-C1D7-784D-9DA8-42716B827479}" dt="2020-06-16T04:31:20.925" v="1462" actId="478"/>
          <ac:grpSpMkLst>
            <pc:docMk/>
            <pc:sldMk cId="3934166094" sldId="2134804590"/>
            <ac:grpSpMk id="251" creationId="{ED102F4E-2EB7-48D7-B322-769A10729734}"/>
          </ac:grpSpMkLst>
        </pc:grpChg>
        <pc:grpChg chg="del">
          <ac:chgData name="Cornago, Fernando" userId="048a41c0-cb7a-447c-b2ac-f7c7348706e9" providerId="ADAL" clId="{937591CA-C1D7-784D-9DA8-42716B827479}" dt="2020-06-16T04:31:20.925" v="1462" actId="478"/>
          <ac:grpSpMkLst>
            <pc:docMk/>
            <pc:sldMk cId="3934166094" sldId="2134804590"/>
            <ac:grpSpMk id="255" creationId="{4FB61A0B-CBEF-4C0C-8F4B-7ABA213D620C}"/>
          </ac:grpSpMkLst>
        </pc:grpChg>
        <pc:grpChg chg="del">
          <ac:chgData name="Cornago, Fernando" userId="048a41c0-cb7a-447c-b2ac-f7c7348706e9" providerId="ADAL" clId="{937591CA-C1D7-784D-9DA8-42716B827479}" dt="2020-06-16T04:31:16.836" v="1461" actId="478"/>
          <ac:grpSpMkLst>
            <pc:docMk/>
            <pc:sldMk cId="3934166094" sldId="2134804590"/>
            <ac:grpSpMk id="259" creationId="{C3974923-3E27-4E85-A5D7-1EC1F9D40BBC}"/>
          </ac:grpSpMkLst>
        </pc:grpChg>
        <pc:grpChg chg="del">
          <ac:chgData name="Cornago, Fernando" userId="048a41c0-cb7a-447c-b2ac-f7c7348706e9" providerId="ADAL" clId="{937591CA-C1D7-784D-9DA8-42716B827479}" dt="2020-06-16T04:31:16.836" v="1461" actId="478"/>
          <ac:grpSpMkLst>
            <pc:docMk/>
            <pc:sldMk cId="3934166094" sldId="2134804590"/>
            <ac:grpSpMk id="263" creationId="{2870D392-3B34-41FD-A096-F8412B4F9741}"/>
          </ac:grpSpMkLst>
        </pc:grpChg>
        <pc:grpChg chg="del">
          <ac:chgData name="Cornago, Fernando" userId="048a41c0-cb7a-447c-b2ac-f7c7348706e9" providerId="ADAL" clId="{937591CA-C1D7-784D-9DA8-42716B827479}" dt="2020-06-16T04:31:16.836" v="1461" actId="478"/>
          <ac:grpSpMkLst>
            <pc:docMk/>
            <pc:sldMk cId="3934166094" sldId="2134804590"/>
            <ac:grpSpMk id="267" creationId="{143D02D2-64D3-4AA7-B7B6-01709DAAC8EE}"/>
          </ac:grpSpMkLst>
        </pc:grpChg>
        <pc:grpChg chg="del">
          <ac:chgData name="Cornago, Fernando" userId="048a41c0-cb7a-447c-b2ac-f7c7348706e9" providerId="ADAL" clId="{937591CA-C1D7-784D-9DA8-42716B827479}" dt="2020-06-16T04:31:16.836" v="1461" actId="478"/>
          <ac:grpSpMkLst>
            <pc:docMk/>
            <pc:sldMk cId="3934166094" sldId="2134804590"/>
            <ac:grpSpMk id="271" creationId="{70B8A11E-DACB-42DD-BCD8-DF2A3863F6A6}"/>
          </ac:grpSpMkLst>
        </pc:grpChg>
        <pc:grpChg chg="del">
          <ac:chgData name="Cornago, Fernando" userId="048a41c0-cb7a-447c-b2ac-f7c7348706e9" providerId="ADAL" clId="{937591CA-C1D7-784D-9DA8-42716B827479}" dt="2020-06-16T04:31:16.836" v="1461" actId="478"/>
          <ac:grpSpMkLst>
            <pc:docMk/>
            <pc:sldMk cId="3934166094" sldId="2134804590"/>
            <ac:grpSpMk id="275" creationId="{6B6FCDF9-A341-409D-AEA6-A9A9A192528A}"/>
          </ac:grpSpMkLst>
        </pc:grpChg>
        <pc:grpChg chg="del">
          <ac:chgData name="Cornago, Fernando" userId="048a41c0-cb7a-447c-b2ac-f7c7348706e9" providerId="ADAL" clId="{937591CA-C1D7-784D-9DA8-42716B827479}" dt="2020-06-16T04:31:16.836" v="1461" actId="478"/>
          <ac:grpSpMkLst>
            <pc:docMk/>
            <pc:sldMk cId="3934166094" sldId="2134804590"/>
            <ac:grpSpMk id="279" creationId="{6842D41E-0D74-45DD-9DFA-15967A30A6AA}"/>
          </ac:grpSpMkLst>
        </pc:grpChg>
        <pc:grpChg chg="del">
          <ac:chgData name="Cornago, Fernando" userId="048a41c0-cb7a-447c-b2ac-f7c7348706e9" providerId="ADAL" clId="{937591CA-C1D7-784D-9DA8-42716B827479}" dt="2020-06-16T04:31:11.888" v="1460" actId="478"/>
          <ac:grpSpMkLst>
            <pc:docMk/>
            <pc:sldMk cId="3934166094" sldId="2134804590"/>
            <ac:grpSpMk id="283" creationId="{89DE01DA-3565-4239-95A3-E85B88A258D5}"/>
          </ac:grpSpMkLst>
        </pc:grpChg>
        <pc:grpChg chg="del">
          <ac:chgData name="Cornago, Fernando" userId="048a41c0-cb7a-447c-b2ac-f7c7348706e9" providerId="ADAL" clId="{937591CA-C1D7-784D-9DA8-42716B827479}" dt="2020-06-16T04:31:30.866" v="1464" actId="478"/>
          <ac:grpSpMkLst>
            <pc:docMk/>
            <pc:sldMk cId="3934166094" sldId="2134804590"/>
            <ac:grpSpMk id="287" creationId="{A16F18E3-DCDC-42C8-AEF4-D1388F030B69}"/>
          </ac:grpSpMkLst>
        </pc:grpChg>
        <pc:grpChg chg="del">
          <ac:chgData name="Cornago, Fernando" userId="048a41c0-cb7a-447c-b2ac-f7c7348706e9" providerId="ADAL" clId="{937591CA-C1D7-784D-9DA8-42716B827479}" dt="2020-06-16T04:31:25.519" v="1463" actId="478"/>
          <ac:grpSpMkLst>
            <pc:docMk/>
            <pc:sldMk cId="3934166094" sldId="2134804590"/>
            <ac:grpSpMk id="291" creationId="{EFB3FAA5-03BA-4AC7-A354-CCE5E182EECD}"/>
          </ac:grpSpMkLst>
        </pc:grpChg>
        <pc:grpChg chg="del">
          <ac:chgData name="Cornago, Fernando" userId="048a41c0-cb7a-447c-b2ac-f7c7348706e9" providerId="ADAL" clId="{937591CA-C1D7-784D-9DA8-42716B827479}" dt="2020-06-16T04:31:25.519" v="1463" actId="478"/>
          <ac:grpSpMkLst>
            <pc:docMk/>
            <pc:sldMk cId="3934166094" sldId="2134804590"/>
            <ac:grpSpMk id="295" creationId="{5E1AE267-E49A-452C-961C-0D73BC1D6A7B}"/>
          </ac:grpSpMkLst>
        </pc:grpChg>
        <pc:grpChg chg="del">
          <ac:chgData name="Cornago, Fernando" userId="048a41c0-cb7a-447c-b2ac-f7c7348706e9" providerId="ADAL" clId="{937591CA-C1D7-784D-9DA8-42716B827479}" dt="2020-06-16T04:31:05.814" v="1459" actId="478"/>
          <ac:grpSpMkLst>
            <pc:docMk/>
            <pc:sldMk cId="3934166094" sldId="2134804590"/>
            <ac:grpSpMk id="299" creationId="{52E13BC9-52A9-4FFD-B41B-465A1D41F99E}"/>
          </ac:grpSpMkLst>
        </pc:grpChg>
        <pc:grpChg chg="del">
          <ac:chgData name="Cornago, Fernando" userId="048a41c0-cb7a-447c-b2ac-f7c7348706e9" providerId="ADAL" clId="{937591CA-C1D7-784D-9DA8-42716B827479}" dt="2020-06-16T04:31:30.866" v="1464" actId="478"/>
          <ac:grpSpMkLst>
            <pc:docMk/>
            <pc:sldMk cId="3934166094" sldId="2134804590"/>
            <ac:grpSpMk id="303" creationId="{4BD0DA14-FBFF-4257-8BB6-DB10619D31B2}"/>
          </ac:grpSpMkLst>
        </pc:grpChg>
        <pc:grpChg chg="del">
          <ac:chgData name="Cornago, Fernando" userId="048a41c0-cb7a-447c-b2ac-f7c7348706e9" providerId="ADAL" clId="{937591CA-C1D7-784D-9DA8-42716B827479}" dt="2020-06-16T04:31:30.866" v="1464" actId="478"/>
          <ac:grpSpMkLst>
            <pc:docMk/>
            <pc:sldMk cId="3934166094" sldId="2134804590"/>
            <ac:grpSpMk id="307" creationId="{E86C3C30-7FB0-43C6-96F1-1607417F0920}"/>
          </ac:grpSpMkLst>
        </pc:grpChg>
        <pc:picChg chg="add mod">
          <ac:chgData name="Cornago, Fernando" userId="048a41c0-cb7a-447c-b2ac-f7c7348706e9" providerId="ADAL" clId="{937591CA-C1D7-784D-9DA8-42716B827479}" dt="2020-06-16T04:31:35.284" v="1466" actId="1076"/>
          <ac:picMkLst>
            <pc:docMk/>
            <pc:sldMk cId="3934166094" sldId="2134804590"/>
            <ac:picMk id="2" creationId="{753BB0AA-D33D-E94B-A243-C152CD67D4B3}"/>
          </ac:picMkLst>
        </pc:picChg>
        <pc:picChg chg="del mod">
          <ac:chgData name="Cornago, Fernando" userId="048a41c0-cb7a-447c-b2ac-f7c7348706e9" providerId="ADAL" clId="{937591CA-C1D7-784D-9DA8-42716B827479}" dt="2020-06-16T04:27:02.622" v="1430" actId="478"/>
          <ac:picMkLst>
            <pc:docMk/>
            <pc:sldMk cId="3934166094" sldId="2134804590"/>
            <ac:picMk id="7" creationId="{818B5462-CB17-2C45-A35C-8BBA94FF100D}"/>
          </ac:picMkLst>
        </pc:picChg>
        <pc:picChg chg="mod">
          <ac:chgData name="Cornago, Fernando" userId="048a41c0-cb7a-447c-b2ac-f7c7348706e9" providerId="ADAL" clId="{937591CA-C1D7-784D-9DA8-42716B827479}" dt="2020-06-16T04:30:32.365" v="1445" actId="1076"/>
          <ac:picMkLst>
            <pc:docMk/>
            <pc:sldMk cId="3934166094" sldId="2134804590"/>
            <ac:picMk id="198" creationId="{5BB317FD-2D33-4188-987C-B04D12F5C459}"/>
          </ac:picMkLst>
        </pc:picChg>
        <pc:cxnChg chg="del">
          <ac:chgData name="Cornago, Fernando" userId="048a41c0-cb7a-447c-b2ac-f7c7348706e9" providerId="ADAL" clId="{937591CA-C1D7-784D-9DA8-42716B827479}" dt="2020-06-16T04:31:20.925" v="1462" actId="478"/>
          <ac:cxnSpMkLst>
            <pc:docMk/>
            <pc:sldMk cId="3934166094" sldId="2134804590"/>
            <ac:cxnSpMk id="137" creationId="{72D28DB8-E24D-4861-B8C8-D90052B124A7}"/>
          </ac:cxnSpMkLst>
        </pc:cxnChg>
      </pc:sldChg>
      <pc:sldChg chg="modSp add del">
        <pc:chgData name="Cornago, Fernando" userId="048a41c0-cb7a-447c-b2ac-f7c7348706e9" providerId="ADAL" clId="{937591CA-C1D7-784D-9DA8-42716B827479}" dt="2020-06-15T15:11:14.394" v="1157" actId="2696"/>
        <pc:sldMkLst>
          <pc:docMk/>
          <pc:sldMk cId="1829045473" sldId="2134804591"/>
        </pc:sldMkLst>
        <pc:spChg chg="mod">
          <ac:chgData name="Cornago, Fernando" userId="048a41c0-cb7a-447c-b2ac-f7c7348706e9" providerId="ADAL" clId="{937591CA-C1D7-784D-9DA8-42716B827479}" dt="2020-06-15T13:59:09.333" v="488" actId="20577"/>
          <ac:spMkLst>
            <pc:docMk/>
            <pc:sldMk cId="1829045473" sldId="2134804591"/>
            <ac:spMk id="2" creationId="{E1E1026C-875D-6345-9173-83E3DB7BEDE1}"/>
          </ac:spMkLst>
        </pc:spChg>
      </pc:sldChg>
      <pc:sldChg chg="add del">
        <pc:chgData name="Cornago, Fernando" userId="048a41c0-cb7a-447c-b2ac-f7c7348706e9" providerId="ADAL" clId="{937591CA-C1D7-784D-9DA8-42716B827479}" dt="2020-06-15T14:19:05.392" v="734"/>
        <pc:sldMkLst>
          <pc:docMk/>
          <pc:sldMk cId="1297419753" sldId="2134805880"/>
        </pc:sldMkLst>
      </pc:sldChg>
      <pc:sldChg chg="modSp add modNotesTx">
        <pc:chgData name="Cornago, Fernando" userId="048a41c0-cb7a-447c-b2ac-f7c7348706e9" providerId="ADAL" clId="{937591CA-C1D7-784D-9DA8-42716B827479}" dt="2020-06-17T05:55:02.799" v="10326" actId="20577"/>
        <pc:sldMkLst>
          <pc:docMk/>
          <pc:sldMk cId="3701047989" sldId="2134805880"/>
        </pc:sldMkLst>
        <pc:spChg chg="mod">
          <ac:chgData name="Cornago, Fernando" userId="048a41c0-cb7a-447c-b2ac-f7c7348706e9" providerId="ADAL" clId="{937591CA-C1D7-784D-9DA8-42716B827479}" dt="2020-06-17T05:53:46.607" v="10143" actId="1076"/>
          <ac:spMkLst>
            <pc:docMk/>
            <pc:sldMk cId="3701047989" sldId="2134805880"/>
            <ac:spMk id="2" creationId="{95EEC5F7-303C-0848-B9A2-F29153D5DEEB}"/>
          </ac:spMkLst>
        </pc:spChg>
        <pc:spChg chg="mod">
          <ac:chgData name="Cornago, Fernando" userId="048a41c0-cb7a-447c-b2ac-f7c7348706e9" providerId="ADAL" clId="{937591CA-C1D7-784D-9DA8-42716B827479}" dt="2020-06-17T05:53:40.465" v="10142" actId="20577"/>
          <ac:spMkLst>
            <pc:docMk/>
            <pc:sldMk cId="3701047989" sldId="2134805880"/>
            <ac:spMk id="3" creationId="{46F1A69D-7A7F-4233-BFFA-8415AE036225}"/>
          </ac:spMkLst>
        </pc:spChg>
      </pc:sldChg>
      <pc:sldChg chg="add del">
        <pc:chgData name="Cornago, Fernando" userId="048a41c0-cb7a-447c-b2ac-f7c7348706e9" providerId="ADAL" clId="{937591CA-C1D7-784D-9DA8-42716B827479}" dt="2020-06-15T14:19:05.392" v="734"/>
        <pc:sldMkLst>
          <pc:docMk/>
          <pc:sldMk cId="95355884" sldId="2134805881"/>
        </pc:sldMkLst>
      </pc:sldChg>
      <pc:sldChg chg="delSp add del">
        <pc:chgData name="Cornago, Fernando" userId="048a41c0-cb7a-447c-b2ac-f7c7348706e9" providerId="ADAL" clId="{937591CA-C1D7-784D-9DA8-42716B827479}" dt="2020-06-16T04:33:14.514" v="1476" actId="2696"/>
        <pc:sldMkLst>
          <pc:docMk/>
          <pc:sldMk cId="343778442" sldId="2134805881"/>
        </pc:sldMkLst>
        <pc:spChg chg="del">
          <ac:chgData name="Cornago, Fernando" userId="048a41c0-cb7a-447c-b2ac-f7c7348706e9" providerId="ADAL" clId="{937591CA-C1D7-784D-9DA8-42716B827479}" dt="2020-06-16T04:32:55.832" v="1471" actId="21"/>
          <ac:spMkLst>
            <pc:docMk/>
            <pc:sldMk cId="343778442" sldId="2134805881"/>
            <ac:spMk id="11" creationId="{ED2F7312-D086-48F3-84E2-A83814DA3B2B}"/>
          </ac:spMkLst>
        </pc:spChg>
        <pc:spChg chg="del">
          <ac:chgData name="Cornago, Fernando" userId="048a41c0-cb7a-447c-b2ac-f7c7348706e9" providerId="ADAL" clId="{937591CA-C1D7-784D-9DA8-42716B827479}" dt="2020-06-16T04:32:55.832" v="1471" actId="21"/>
          <ac:spMkLst>
            <pc:docMk/>
            <pc:sldMk cId="343778442" sldId="2134805881"/>
            <ac:spMk id="30" creationId="{E80B1407-ECAC-4FCE-B73D-A1D05C5A5DB7}"/>
          </ac:spMkLst>
        </pc:spChg>
      </pc:sldChg>
      <pc:sldChg chg="add del">
        <pc:chgData name="Cornago, Fernando" userId="048a41c0-cb7a-447c-b2ac-f7c7348706e9" providerId="ADAL" clId="{937591CA-C1D7-784D-9DA8-42716B827479}" dt="2020-06-15T14:01:03.168" v="490"/>
        <pc:sldMkLst>
          <pc:docMk/>
          <pc:sldMk cId="1801570928" sldId="2134806380"/>
        </pc:sldMkLst>
      </pc:sldChg>
      <pc:sldChg chg="addSp delSp modSp add mod delAnim modAnim modShow">
        <pc:chgData name="Cornago, Fernando" userId="048a41c0-cb7a-447c-b2ac-f7c7348706e9" providerId="ADAL" clId="{937591CA-C1D7-784D-9DA8-42716B827479}" dt="2020-06-17T05:40:46.889" v="8941" actId="729"/>
        <pc:sldMkLst>
          <pc:docMk/>
          <pc:sldMk cId="2069424645" sldId="2134806380"/>
        </pc:sldMkLst>
        <pc:spChg chg="mod">
          <ac:chgData name="Cornago, Fernando" userId="048a41c0-cb7a-447c-b2ac-f7c7348706e9" providerId="ADAL" clId="{937591CA-C1D7-784D-9DA8-42716B827479}" dt="2020-06-15T14:10:19.840" v="683" actId="20577"/>
          <ac:spMkLst>
            <pc:docMk/>
            <pc:sldMk cId="2069424645" sldId="2134806380"/>
            <ac:spMk id="2" creationId="{94A475C9-FD3A-48C1-A03D-BD33B7B8E6D6}"/>
          </ac:spMkLst>
        </pc:spChg>
        <pc:spChg chg="mod">
          <ac:chgData name="Cornago, Fernando" userId="048a41c0-cb7a-447c-b2ac-f7c7348706e9" providerId="ADAL" clId="{937591CA-C1D7-784D-9DA8-42716B827479}" dt="2020-06-15T14:08:45.232" v="576" actId="20577"/>
          <ac:spMkLst>
            <pc:docMk/>
            <pc:sldMk cId="2069424645" sldId="2134806380"/>
            <ac:spMk id="50" creationId="{4ECD68A2-AB49-43E5-B52B-392C940728DE}"/>
          </ac:spMkLst>
        </pc:spChg>
        <pc:spChg chg="del">
          <ac:chgData name="Cornago, Fernando" userId="048a41c0-cb7a-447c-b2ac-f7c7348706e9" providerId="ADAL" clId="{937591CA-C1D7-784D-9DA8-42716B827479}" dt="2020-06-15T14:14:35.016" v="684" actId="478"/>
          <ac:spMkLst>
            <pc:docMk/>
            <pc:sldMk cId="2069424645" sldId="2134806380"/>
            <ac:spMk id="70" creationId="{0C316267-1128-BA41-87EE-491E0E27A8F7}"/>
          </ac:spMkLst>
        </pc:spChg>
        <pc:spChg chg="add del mod">
          <ac:chgData name="Cornago, Fernando" userId="048a41c0-cb7a-447c-b2ac-f7c7348706e9" providerId="ADAL" clId="{937591CA-C1D7-784D-9DA8-42716B827479}" dt="2020-06-15T14:14:48.444" v="689" actId="478"/>
          <ac:spMkLst>
            <pc:docMk/>
            <pc:sldMk cId="2069424645" sldId="2134806380"/>
            <ac:spMk id="91" creationId="{A8EB3647-14FF-A045-86EF-B48CD90EA638}"/>
          </ac:spMkLst>
        </pc:spChg>
        <pc:spChg chg="add del mod">
          <ac:chgData name="Cornago, Fernando" userId="048a41c0-cb7a-447c-b2ac-f7c7348706e9" providerId="ADAL" clId="{937591CA-C1D7-784D-9DA8-42716B827479}" dt="2020-06-15T14:14:41.607" v="687" actId="478"/>
          <ac:spMkLst>
            <pc:docMk/>
            <pc:sldMk cId="2069424645" sldId="2134806380"/>
            <ac:spMk id="92" creationId="{98798463-9B36-E34E-96FB-D21F11E1D784}"/>
          </ac:spMkLst>
        </pc:spChg>
        <pc:spChg chg="add del mod">
          <ac:chgData name="Cornago, Fernando" userId="048a41c0-cb7a-447c-b2ac-f7c7348706e9" providerId="ADAL" clId="{937591CA-C1D7-784D-9DA8-42716B827479}" dt="2020-06-15T14:14:36.811" v="685" actId="478"/>
          <ac:spMkLst>
            <pc:docMk/>
            <pc:sldMk cId="2069424645" sldId="2134806380"/>
            <ac:spMk id="98" creationId="{5831A678-4D6B-7B48-8B51-C4500B167F44}"/>
          </ac:spMkLst>
        </pc:spChg>
        <pc:spChg chg="mod">
          <ac:chgData name="Cornago, Fernando" userId="048a41c0-cb7a-447c-b2ac-f7c7348706e9" providerId="ADAL" clId="{937591CA-C1D7-784D-9DA8-42716B827479}" dt="2020-06-15T14:09:22.552" v="606" actId="20577"/>
          <ac:spMkLst>
            <pc:docMk/>
            <pc:sldMk cId="2069424645" sldId="2134806380"/>
            <ac:spMk id="103" creationId="{9EDCBF3D-C186-44CE-AB19-995EA7EA5496}"/>
          </ac:spMkLst>
        </pc:spChg>
        <pc:spChg chg="add del mod">
          <ac:chgData name="Cornago, Fernando" userId="048a41c0-cb7a-447c-b2ac-f7c7348706e9" providerId="ADAL" clId="{937591CA-C1D7-784D-9DA8-42716B827479}" dt="2020-06-15T14:14:48.444" v="689" actId="478"/>
          <ac:spMkLst>
            <pc:docMk/>
            <pc:sldMk cId="2069424645" sldId="2134806380"/>
            <ac:spMk id="105" creationId="{68CEAAF5-C98B-AC47-B5B8-C323A4314701}"/>
          </ac:spMkLst>
        </pc:spChg>
        <pc:spChg chg="mod">
          <ac:chgData name="Cornago, Fernando" userId="048a41c0-cb7a-447c-b2ac-f7c7348706e9" providerId="ADAL" clId="{937591CA-C1D7-784D-9DA8-42716B827479}" dt="2020-06-15T14:01:57.966" v="520" actId="20577"/>
          <ac:spMkLst>
            <pc:docMk/>
            <pc:sldMk cId="2069424645" sldId="2134806380"/>
            <ac:spMk id="107" creationId="{B72D6374-F117-4C96-A5D2-381A66F8A1DE}"/>
          </ac:spMkLst>
        </pc:spChg>
        <pc:spChg chg="mod">
          <ac:chgData name="Cornago, Fernando" userId="048a41c0-cb7a-447c-b2ac-f7c7348706e9" providerId="ADAL" clId="{937591CA-C1D7-784D-9DA8-42716B827479}" dt="2020-06-15T14:01:41.879" v="508" actId="20577"/>
          <ac:spMkLst>
            <pc:docMk/>
            <pc:sldMk cId="2069424645" sldId="2134806380"/>
            <ac:spMk id="109" creationId="{7746873B-702F-4D09-B12D-496A21426D09}"/>
          </ac:spMkLst>
        </pc:spChg>
        <pc:spChg chg="mod">
          <ac:chgData name="Cornago, Fernando" userId="048a41c0-cb7a-447c-b2ac-f7c7348706e9" providerId="ADAL" clId="{937591CA-C1D7-784D-9DA8-42716B827479}" dt="2020-06-15T14:02:08.603" v="528" actId="20577"/>
          <ac:spMkLst>
            <pc:docMk/>
            <pc:sldMk cId="2069424645" sldId="2134806380"/>
            <ac:spMk id="111" creationId="{6E693736-0971-48F8-B384-25325CBFC388}"/>
          </ac:spMkLst>
        </pc:spChg>
        <pc:spChg chg="mod">
          <ac:chgData name="Cornago, Fernando" userId="048a41c0-cb7a-447c-b2ac-f7c7348706e9" providerId="ADAL" clId="{937591CA-C1D7-784D-9DA8-42716B827479}" dt="2020-06-15T14:02:24.780" v="547" actId="20577"/>
          <ac:spMkLst>
            <pc:docMk/>
            <pc:sldMk cId="2069424645" sldId="2134806380"/>
            <ac:spMk id="113" creationId="{81D3F2EA-9CAA-4CFD-A19F-2D75205848A0}"/>
          </ac:spMkLst>
        </pc:spChg>
        <pc:spChg chg="add del mod">
          <ac:chgData name="Cornago, Fernando" userId="048a41c0-cb7a-447c-b2ac-f7c7348706e9" providerId="ADAL" clId="{937591CA-C1D7-784D-9DA8-42716B827479}" dt="2020-06-15T14:14:42.483" v="688" actId="478"/>
          <ac:spMkLst>
            <pc:docMk/>
            <pc:sldMk cId="2069424645" sldId="2134806380"/>
            <ac:spMk id="115" creationId="{E407337A-6D1B-A545-AACA-1E15C760B73D}"/>
          </ac:spMkLst>
        </pc:spChg>
        <pc:spChg chg="add del mod">
          <ac:chgData name="Cornago, Fernando" userId="048a41c0-cb7a-447c-b2ac-f7c7348706e9" providerId="ADAL" clId="{937591CA-C1D7-784D-9DA8-42716B827479}" dt="2020-06-15T14:14:38.386" v="686" actId="478"/>
          <ac:spMkLst>
            <pc:docMk/>
            <pc:sldMk cId="2069424645" sldId="2134806380"/>
            <ac:spMk id="116" creationId="{1D554514-A200-FE46-93D9-C1EDDC2209C2}"/>
          </ac:spMkLst>
        </pc:spChg>
        <pc:spChg chg="add del mod">
          <ac:chgData name="Cornago, Fernando" userId="048a41c0-cb7a-447c-b2ac-f7c7348706e9" providerId="ADAL" clId="{937591CA-C1D7-784D-9DA8-42716B827479}" dt="2020-06-15T14:14:48.444" v="689" actId="478"/>
          <ac:spMkLst>
            <pc:docMk/>
            <pc:sldMk cId="2069424645" sldId="2134806380"/>
            <ac:spMk id="117" creationId="{97DD4840-C627-9F43-98CC-8F9354E02C82}"/>
          </ac:spMkLst>
        </pc:spChg>
        <pc:spChg chg="add del mod">
          <ac:chgData name="Cornago, Fernando" userId="048a41c0-cb7a-447c-b2ac-f7c7348706e9" providerId="ADAL" clId="{937591CA-C1D7-784D-9DA8-42716B827479}" dt="2020-06-15T14:14:48.444" v="689" actId="478"/>
          <ac:spMkLst>
            <pc:docMk/>
            <pc:sldMk cId="2069424645" sldId="2134806380"/>
            <ac:spMk id="120" creationId="{69CE6C76-5DC5-B547-9A3F-D8FCF6F0E555}"/>
          </ac:spMkLst>
        </pc:spChg>
        <pc:spChg chg="add del mod">
          <ac:chgData name="Cornago, Fernando" userId="048a41c0-cb7a-447c-b2ac-f7c7348706e9" providerId="ADAL" clId="{937591CA-C1D7-784D-9DA8-42716B827479}" dt="2020-06-15T14:14:35.016" v="684" actId="478"/>
          <ac:spMkLst>
            <pc:docMk/>
            <pc:sldMk cId="2069424645" sldId="2134806380"/>
            <ac:spMk id="126" creationId="{EA2B1409-FF4D-4C48-B7A9-4DF602481C99}"/>
          </ac:spMkLst>
        </pc:spChg>
        <pc:spChg chg="add del mod">
          <ac:chgData name="Cornago, Fernando" userId="048a41c0-cb7a-447c-b2ac-f7c7348706e9" providerId="ADAL" clId="{937591CA-C1D7-784D-9DA8-42716B827479}" dt="2020-06-15T14:14:35.016" v="684" actId="478"/>
          <ac:spMkLst>
            <pc:docMk/>
            <pc:sldMk cId="2069424645" sldId="2134806380"/>
            <ac:spMk id="127" creationId="{3B1A56F7-1FE1-4749-AC94-925140EE869A}"/>
          </ac:spMkLst>
        </pc:spChg>
      </pc:sldChg>
      <pc:sldChg chg="add del">
        <pc:chgData name="Cornago, Fernando" userId="048a41c0-cb7a-447c-b2ac-f7c7348706e9" providerId="ADAL" clId="{937591CA-C1D7-784D-9DA8-42716B827479}" dt="2020-06-15T14:01:03.168" v="490"/>
        <pc:sldMkLst>
          <pc:docMk/>
          <pc:sldMk cId="452554067" sldId="2134806410"/>
        </pc:sldMkLst>
      </pc:sldChg>
      <pc:sldChg chg="add del">
        <pc:chgData name="Cornago, Fernando" userId="048a41c0-cb7a-447c-b2ac-f7c7348706e9" providerId="ADAL" clId="{937591CA-C1D7-784D-9DA8-42716B827479}" dt="2020-06-15T14:09:37.676" v="607" actId="2696"/>
        <pc:sldMkLst>
          <pc:docMk/>
          <pc:sldMk cId="1919701418" sldId="2134806410"/>
        </pc:sldMkLst>
      </pc:sldChg>
      <pc:sldChg chg="delSp modSp add mod modShow">
        <pc:chgData name="Cornago, Fernando" userId="048a41c0-cb7a-447c-b2ac-f7c7348706e9" providerId="ADAL" clId="{937591CA-C1D7-784D-9DA8-42716B827479}" dt="2020-06-17T05:40:46.889" v="8941" actId="729"/>
        <pc:sldMkLst>
          <pc:docMk/>
          <pc:sldMk cId="2506764740" sldId="2134806410"/>
        </pc:sldMkLst>
        <pc:spChg chg="del mod">
          <ac:chgData name="Cornago, Fernando" userId="048a41c0-cb7a-447c-b2ac-f7c7348706e9" providerId="ADAL" clId="{937591CA-C1D7-784D-9DA8-42716B827479}" dt="2020-06-15T14:16:09.114" v="693" actId="478"/>
          <ac:spMkLst>
            <pc:docMk/>
            <pc:sldMk cId="2506764740" sldId="2134806410"/>
            <ac:spMk id="68" creationId="{1A6B3049-A37E-FF46-8029-D40526DB43B6}"/>
          </ac:spMkLst>
        </pc:spChg>
        <pc:spChg chg="del mod">
          <ac:chgData name="Cornago, Fernando" userId="048a41c0-cb7a-447c-b2ac-f7c7348706e9" providerId="ADAL" clId="{937591CA-C1D7-784D-9DA8-42716B827479}" dt="2020-06-15T14:16:09.114" v="693" actId="478"/>
          <ac:spMkLst>
            <pc:docMk/>
            <pc:sldMk cId="2506764740" sldId="2134806410"/>
            <ac:spMk id="69" creationId="{A6345C44-0AF7-4040-9B2B-D232C76D3B41}"/>
          </ac:spMkLst>
        </pc:spChg>
        <pc:spChg chg="del mod">
          <ac:chgData name="Cornago, Fernando" userId="048a41c0-cb7a-447c-b2ac-f7c7348706e9" providerId="ADAL" clId="{937591CA-C1D7-784D-9DA8-42716B827479}" dt="2020-06-15T14:16:09.114" v="693" actId="478"/>
          <ac:spMkLst>
            <pc:docMk/>
            <pc:sldMk cId="2506764740" sldId="2134806410"/>
            <ac:spMk id="72" creationId="{45253B56-8D32-0849-ACB0-C3EE292D20EE}"/>
          </ac:spMkLst>
        </pc:spChg>
        <pc:spChg chg="mod">
          <ac:chgData name="Cornago, Fernando" userId="048a41c0-cb7a-447c-b2ac-f7c7348706e9" providerId="ADAL" clId="{937591CA-C1D7-784D-9DA8-42716B827479}" dt="2020-06-15T14:16:59.606" v="729" actId="14100"/>
          <ac:spMkLst>
            <pc:docMk/>
            <pc:sldMk cId="2506764740" sldId="2134806410"/>
            <ac:spMk id="85" creationId="{D0125470-440E-1E47-B2D3-932EB68CB573}"/>
          </ac:spMkLst>
        </pc:spChg>
        <pc:spChg chg="mod">
          <ac:chgData name="Cornago, Fernando" userId="048a41c0-cb7a-447c-b2ac-f7c7348706e9" providerId="ADAL" clId="{937591CA-C1D7-784D-9DA8-42716B827479}" dt="2020-06-15T14:17:05.552" v="731" actId="14100"/>
          <ac:spMkLst>
            <pc:docMk/>
            <pc:sldMk cId="2506764740" sldId="2134806410"/>
            <ac:spMk id="87" creationId="{6FE8BDD9-D6D0-7544-A1C4-795B4D127FB4}"/>
          </ac:spMkLst>
        </pc:spChg>
        <pc:spChg chg="mod">
          <ac:chgData name="Cornago, Fernando" userId="048a41c0-cb7a-447c-b2ac-f7c7348706e9" providerId="ADAL" clId="{937591CA-C1D7-784D-9DA8-42716B827479}" dt="2020-06-15T14:16:45.816" v="727" actId="14100"/>
          <ac:spMkLst>
            <pc:docMk/>
            <pc:sldMk cId="2506764740" sldId="2134806410"/>
            <ac:spMk id="90" creationId="{11507311-216E-4ECA-B733-D0D224DE8CD3}"/>
          </ac:spMkLst>
        </pc:spChg>
        <pc:spChg chg="mod">
          <ac:chgData name="Cornago, Fernando" userId="048a41c0-cb7a-447c-b2ac-f7c7348706e9" providerId="ADAL" clId="{937591CA-C1D7-784D-9DA8-42716B827479}" dt="2020-06-15T14:16:45.816" v="727" actId="14100"/>
          <ac:spMkLst>
            <pc:docMk/>
            <pc:sldMk cId="2506764740" sldId="2134806410"/>
            <ac:spMk id="91" creationId="{083766B4-8435-4219-8051-AE96DCEDE151}"/>
          </ac:spMkLst>
        </pc:spChg>
        <pc:spChg chg="mod">
          <ac:chgData name="Cornago, Fernando" userId="048a41c0-cb7a-447c-b2ac-f7c7348706e9" providerId="ADAL" clId="{937591CA-C1D7-784D-9DA8-42716B827479}" dt="2020-06-15T14:16:45.816" v="727" actId="14100"/>
          <ac:spMkLst>
            <pc:docMk/>
            <pc:sldMk cId="2506764740" sldId="2134806410"/>
            <ac:spMk id="92" creationId="{794DF28C-4A65-4397-8FDC-CC384E2749A4}"/>
          </ac:spMkLst>
        </pc:spChg>
        <pc:spChg chg="mod">
          <ac:chgData name="Cornago, Fernando" userId="048a41c0-cb7a-447c-b2ac-f7c7348706e9" providerId="ADAL" clId="{937591CA-C1D7-784D-9DA8-42716B827479}" dt="2020-06-15T14:16:57.232" v="728" actId="14100"/>
          <ac:spMkLst>
            <pc:docMk/>
            <pc:sldMk cId="2506764740" sldId="2134806410"/>
            <ac:spMk id="93" creationId="{CB75526C-917E-6246-8C7E-E963DADA21E1}"/>
          </ac:spMkLst>
        </pc:spChg>
        <pc:spChg chg="del mod">
          <ac:chgData name="Cornago, Fernando" userId="048a41c0-cb7a-447c-b2ac-f7c7348706e9" providerId="ADAL" clId="{937591CA-C1D7-784D-9DA8-42716B827479}" dt="2020-06-15T14:16:09.114" v="693" actId="478"/>
          <ac:spMkLst>
            <pc:docMk/>
            <pc:sldMk cId="2506764740" sldId="2134806410"/>
            <ac:spMk id="94" creationId="{DC65F56D-5304-324B-8EC6-4646B0C67720}"/>
          </ac:spMkLst>
        </pc:spChg>
        <pc:spChg chg="mod">
          <ac:chgData name="Cornago, Fernando" userId="048a41c0-cb7a-447c-b2ac-f7c7348706e9" providerId="ADAL" clId="{937591CA-C1D7-784D-9DA8-42716B827479}" dt="2020-06-15T14:16:45.816" v="727" actId="14100"/>
          <ac:spMkLst>
            <pc:docMk/>
            <pc:sldMk cId="2506764740" sldId="2134806410"/>
            <ac:spMk id="97" creationId="{2A9BE19F-3F45-4948-A63D-24443855BDD6}"/>
          </ac:spMkLst>
        </pc:spChg>
        <pc:spChg chg="mod">
          <ac:chgData name="Cornago, Fernando" userId="048a41c0-cb7a-447c-b2ac-f7c7348706e9" providerId="ADAL" clId="{937591CA-C1D7-784D-9DA8-42716B827479}" dt="2020-06-15T14:16:45.816" v="727" actId="14100"/>
          <ac:spMkLst>
            <pc:docMk/>
            <pc:sldMk cId="2506764740" sldId="2134806410"/>
            <ac:spMk id="98" creationId="{1A25CA2E-790A-4120-947C-4DEB3FCE8D65}"/>
          </ac:spMkLst>
        </pc:spChg>
        <pc:spChg chg="del mod">
          <ac:chgData name="Cornago, Fernando" userId="048a41c0-cb7a-447c-b2ac-f7c7348706e9" providerId="ADAL" clId="{937591CA-C1D7-784D-9DA8-42716B827479}" dt="2020-06-15T14:16:09.114" v="693" actId="478"/>
          <ac:spMkLst>
            <pc:docMk/>
            <pc:sldMk cId="2506764740" sldId="2134806410"/>
            <ac:spMk id="100" creationId="{946211D7-8CC5-CB43-9848-482E4112B0F0}"/>
          </ac:spMkLst>
        </pc:spChg>
        <pc:spChg chg="mod">
          <ac:chgData name="Cornago, Fernando" userId="048a41c0-cb7a-447c-b2ac-f7c7348706e9" providerId="ADAL" clId="{937591CA-C1D7-784D-9DA8-42716B827479}" dt="2020-06-15T14:16:27.417" v="726" actId="20577"/>
          <ac:spMkLst>
            <pc:docMk/>
            <pc:sldMk cId="2506764740" sldId="2134806410"/>
            <ac:spMk id="101" creationId="{4A1C509B-D840-2548-AA98-9C83DAF74AAB}"/>
          </ac:spMkLst>
        </pc:spChg>
        <pc:spChg chg="del mod">
          <ac:chgData name="Cornago, Fernando" userId="048a41c0-cb7a-447c-b2ac-f7c7348706e9" providerId="ADAL" clId="{937591CA-C1D7-784D-9DA8-42716B827479}" dt="2020-06-15T14:16:09.114" v="693" actId="478"/>
          <ac:spMkLst>
            <pc:docMk/>
            <pc:sldMk cId="2506764740" sldId="2134806410"/>
            <ac:spMk id="125" creationId="{0F234DE8-7495-4DFF-8334-C9FBBF26A45F}"/>
          </ac:spMkLst>
        </pc:spChg>
        <pc:spChg chg="del">
          <ac:chgData name="Cornago, Fernando" userId="048a41c0-cb7a-447c-b2ac-f7c7348706e9" providerId="ADAL" clId="{937591CA-C1D7-784D-9DA8-42716B827479}" dt="2020-06-15T14:16:09.114" v="693" actId="478"/>
          <ac:spMkLst>
            <pc:docMk/>
            <pc:sldMk cId="2506764740" sldId="2134806410"/>
            <ac:spMk id="126" creationId="{E864FD44-E802-4C0C-AFBF-87326181389D}"/>
          </ac:spMkLst>
        </pc:spChg>
        <pc:spChg chg="del mod">
          <ac:chgData name="Cornago, Fernando" userId="048a41c0-cb7a-447c-b2ac-f7c7348706e9" providerId="ADAL" clId="{937591CA-C1D7-784D-9DA8-42716B827479}" dt="2020-06-15T14:16:09.114" v="693" actId="478"/>
          <ac:spMkLst>
            <pc:docMk/>
            <pc:sldMk cId="2506764740" sldId="2134806410"/>
            <ac:spMk id="130" creationId="{3004158A-E2AD-49C7-B15D-B9AED47EE7B4}"/>
          </ac:spMkLst>
        </pc:spChg>
        <pc:spChg chg="del mod">
          <ac:chgData name="Cornago, Fernando" userId="048a41c0-cb7a-447c-b2ac-f7c7348706e9" providerId="ADAL" clId="{937591CA-C1D7-784D-9DA8-42716B827479}" dt="2020-06-15T14:16:09.114" v="693" actId="478"/>
          <ac:spMkLst>
            <pc:docMk/>
            <pc:sldMk cId="2506764740" sldId="2134806410"/>
            <ac:spMk id="132" creationId="{D1DB16CE-37E6-4A4F-8AAE-281B5EE36FD8}"/>
          </ac:spMkLst>
        </pc:spChg>
        <pc:spChg chg="mod">
          <ac:chgData name="Cornago, Fernando" userId="048a41c0-cb7a-447c-b2ac-f7c7348706e9" providerId="ADAL" clId="{937591CA-C1D7-784D-9DA8-42716B827479}" dt="2020-06-15T14:17:08.577" v="732" actId="20577"/>
          <ac:spMkLst>
            <pc:docMk/>
            <pc:sldMk cId="2506764740" sldId="2134806410"/>
            <ac:spMk id="135" creationId="{DFE5AE14-83DB-4F5D-BB86-94D76D7D28E8}"/>
          </ac:spMkLst>
        </pc:spChg>
      </pc:sldChg>
      <pc:sldChg chg="modSp add modNotesTx">
        <pc:chgData name="Cornago, Fernando" userId="048a41c0-cb7a-447c-b2ac-f7c7348706e9" providerId="ADAL" clId="{937591CA-C1D7-784D-9DA8-42716B827479}" dt="2020-06-17T05:48:26.094" v="9922" actId="20577"/>
        <pc:sldMkLst>
          <pc:docMk/>
          <pc:sldMk cId="795272633" sldId="2134806411"/>
        </pc:sldMkLst>
        <pc:spChg chg="mod">
          <ac:chgData name="Cornago, Fernando" userId="048a41c0-cb7a-447c-b2ac-f7c7348706e9" providerId="ADAL" clId="{937591CA-C1D7-784D-9DA8-42716B827479}" dt="2020-06-15T14:20:14.676" v="760" actId="1076"/>
          <ac:spMkLst>
            <pc:docMk/>
            <pc:sldMk cId="795272633" sldId="2134806411"/>
            <ac:spMk id="6" creationId="{D00E8AEE-383D-084A-A7E8-CCA1BCEE4415}"/>
          </ac:spMkLst>
        </pc:spChg>
      </pc:sldChg>
      <pc:sldChg chg="addSp delSp modSp new ord modAnim modNotesTx">
        <pc:chgData name="Cornago, Fernando" userId="048a41c0-cb7a-447c-b2ac-f7c7348706e9" providerId="ADAL" clId="{937591CA-C1D7-784D-9DA8-42716B827479}" dt="2020-06-17T06:46:30.528" v="15040" actId="20577"/>
        <pc:sldMkLst>
          <pc:docMk/>
          <pc:sldMk cId="1321588068" sldId="2134806412"/>
        </pc:sldMkLst>
        <pc:spChg chg="mod">
          <ac:chgData name="Cornago, Fernando" userId="048a41c0-cb7a-447c-b2ac-f7c7348706e9" providerId="ADAL" clId="{937591CA-C1D7-784D-9DA8-42716B827479}" dt="2020-06-16T08:08:01.334" v="2658" actId="166"/>
          <ac:spMkLst>
            <pc:docMk/>
            <pc:sldMk cId="1321588068" sldId="2134806412"/>
            <ac:spMk id="2" creationId="{E9C7D6BC-BCD4-A641-90D4-6C7D43D89CA0}"/>
          </ac:spMkLst>
        </pc:spChg>
        <pc:spChg chg="add mod">
          <ac:chgData name="Cornago, Fernando" userId="048a41c0-cb7a-447c-b2ac-f7c7348706e9" providerId="ADAL" clId="{937591CA-C1D7-784D-9DA8-42716B827479}" dt="2020-06-16T08:06:28.125" v="2655" actId="767"/>
          <ac:spMkLst>
            <pc:docMk/>
            <pc:sldMk cId="1321588068" sldId="2134806412"/>
            <ac:spMk id="8" creationId="{C3C8B7DB-3A2C-AD47-B9FD-A7475258A248}"/>
          </ac:spMkLst>
        </pc:spChg>
        <pc:spChg chg="add mod">
          <ac:chgData name="Cornago, Fernando" userId="048a41c0-cb7a-447c-b2ac-f7c7348706e9" providerId="ADAL" clId="{937591CA-C1D7-784D-9DA8-42716B827479}" dt="2020-06-16T04:59:28.202" v="1648" actId="1076"/>
          <ac:spMkLst>
            <pc:docMk/>
            <pc:sldMk cId="1321588068" sldId="2134806412"/>
            <ac:spMk id="9" creationId="{F0AA5DF0-A746-604B-9D05-AC38B66FA46B}"/>
          </ac:spMkLst>
        </pc:spChg>
        <pc:spChg chg="add mod">
          <ac:chgData name="Cornago, Fernando" userId="048a41c0-cb7a-447c-b2ac-f7c7348706e9" providerId="ADAL" clId="{937591CA-C1D7-784D-9DA8-42716B827479}" dt="2020-06-16T04:59:24.042" v="1647" actId="1076"/>
          <ac:spMkLst>
            <pc:docMk/>
            <pc:sldMk cId="1321588068" sldId="2134806412"/>
            <ac:spMk id="10" creationId="{B5A09052-29BF-E548-AD83-014B05F4BB7F}"/>
          </ac:spMkLst>
        </pc:spChg>
        <pc:spChg chg="add mod">
          <ac:chgData name="Cornago, Fernando" userId="048a41c0-cb7a-447c-b2ac-f7c7348706e9" providerId="ADAL" clId="{937591CA-C1D7-784D-9DA8-42716B827479}" dt="2020-06-16T05:02:35.986" v="1706" actId="14100"/>
          <ac:spMkLst>
            <pc:docMk/>
            <pc:sldMk cId="1321588068" sldId="2134806412"/>
            <ac:spMk id="11" creationId="{5799040D-7211-0247-AA0B-37FB0CA3315C}"/>
          </ac:spMkLst>
        </pc:spChg>
        <pc:spChg chg="add mod">
          <ac:chgData name="Cornago, Fernando" userId="048a41c0-cb7a-447c-b2ac-f7c7348706e9" providerId="ADAL" clId="{937591CA-C1D7-784D-9DA8-42716B827479}" dt="2020-06-16T05:00:49.350" v="1658" actId="1076"/>
          <ac:spMkLst>
            <pc:docMk/>
            <pc:sldMk cId="1321588068" sldId="2134806412"/>
            <ac:spMk id="12" creationId="{3470DD3F-17B4-0640-8FC5-6DCAAD796CC6}"/>
          </ac:spMkLst>
        </pc:spChg>
        <pc:spChg chg="add mod">
          <ac:chgData name="Cornago, Fernando" userId="048a41c0-cb7a-447c-b2ac-f7c7348706e9" providerId="ADAL" clId="{937591CA-C1D7-784D-9DA8-42716B827479}" dt="2020-06-16T05:00:54.084" v="1659" actId="1076"/>
          <ac:spMkLst>
            <pc:docMk/>
            <pc:sldMk cId="1321588068" sldId="2134806412"/>
            <ac:spMk id="13" creationId="{83D9B82F-E845-C648-BF93-6E614DBEFADF}"/>
          </ac:spMkLst>
        </pc:spChg>
        <pc:spChg chg="add mod">
          <ac:chgData name="Cornago, Fernando" userId="048a41c0-cb7a-447c-b2ac-f7c7348706e9" providerId="ADAL" clId="{937591CA-C1D7-784D-9DA8-42716B827479}" dt="2020-06-16T05:02:31.457" v="1705" actId="20577"/>
          <ac:spMkLst>
            <pc:docMk/>
            <pc:sldMk cId="1321588068" sldId="2134806412"/>
            <ac:spMk id="14" creationId="{AA240987-1E57-8E47-894E-96F948A63929}"/>
          </ac:spMkLst>
        </pc:spChg>
        <pc:spChg chg="add mod">
          <ac:chgData name="Cornago, Fernando" userId="048a41c0-cb7a-447c-b2ac-f7c7348706e9" providerId="ADAL" clId="{937591CA-C1D7-784D-9DA8-42716B827479}" dt="2020-06-16T05:02:46.784" v="1708" actId="1076"/>
          <ac:spMkLst>
            <pc:docMk/>
            <pc:sldMk cId="1321588068" sldId="2134806412"/>
            <ac:spMk id="15" creationId="{BF5D75A5-38BE-3A4E-AB8E-EC87EF50E56C}"/>
          </ac:spMkLst>
        </pc:spChg>
        <pc:spChg chg="add mod">
          <ac:chgData name="Cornago, Fernando" userId="048a41c0-cb7a-447c-b2ac-f7c7348706e9" providerId="ADAL" clId="{937591CA-C1D7-784D-9DA8-42716B827479}" dt="2020-06-16T05:04:37.600" v="1803" actId="20577"/>
          <ac:spMkLst>
            <pc:docMk/>
            <pc:sldMk cId="1321588068" sldId="2134806412"/>
            <ac:spMk id="16" creationId="{17674036-EAAF-7844-822F-7112D2FD9455}"/>
          </ac:spMkLst>
        </pc:spChg>
        <pc:graphicFrameChg chg="add mod modGraphic">
          <ac:chgData name="Cornago, Fernando" userId="048a41c0-cb7a-447c-b2ac-f7c7348706e9" providerId="ADAL" clId="{937591CA-C1D7-784D-9DA8-42716B827479}" dt="2020-06-16T05:30:03.248" v="1821" actId="20577"/>
          <ac:graphicFrameMkLst>
            <pc:docMk/>
            <pc:sldMk cId="1321588068" sldId="2134806412"/>
            <ac:graphicFrameMk id="6" creationId="{DE3CFF05-401B-9C44-A98A-8872EE602507}"/>
          </ac:graphicFrameMkLst>
        </pc:graphicFrameChg>
        <pc:graphicFrameChg chg="add del mod">
          <ac:chgData name="Cornago, Fernando" userId="048a41c0-cb7a-447c-b2ac-f7c7348706e9" providerId="ADAL" clId="{937591CA-C1D7-784D-9DA8-42716B827479}" dt="2020-06-16T04:58:03.651" v="1632"/>
          <ac:graphicFrameMkLst>
            <pc:docMk/>
            <pc:sldMk cId="1321588068" sldId="2134806412"/>
            <ac:graphicFrameMk id="7" creationId="{FB1E694F-920E-7E40-8C22-AF3630BDB1A7}"/>
          </ac:graphicFrameMkLst>
        </pc:graphicFrameChg>
        <pc:graphicFrameChg chg="add del">
          <ac:chgData name="Cornago, Fernando" userId="048a41c0-cb7a-447c-b2ac-f7c7348706e9" providerId="ADAL" clId="{937591CA-C1D7-784D-9DA8-42716B827479}" dt="2020-06-16T04:58:01.275" v="1630"/>
          <ac:graphicFrameMkLst>
            <pc:docMk/>
            <pc:sldMk cId="1321588068" sldId="2134806412"/>
            <ac:graphicFrameMk id="8" creationId="{AE47323D-B1B1-8A45-BF69-06E6492E48F3}"/>
          </ac:graphicFrameMkLst>
        </pc:graphicFrameChg>
        <pc:picChg chg="add mod">
          <ac:chgData name="Cornago, Fernando" userId="048a41c0-cb7a-447c-b2ac-f7c7348706e9" providerId="ADAL" clId="{937591CA-C1D7-784D-9DA8-42716B827479}" dt="2020-06-16T08:05:44.586" v="2653"/>
          <ac:picMkLst>
            <pc:docMk/>
            <pc:sldMk cId="1321588068" sldId="2134806412"/>
            <ac:picMk id="7" creationId="{700A1ECA-19D4-A34C-BBE3-9FBAF7F315B6}"/>
          </ac:picMkLst>
        </pc:picChg>
      </pc:sldChg>
      <pc:sldChg chg="new del">
        <pc:chgData name="Cornago, Fernando" userId="048a41c0-cb7a-447c-b2ac-f7c7348706e9" providerId="ADAL" clId="{937591CA-C1D7-784D-9DA8-42716B827479}" dt="2020-06-16T05:37:53.371" v="1991" actId="2696"/>
        <pc:sldMkLst>
          <pc:docMk/>
          <pc:sldMk cId="2334026613" sldId="2134806413"/>
        </pc:sldMkLst>
      </pc:sldChg>
      <pc:sldChg chg="add del">
        <pc:chgData name="Cornago, Fernando" userId="048a41c0-cb7a-447c-b2ac-f7c7348706e9" providerId="ADAL" clId="{937591CA-C1D7-784D-9DA8-42716B827479}" dt="2020-06-15T14:36:36.151" v="899"/>
        <pc:sldMkLst>
          <pc:docMk/>
          <pc:sldMk cId="653948258" sldId="2134806414"/>
        </pc:sldMkLst>
      </pc:sldChg>
      <pc:sldChg chg="add">
        <pc:chgData name="Cornago, Fernando" userId="048a41c0-cb7a-447c-b2ac-f7c7348706e9" providerId="ADAL" clId="{937591CA-C1D7-784D-9DA8-42716B827479}" dt="2020-06-15T14:36:36.704" v="900"/>
        <pc:sldMkLst>
          <pc:docMk/>
          <pc:sldMk cId="842167388" sldId="2134806414"/>
        </pc:sldMkLst>
      </pc:sldChg>
      <pc:sldChg chg="add">
        <pc:chgData name="Cornago, Fernando" userId="048a41c0-cb7a-447c-b2ac-f7c7348706e9" providerId="ADAL" clId="{937591CA-C1D7-784D-9DA8-42716B827479}" dt="2020-06-15T14:36:36.704" v="900"/>
        <pc:sldMkLst>
          <pc:docMk/>
          <pc:sldMk cId="497398283" sldId="2134806415"/>
        </pc:sldMkLst>
      </pc:sldChg>
      <pc:sldChg chg="add del">
        <pc:chgData name="Cornago, Fernando" userId="048a41c0-cb7a-447c-b2ac-f7c7348706e9" providerId="ADAL" clId="{937591CA-C1D7-784D-9DA8-42716B827479}" dt="2020-06-15T14:36:36.151" v="899"/>
        <pc:sldMkLst>
          <pc:docMk/>
          <pc:sldMk cId="1719923416" sldId="2134806415"/>
        </pc:sldMkLst>
      </pc:sldChg>
      <pc:sldChg chg="add del">
        <pc:chgData name="Cornago, Fernando" userId="048a41c0-cb7a-447c-b2ac-f7c7348706e9" providerId="ADAL" clId="{937591CA-C1D7-784D-9DA8-42716B827479}" dt="2020-06-15T14:36:36.151" v="899"/>
        <pc:sldMkLst>
          <pc:docMk/>
          <pc:sldMk cId="1030375411" sldId="2134806416"/>
        </pc:sldMkLst>
      </pc:sldChg>
      <pc:sldChg chg="add">
        <pc:chgData name="Cornago, Fernando" userId="048a41c0-cb7a-447c-b2ac-f7c7348706e9" providerId="ADAL" clId="{937591CA-C1D7-784D-9DA8-42716B827479}" dt="2020-06-15T14:36:36.704" v="900"/>
        <pc:sldMkLst>
          <pc:docMk/>
          <pc:sldMk cId="2702790180" sldId="2134806416"/>
        </pc:sldMkLst>
      </pc:sldChg>
      <pc:sldChg chg="add">
        <pc:chgData name="Cornago, Fernando" userId="048a41c0-cb7a-447c-b2ac-f7c7348706e9" providerId="ADAL" clId="{937591CA-C1D7-784D-9DA8-42716B827479}" dt="2020-06-15T14:36:36.704" v="900"/>
        <pc:sldMkLst>
          <pc:docMk/>
          <pc:sldMk cId="2983291835" sldId="2134806417"/>
        </pc:sldMkLst>
      </pc:sldChg>
      <pc:sldChg chg="add del">
        <pc:chgData name="Cornago, Fernando" userId="048a41c0-cb7a-447c-b2ac-f7c7348706e9" providerId="ADAL" clId="{937591CA-C1D7-784D-9DA8-42716B827479}" dt="2020-06-15T14:36:36.151" v="899"/>
        <pc:sldMkLst>
          <pc:docMk/>
          <pc:sldMk cId="3119114950" sldId="2134806417"/>
        </pc:sldMkLst>
      </pc:sldChg>
      <pc:sldChg chg="add del">
        <pc:chgData name="Cornago, Fernando" userId="048a41c0-cb7a-447c-b2ac-f7c7348706e9" providerId="ADAL" clId="{937591CA-C1D7-784D-9DA8-42716B827479}" dt="2020-06-15T14:36:36.151" v="899"/>
        <pc:sldMkLst>
          <pc:docMk/>
          <pc:sldMk cId="2407734827" sldId="2134806418"/>
        </pc:sldMkLst>
      </pc:sldChg>
      <pc:sldChg chg="add">
        <pc:chgData name="Cornago, Fernando" userId="048a41c0-cb7a-447c-b2ac-f7c7348706e9" providerId="ADAL" clId="{937591CA-C1D7-784D-9DA8-42716B827479}" dt="2020-06-15T14:36:36.704" v="900"/>
        <pc:sldMkLst>
          <pc:docMk/>
          <pc:sldMk cId="3808321195" sldId="2134806418"/>
        </pc:sldMkLst>
      </pc:sldChg>
      <pc:sldChg chg="add del">
        <pc:chgData name="Cornago, Fernando" userId="048a41c0-cb7a-447c-b2ac-f7c7348706e9" providerId="ADAL" clId="{937591CA-C1D7-784D-9DA8-42716B827479}" dt="2020-06-15T14:36:36.151" v="899"/>
        <pc:sldMkLst>
          <pc:docMk/>
          <pc:sldMk cId="302099422" sldId="2134806419"/>
        </pc:sldMkLst>
      </pc:sldChg>
      <pc:sldChg chg="add">
        <pc:chgData name="Cornago, Fernando" userId="048a41c0-cb7a-447c-b2ac-f7c7348706e9" providerId="ADAL" clId="{937591CA-C1D7-784D-9DA8-42716B827479}" dt="2020-06-15T14:36:36.704" v="900"/>
        <pc:sldMkLst>
          <pc:docMk/>
          <pc:sldMk cId="2843841287" sldId="2134806419"/>
        </pc:sldMkLst>
      </pc:sldChg>
      <pc:sldChg chg="add del">
        <pc:chgData name="Cornago, Fernando" userId="048a41c0-cb7a-447c-b2ac-f7c7348706e9" providerId="ADAL" clId="{937591CA-C1D7-784D-9DA8-42716B827479}" dt="2020-06-15T14:36:36.151" v="899"/>
        <pc:sldMkLst>
          <pc:docMk/>
          <pc:sldMk cId="2880936505" sldId="2134806420"/>
        </pc:sldMkLst>
      </pc:sldChg>
      <pc:sldChg chg="add">
        <pc:chgData name="Cornago, Fernando" userId="048a41c0-cb7a-447c-b2ac-f7c7348706e9" providerId="ADAL" clId="{937591CA-C1D7-784D-9DA8-42716B827479}" dt="2020-06-15T14:36:36.704" v="900"/>
        <pc:sldMkLst>
          <pc:docMk/>
          <pc:sldMk cId="2945913276" sldId="2134806420"/>
        </pc:sldMkLst>
      </pc:sldChg>
      <pc:sldChg chg="add">
        <pc:chgData name="Cornago, Fernando" userId="048a41c0-cb7a-447c-b2ac-f7c7348706e9" providerId="ADAL" clId="{937591CA-C1D7-784D-9DA8-42716B827479}" dt="2020-06-15T14:36:36.704" v="900"/>
        <pc:sldMkLst>
          <pc:docMk/>
          <pc:sldMk cId="131279455" sldId="2134806421"/>
        </pc:sldMkLst>
      </pc:sldChg>
      <pc:sldChg chg="add del">
        <pc:chgData name="Cornago, Fernando" userId="048a41c0-cb7a-447c-b2ac-f7c7348706e9" providerId="ADAL" clId="{937591CA-C1D7-784D-9DA8-42716B827479}" dt="2020-06-15T14:36:36.151" v="899"/>
        <pc:sldMkLst>
          <pc:docMk/>
          <pc:sldMk cId="3332168255" sldId="2134806421"/>
        </pc:sldMkLst>
      </pc:sldChg>
      <pc:sldChg chg="addSp delSp modSp add del">
        <pc:chgData name="Cornago, Fernando" userId="048a41c0-cb7a-447c-b2ac-f7c7348706e9" providerId="ADAL" clId="{937591CA-C1D7-784D-9DA8-42716B827479}" dt="2020-06-15T15:11:08.067" v="1154" actId="2696"/>
        <pc:sldMkLst>
          <pc:docMk/>
          <pc:sldMk cId="2384041345" sldId="2134806422"/>
        </pc:sldMkLst>
        <pc:spChg chg="mod">
          <ac:chgData name="Cornago, Fernando" userId="048a41c0-cb7a-447c-b2ac-f7c7348706e9" providerId="ADAL" clId="{937591CA-C1D7-784D-9DA8-42716B827479}" dt="2020-06-15T15:00:38.278" v="950" actId="20577"/>
          <ac:spMkLst>
            <pc:docMk/>
            <pc:sldMk cId="2384041345" sldId="2134806422"/>
            <ac:spMk id="2" creationId="{AEBAC8A2-75A7-470F-BEA6-358EDE6CD109}"/>
          </ac:spMkLst>
        </pc:spChg>
        <pc:spChg chg="del">
          <ac:chgData name="Cornago, Fernando" userId="048a41c0-cb7a-447c-b2ac-f7c7348706e9" providerId="ADAL" clId="{937591CA-C1D7-784D-9DA8-42716B827479}" dt="2020-06-15T15:00:42.410" v="951" actId="478"/>
          <ac:spMkLst>
            <pc:docMk/>
            <pc:sldMk cId="2384041345" sldId="2134806422"/>
            <ac:spMk id="29" creationId="{A3C83527-93B4-422F-92F3-24B2689DE7A8}"/>
          </ac:spMkLst>
        </pc:spChg>
        <pc:spChg chg="del">
          <ac:chgData name="Cornago, Fernando" userId="048a41c0-cb7a-447c-b2ac-f7c7348706e9" providerId="ADAL" clId="{937591CA-C1D7-784D-9DA8-42716B827479}" dt="2020-06-15T15:00:42.410" v="951" actId="478"/>
          <ac:spMkLst>
            <pc:docMk/>
            <pc:sldMk cId="2384041345" sldId="2134806422"/>
            <ac:spMk id="38" creationId="{109C226E-5CFC-42F4-BAA3-58795B622782}"/>
          </ac:spMkLst>
        </pc:spChg>
        <pc:spChg chg="del">
          <ac:chgData name="Cornago, Fernando" userId="048a41c0-cb7a-447c-b2ac-f7c7348706e9" providerId="ADAL" clId="{937591CA-C1D7-784D-9DA8-42716B827479}" dt="2020-06-15T15:00:42.410" v="951" actId="478"/>
          <ac:spMkLst>
            <pc:docMk/>
            <pc:sldMk cId="2384041345" sldId="2134806422"/>
            <ac:spMk id="39" creationId="{FE762DD2-4A8F-4CDE-A6CB-4CECC2DA29F2}"/>
          </ac:spMkLst>
        </pc:spChg>
        <pc:spChg chg="del">
          <ac:chgData name="Cornago, Fernando" userId="048a41c0-cb7a-447c-b2ac-f7c7348706e9" providerId="ADAL" clId="{937591CA-C1D7-784D-9DA8-42716B827479}" dt="2020-06-15T15:00:42.410" v="951" actId="478"/>
          <ac:spMkLst>
            <pc:docMk/>
            <pc:sldMk cId="2384041345" sldId="2134806422"/>
            <ac:spMk id="40" creationId="{DC1A1478-251C-4581-9669-73EA8EA5B4B1}"/>
          </ac:spMkLst>
        </pc:spChg>
        <pc:spChg chg="del">
          <ac:chgData name="Cornago, Fernando" userId="048a41c0-cb7a-447c-b2ac-f7c7348706e9" providerId="ADAL" clId="{937591CA-C1D7-784D-9DA8-42716B827479}" dt="2020-06-15T15:00:42.410" v="951" actId="478"/>
          <ac:spMkLst>
            <pc:docMk/>
            <pc:sldMk cId="2384041345" sldId="2134806422"/>
            <ac:spMk id="41" creationId="{E7D4DCCF-89BD-4B06-9272-F49F4663D7C0}"/>
          </ac:spMkLst>
        </pc:spChg>
        <pc:spChg chg="del">
          <ac:chgData name="Cornago, Fernando" userId="048a41c0-cb7a-447c-b2ac-f7c7348706e9" providerId="ADAL" clId="{937591CA-C1D7-784D-9DA8-42716B827479}" dt="2020-06-15T15:00:42.410" v="951" actId="478"/>
          <ac:spMkLst>
            <pc:docMk/>
            <pc:sldMk cId="2384041345" sldId="2134806422"/>
            <ac:spMk id="43" creationId="{F7CDF6DF-2E5F-4EB1-9241-DA5E5E8660B2}"/>
          </ac:spMkLst>
        </pc:spChg>
        <pc:spChg chg="add del mod">
          <ac:chgData name="Cornago, Fernando" userId="048a41c0-cb7a-447c-b2ac-f7c7348706e9" providerId="ADAL" clId="{937591CA-C1D7-784D-9DA8-42716B827479}" dt="2020-06-15T15:01:49.823" v="957"/>
          <ac:spMkLst>
            <pc:docMk/>
            <pc:sldMk cId="2384041345" sldId="2134806422"/>
            <ac:spMk id="46" creationId="{3C26489F-B82D-CA48-B84E-58F3190B146C}"/>
          </ac:spMkLst>
        </pc:spChg>
        <pc:spChg chg="del">
          <ac:chgData name="Cornago, Fernando" userId="048a41c0-cb7a-447c-b2ac-f7c7348706e9" providerId="ADAL" clId="{937591CA-C1D7-784D-9DA8-42716B827479}" dt="2020-06-15T15:00:42.410" v="951" actId="478"/>
          <ac:spMkLst>
            <pc:docMk/>
            <pc:sldMk cId="2384041345" sldId="2134806422"/>
            <ac:spMk id="47" creationId="{63A73BD3-DC94-4750-94C0-2A0985D3598E}"/>
          </ac:spMkLst>
        </pc:spChg>
        <pc:spChg chg="del">
          <ac:chgData name="Cornago, Fernando" userId="048a41c0-cb7a-447c-b2ac-f7c7348706e9" providerId="ADAL" clId="{937591CA-C1D7-784D-9DA8-42716B827479}" dt="2020-06-15T15:00:42.410" v="951" actId="478"/>
          <ac:spMkLst>
            <pc:docMk/>
            <pc:sldMk cId="2384041345" sldId="2134806422"/>
            <ac:spMk id="48" creationId="{DF059B49-9369-475E-A87A-E8FFF16E99AD}"/>
          </ac:spMkLst>
        </pc:spChg>
        <pc:spChg chg="add del mod">
          <ac:chgData name="Cornago, Fernando" userId="048a41c0-cb7a-447c-b2ac-f7c7348706e9" providerId="ADAL" clId="{937591CA-C1D7-784D-9DA8-42716B827479}" dt="2020-06-15T15:01:49.823" v="957"/>
          <ac:spMkLst>
            <pc:docMk/>
            <pc:sldMk cId="2384041345" sldId="2134806422"/>
            <ac:spMk id="49" creationId="{961B30C1-0950-A847-BAA5-53CCB218AD0A}"/>
          </ac:spMkLst>
        </pc:spChg>
        <pc:spChg chg="add del mod">
          <ac:chgData name="Cornago, Fernando" userId="048a41c0-cb7a-447c-b2ac-f7c7348706e9" providerId="ADAL" clId="{937591CA-C1D7-784D-9DA8-42716B827479}" dt="2020-06-15T15:01:49.823" v="957"/>
          <ac:spMkLst>
            <pc:docMk/>
            <pc:sldMk cId="2384041345" sldId="2134806422"/>
            <ac:spMk id="51" creationId="{4758F769-092A-244B-A2C4-FEEC00B3C94C}"/>
          </ac:spMkLst>
        </pc:spChg>
        <pc:spChg chg="del">
          <ac:chgData name="Cornago, Fernando" userId="048a41c0-cb7a-447c-b2ac-f7c7348706e9" providerId="ADAL" clId="{937591CA-C1D7-784D-9DA8-42716B827479}" dt="2020-06-15T15:00:42.410" v="951" actId="478"/>
          <ac:spMkLst>
            <pc:docMk/>
            <pc:sldMk cId="2384041345" sldId="2134806422"/>
            <ac:spMk id="55" creationId="{3F217A97-8547-4851-8A03-6D8E5DD46014}"/>
          </ac:spMkLst>
        </pc:spChg>
        <pc:spChg chg="del">
          <ac:chgData name="Cornago, Fernando" userId="048a41c0-cb7a-447c-b2ac-f7c7348706e9" providerId="ADAL" clId="{937591CA-C1D7-784D-9DA8-42716B827479}" dt="2020-06-15T15:00:42.410" v="951" actId="478"/>
          <ac:spMkLst>
            <pc:docMk/>
            <pc:sldMk cId="2384041345" sldId="2134806422"/>
            <ac:spMk id="56" creationId="{2F73F61F-9F37-470C-AB59-2035EF51F3FE}"/>
          </ac:spMkLst>
        </pc:spChg>
        <pc:spChg chg="del">
          <ac:chgData name="Cornago, Fernando" userId="048a41c0-cb7a-447c-b2ac-f7c7348706e9" providerId="ADAL" clId="{937591CA-C1D7-784D-9DA8-42716B827479}" dt="2020-06-15T15:00:42.410" v="951" actId="478"/>
          <ac:spMkLst>
            <pc:docMk/>
            <pc:sldMk cId="2384041345" sldId="2134806422"/>
            <ac:spMk id="57" creationId="{76E96194-7F46-4539-97C9-56D9CC766AAB}"/>
          </ac:spMkLst>
        </pc:spChg>
        <pc:spChg chg="add del mod">
          <ac:chgData name="Cornago, Fernando" userId="048a41c0-cb7a-447c-b2ac-f7c7348706e9" providerId="ADAL" clId="{937591CA-C1D7-784D-9DA8-42716B827479}" dt="2020-06-15T15:01:49.823" v="957"/>
          <ac:spMkLst>
            <pc:docMk/>
            <pc:sldMk cId="2384041345" sldId="2134806422"/>
            <ac:spMk id="58" creationId="{ED07F001-4BF7-B44F-AB7B-06067105624B}"/>
          </ac:spMkLst>
        </pc:spChg>
        <pc:spChg chg="del">
          <ac:chgData name="Cornago, Fernando" userId="048a41c0-cb7a-447c-b2ac-f7c7348706e9" providerId="ADAL" clId="{937591CA-C1D7-784D-9DA8-42716B827479}" dt="2020-06-15T15:00:42.410" v="951" actId="478"/>
          <ac:spMkLst>
            <pc:docMk/>
            <pc:sldMk cId="2384041345" sldId="2134806422"/>
            <ac:spMk id="59" creationId="{B4E2B2A7-6E17-4D15-9AB8-455E860597C7}"/>
          </ac:spMkLst>
        </pc:spChg>
        <pc:spChg chg="add del mod">
          <ac:chgData name="Cornago, Fernando" userId="048a41c0-cb7a-447c-b2ac-f7c7348706e9" providerId="ADAL" clId="{937591CA-C1D7-784D-9DA8-42716B827479}" dt="2020-06-15T15:01:49.823" v="957"/>
          <ac:spMkLst>
            <pc:docMk/>
            <pc:sldMk cId="2384041345" sldId="2134806422"/>
            <ac:spMk id="60" creationId="{95AC1839-ACB7-F046-8578-C683BDB2D332}"/>
          </ac:spMkLst>
        </pc:spChg>
        <pc:spChg chg="del">
          <ac:chgData name="Cornago, Fernando" userId="048a41c0-cb7a-447c-b2ac-f7c7348706e9" providerId="ADAL" clId="{937591CA-C1D7-784D-9DA8-42716B827479}" dt="2020-06-15T15:00:42.410" v="951" actId="478"/>
          <ac:spMkLst>
            <pc:docMk/>
            <pc:sldMk cId="2384041345" sldId="2134806422"/>
            <ac:spMk id="61" creationId="{2BAE7277-4E4A-475D-845B-EECB9DFDB340}"/>
          </ac:spMkLst>
        </pc:spChg>
        <pc:spChg chg="add del mod">
          <ac:chgData name="Cornago, Fernando" userId="048a41c0-cb7a-447c-b2ac-f7c7348706e9" providerId="ADAL" clId="{937591CA-C1D7-784D-9DA8-42716B827479}" dt="2020-06-15T15:01:49.823" v="957"/>
          <ac:spMkLst>
            <pc:docMk/>
            <pc:sldMk cId="2384041345" sldId="2134806422"/>
            <ac:spMk id="62" creationId="{3CFFDAD7-9E75-5C45-A07A-BA4472B2FEC7}"/>
          </ac:spMkLst>
        </pc:spChg>
        <pc:spChg chg="add del mod">
          <ac:chgData name="Cornago, Fernando" userId="048a41c0-cb7a-447c-b2ac-f7c7348706e9" providerId="ADAL" clId="{937591CA-C1D7-784D-9DA8-42716B827479}" dt="2020-06-15T15:01:49.823" v="957"/>
          <ac:spMkLst>
            <pc:docMk/>
            <pc:sldMk cId="2384041345" sldId="2134806422"/>
            <ac:spMk id="63" creationId="{BE06C889-A4E0-C341-A87E-043CB3594441}"/>
          </ac:spMkLst>
        </pc:spChg>
        <pc:spChg chg="add del mod">
          <ac:chgData name="Cornago, Fernando" userId="048a41c0-cb7a-447c-b2ac-f7c7348706e9" providerId="ADAL" clId="{937591CA-C1D7-784D-9DA8-42716B827479}" dt="2020-06-15T15:01:49.823" v="957"/>
          <ac:spMkLst>
            <pc:docMk/>
            <pc:sldMk cId="2384041345" sldId="2134806422"/>
            <ac:spMk id="64" creationId="{57BF0633-FDD3-AC42-8B55-74873A9A1692}"/>
          </ac:spMkLst>
        </pc:spChg>
        <pc:spChg chg="add del mod">
          <ac:chgData name="Cornago, Fernando" userId="048a41c0-cb7a-447c-b2ac-f7c7348706e9" providerId="ADAL" clId="{937591CA-C1D7-784D-9DA8-42716B827479}" dt="2020-06-15T15:01:49.823" v="957"/>
          <ac:spMkLst>
            <pc:docMk/>
            <pc:sldMk cId="2384041345" sldId="2134806422"/>
            <ac:spMk id="65" creationId="{2418E305-04A9-C049-8283-287536456655}"/>
          </ac:spMkLst>
        </pc:spChg>
        <pc:spChg chg="del">
          <ac:chgData name="Cornago, Fernando" userId="048a41c0-cb7a-447c-b2ac-f7c7348706e9" providerId="ADAL" clId="{937591CA-C1D7-784D-9DA8-42716B827479}" dt="2020-06-15T15:00:42.410" v="951" actId="478"/>
          <ac:spMkLst>
            <pc:docMk/>
            <pc:sldMk cId="2384041345" sldId="2134806422"/>
            <ac:spMk id="66" creationId="{06AF9D22-F38B-486F-ABEB-C119BA685304}"/>
          </ac:spMkLst>
        </pc:spChg>
        <pc:spChg chg="add del mod">
          <ac:chgData name="Cornago, Fernando" userId="048a41c0-cb7a-447c-b2ac-f7c7348706e9" providerId="ADAL" clId="{937591CA-C1D7-784D-9DA8-42716B827479}" dt="2020-06-15T15:01:49.823" v="957"/>
          <ac:spMkLst>
            <pc:docMk/>
            <pc:sldMk cId="2384041345" sldId="2134806422"/>
            <ac:spMk id="67" creationId="{F6BBF2D0-B4D2-2348-B11E-69641373B7F8}"/>
          </ac:spMkLst>
        </pc:spChg>
        <pc:spChg chg="add del mod">
          <ac:chgData name="Cornago, Fernando" userId="048a41c0-cb7a-447c-b2ac-f7c7348706e9" providerId="ADAL" clId="{937591CA-C1D7-784D-9DA8-42716B827479}" dt="2020-06-15T15:01:49.823" v="957"/>
          <ac:spMkLst>
            <pc:docMk/>
            <pc:sldMk cId="2384041345" sldId="2134806422"/>
            <ac:spMk id="68" creationId="{63B83004-432D-3E45-9C3E-81E9BD2902CD}"/>
          </ac:spMkLst>
        </pc:spChg>
        <pc:spChg chg="del">
          <ac:chgData name="Cornago, Fernando" userId="048a41c0-cb7a-447c-b2ac-f7c7348706e9" providerId="ADAL" clId="{937591CA-C1D7-784D-9DA8-42716B827479}" dt="2020-06-15T15:00:42.410" v="951" actId="478"/>
          <ac:spMkLst>
            <pc:docMk/>
            <pc:sldMk cId="2384041345" sldId="2134806422"/>
            <ac:spMk id="69" creationId="{C66FD520-592C-4680-8F59-9057A7CD0F7F}"/>
          </ac:spMkLst>
        </pc:spChg>
        <pc:spChg chg="add del mod">
          <ac:chgData name="Cornago, Fernando" userId="048a41c0-cb7a-447c-b2ac-f7c7348706e9" providerId="ADAL" clId="{937591CA-C1D7-784D-9DA8-42716B827479}" dt="2020-06-15T15:01:49.823" v="957"/>
          <ac:spMkLst>
            <pc:docMk/>
            <pc:sldMk cId="2384041345" sldId="2134806422"/>
            <ac:spMk id="70" creationId="{C6773A3B-98FD-194B-B9E2-0B8A0448577D}"/>
          </ac:spMkLst>
        </pc:spChg>
        <pc:spChg chg="del">
          <ac:chgData name="Cornago, Fernando" userId="048a41c0-cb7a-447c-b2ac-f7c7348706e9" providerId="ADAL" clId="{937591CA-C1D7-784D-9DA8-42716B827479}" dt="2020-06-15T15:00:42.410" v="951" actId="478"/>
          <ac:spMkLst>
            <pc:docMk/>
            <pc:sldMk cId="2384041345" sldId="2134806422"/>
            <ac:spMk id="71" creationId="{DE2B0122-94A3-438A-A70E-E7577A1FD8EF}"/>
          </ac:spMkLst>
        </pc:spChg>
        <pc:spChg chg="del">
          <ac:chgData name="Cornago, Fernando" userId="048a41c0-cb7a-447c-b2ac-f7c7348706e9" providerId="ADAL" clId="{937591CA-C1D7-784D-9DA8-42716B827479}" dt="2020-06-15T15:00:42.410" v="951" actId="478"/>
          <ac:spMkLst>
            <pc:docMk/>
            <pc:sldMk cId="2384041345" sldId="2134806422"/>
            <ac:spMk id="72" creationId="{538F39FF-C477-4142-8F47-642735BFE735}"/>
          </ac:spMkLst>
        </pc:spChg>
        <pc:spChg chg="add del mod">
          <ac:chgData name="Cornago, Fernando" userId="048a41c0-cb7a-447c-b2ac-f7c7348706e9" providerId="ADAL" clId="{937591CA-C1D7-784D-9DA8-42716B827479}" dt="2020-06-15T15:01:49.823" v="957"/>
          <ac:spMkLst>
            <pc:docMk/>
            <pc:sldMk cId="2384041345" sldId="2134806422"/>
            <ac:spMk id="73" creationId="{74E20781-788C-1449-A5C6-52B63950A809}"/>
          </ac:spMkLst>
        </pc:spChg>
        <pc:spChg chg="add del mod">
          <ac:chgData name="Cornago, Fernando" userId="048a41c0-cb7a-447c-b2ac-f7c7348706e9" providerId="ADAL" clId="{937591CA-C1D7-784D-9DA8-42716B827479}" dt="2020-06-15T15:01:49.823" v="957"/>
          <ac:spMkLst>
            <pc:docMk/>
            <pc:sldMk cId="2384041345" sldId="2134806422"/>
            <ac:spMk id="74" creationId="{97E8C792-9BE4-8B47-88BB-9126D7134C98}"/>
          </ac:spMkLst>
        </pc:spChg>
        <pc:spChg chg="del">
          <ac:chgData name="Cornago, Fernando" userId="048a41c0-cb7a-447c-b2ac-f7c7348706e9" providerId="ADAL" clId="{937591CA-C1D7-784D-9DA8-42716B827479}" dt="2020-06-15T15:00:42.410" v="951" actId="478"/>
          <ac:spMkLst>
            <pc:docMk/>
            <pc:sldMk cId="2384041345" sldId="2134806422"/>
            <ac:spMk id="75" creationId="{664C7C78-6CAF-4923-AD59-153231D15ED2}"/>
          </ac:spMkLst>
        </pc:spChg>
        <pc:spChg chg="add del mod">
          <ac:chgData name="Cornago, Fernando" userId="048a41c0-cb7a-447c-b2ac-f7c7348706e9" providerId="ADAL" clId="{937591CA-C1D7-784D-9DA8-42716B827479}" dt="2020-06-15T15:01:49.823" v="957"/>
          <ac:spMkLst>
            <pc:docMk/>
            <pc:sldMk cId="2384041345" sldId="2134806422"/>
            <ac:spMk id="76" creationId="{439A4E21-92FB-3849-BD6F-D01DAADB808D}"/>
          </ac:spMkLst>
        </pc:spChg>
        <pc:spChg chg="del">
          <ac:chgData name="Cornago, Fernando" userId="048a41c0-cb7a-447c-b2ac-f7c7348706e9" providerId="ADAL" clId="{937591CA-C1D7-784D-9DA8-42716B827479}" dt="2020-06-15T15:00:42.410" v="951" actId="478"/>
          <ac:spMkLst>
            <pc:docMk/>
            <pc:sldMk cId="2384041345" sldId="2134806422"/>
            <ac:spMk id="77" creationId="{72192325-608F-41FE-A1DE-A963C93661E0}"/>
          </ac:spMkLst>
        </pc:spChg>
        <pc:spChg chg="del">
          <ac:chgData name="Cornago, Fernando" userId="048a41c0-cb7a-447c-b2ac-f7c7348706e9" providerId="ADAL" clId="{937591CA-C1D7-784D-9DA8-42716B827479}" dt="2020-06-15T15:00:42.410" v="951" actId="478"/>
          <ac:spMkLst>
            <pc:docMk/>
            <pc:sldMk cId="2384041345" sldId="2134806422"/>
            <ac:spMk id="78" creationId="{3C79F25C-22E6-4C1C-92BB-F321F2F1CB20}"/>
          </ac:spMkLst>
        </pc:spChg>
        <pc:spChg chg="del">
          <ac:chgData name="Cornago, Fernando" userId="048a41c0-cb7a-447c-b2ac-f7c7348706e9" providerId="ADAL" clId="{937591CA-C1D7-784D-9DA8-42716B827479}" dt="2020-06-15T15:00:42.410" v="951" actId="478"/>
          <ac:spMkLst>
            <pc:docMk/>
            <pc:sldMk cId="2384041345" sldId="2134806422"/>
            <ac:spMk id="79" creationId="{12D7CDC5-BE11-478E-83DA-6AE072DBD8DC}"/>
          </ac:spMkLst>
        </pc:spChg>
        <pc:spChg chg="del">
          <ac:chgData name="Cornago, Fernando" userId="048a41c0-cb7a-447c-b2ac-f7c7348706e9" providerId="ADAL" clId="{937591CA-C1D7-784D-9DA8-42716B827479}" dt="2020-06-15T15:00:42.410" v="951" actId="478"/>
          <ac:spMkLst>
            <pc:docMk/>
            <pc:sldMk cId="2384041345" sldId="2134806422"/>
            <ac:spMk id="80" creationId="{6E82BD51-F98A-47DD-BF2F-E9A67934073E}"/>
          </ac:spMkLst>
        </pc:spChg>
        <pc:spChg chg="del">
          <ac:chgData name="Cornago, Fernando" userId="048a41c0-cb7a-447c-b2ac-f7c7348706e9" providerId="ADAL" clId="{937591CA-C1D7-784D-9DA8-42716B827479}" dt="2020-06-15T15:00:42.410" v="951" actId="478"/>
          <ac:spMkLst>
            <pc:docMk/>
            <pc:sldMk cId="2384041345" sldId="2134806422"/>
            <ac:spMk id="81" creationId="{46579C67-D249-49B8-8803-EE4793010E51}"/>
          </ac:spMkLst>
        </pc:spChg>
        <pc:spChg chg="del">
          <ac:chgData name="Cornago, Fernando" userId="048a41c0-cb7a-447c-b2ac-f7c7348706e9" providerId="ADAL" clId="{937591CA-C1D7-784D-9DA8-42716B827479}" dt="2020-06-15T15:00:42.410" v="951" actId="478"/>
          <ac:spMkLst>
            <pc:docMk/>
            <pc:sldMk cId="2384041345" sldId="2134806422"/>
            <ac:spMk id="82" creationId="{98118493-E15D-4935-AA4F-F619F9B23AFD}"/>
          </ac:spMkLst>
        </pc:spChg>
        <pc:spChg chg="del">
          <ac:chgData name="Cornago, Fernando" userId="048a41c0-cb7a-447c-b2ac-f7c7348706e9" providerId="ADAL" clId="{937591CA-C1D7-784D-9DA8-42716B827479}" dt="2020-06-15T15:00:42.410" v="951" actId="478"/>
          <ac:spMkLst>
            <pc:docMk/>
            <pc:sldMk cId="2384041345" sldId="2134806422"/>
            <ac:spMk id="83" creationId="{758D0E0D-DDD0-4F5D-BEF5-C6BB06254E96}"/>
          </ac:spMkLst>
        </pc:spChg>
        <pc:spChg chg="del">
          <ac:chgData name="Cornago, Fernando" userId="048a41c0-cb7a-447c-b2ac-f7c7348706e9" providerId="ADAL" clId="{937591CA-C1D7-784D-9DA8-42716B827479}" dt="2020-06-15T15:00:42.410" v="951" actId="478"/>
          <ac:spMkLst>
            <pc:docMk/>
            <pc:sldMk cId="2384041345" sldId="2134806422"/>
            <ac:spMk id="84" creationId="{987A268B-6B74-4843-B650-B1373865259F}"/>
          </ac:spMkLst>
        </pc:spChg>
        <pc:spChg chg="del">
          <ac:chgData name="Cornago, Fernando" userId="048a41c0-cb7a-447c-b2ac-f7c7348706e9" providerId="ADAL" clId="{937591CA-C1D7-784D-9DA8-42716B827479}" dt="2020-06-15T15:00:42.410" v="951" actId="478"/>
          <ac:spMkLst>
            <pc:docMk/>
            <pc:sldMk cId="2384041345" sldId="2134806422"/>
            <ac:spMk id="85" creationId="{F61A6298-E9D7-467F-82EE-8BF128DFF1CE}"/>
          </ac:spMkLst>
        </pc:spChg>
        <pc:spChg chg="add del mod">
          <ac:chgData name="Cornago, Fernando" userId="048a41c0-cb7a-447c-b2ac-f7c7348706e9" providerId="ADAL" clId="{937591CA-C1D7-784D-9DA8-42716B827479}" dt="2020-06-15T15:01:49.823" v="957"/>
          <ac:spMkLst>
            <pc:docMk/>
            <pc:sldMk cId="2384041345" sldId="2134806422"/>
            <ac:spMk id="86" creationId="{B7A35285-ADCD-6042-82AF-E3D433A11036}"/>
          </ac:spMkLst>
        </pc:spChg>
        <pc:spChg chg="add del mod">
          <ac:chgData name="Cornago, Fernando" userId="048a41c0-cb7a-447c-b2ac-f7c7348706e9" providerId="ADAL" clId="{937591CA-C1D7-784D-9DA8-42716B827479}" dt="2020-06-15T15:01:49.823" v="957"/>
          <ac:spMkLst>
            <pc:docMk/>
            <pc:sldMk cId="2384041345" sldId="2134806422"/>
            <ac:spMk id="87" creationId="{3D365BB2-4BBD-C241-BA16-30D29B43F16A}"/>
          </ac:spMkLst>
        </pc:spChg>
        <pc:spChg chg="add del mod">
          <ac:chgData name="Cornago, Fernando" userId="048a41c0-cb7a-447c-b2ac-f7c7348706e9" providerId="ADAL" clId="{937591CA-C1D7-784D-9DA8-42716B827479}" dt="2020-06-15T15:01:49.823" v="957"/>
          <ac:spMkLst>
            <pc:docMk/>
            <pc:sldMk cId="2384041345" sldId="2134806422"/>
            <ac:spMk id="88" creationId="{3B8947F4-F71F-7E48-9CC3-0944CF9C935F}"/>
          </ac:spMkLst>
        </pc:spChg>
        <pc:spChg chg="add del mod">
          <ac:chgData name="Cornago, Fernando" userId="048a41c0-cb7a-447c-b2ac-f7c7348706e9" providerId="ADAL" clId="{937591CA-C1D7-784D-9DA8-42716B827479}" dt="2020-06-15T15:01:49.823" v="957"/>
          <ac:spMkLst>
            <pc:docMk/>
            <pc:sldMk cId="2384041345" sldId="2134806422"/>
            <ac:spMk id="89" creationId="{428C63CA-EFA1-F24C-BD16-AA900F4D4A61}"/>
          </ac:spMkLst>
        </pc:spChg>
        <pc:spChg chg="add del mod">
          <ac:chgData name="Cornago, Fernando" userId="048a41c0-cb7a-447c-b2ac-f7c7348706e9" providerId="ADAL" clId="{937591CA-C1D7-784D-9DA8-42716B827479}" dt="2020-06-15T15:01:49.823" v="957"/>
          <ac:spMkLst>
            <pc:docMk/>
            <pc:sldMk cId="2384041345" sldId="2134806422"/>
            <ac:spMk id="90" creationId="{B7473400-2F9A-594D-9CE4-95DE2891E787}"/>
          </ac:spMkLst>
        </pc:spChg>
        <pc:spChg chg="add del mod">
          <ac:chgData name="Cornago, Fernando" userId="048a41c0-cb7a-447c-b2ac-f7c7348706e9" providerId="ADAL" clId="{937591CA-C1D7-784D-9DA8-42716B827479}" dt="2020-06-15T15:01:49.823" v="957"/>
          <ac:spMkLst>
            <pc:docMk/>
            <pc:sldMk cId="2384041345" sldId="2134806422"/>
            <ac:spMk id="91" creationId="{22C51F5B-72D8-4947-B011-E19011F89DED}"/>
          </ac:spMkLst>
        </pc:spChg>
        <pc:spChg chg="add del mod">
          <ac:chgData name="Cornago, Fernando" userId="048a41c0-cb7a-447c-b2ac-f7c7348706e9" providerId="ADAL" clId="{937591CA-C1D7-784D-9DA8-42716B827479}" dt="2020-06-15T15:01:49.823" v="957"/>
          <ac:spMkLst>
            <pc:docMk/>
            <pc:sldMk cId="2384041345" sldId="2134806422"/>
            <ac:spMk id="92" creationId="{C517A782-1F9A-9D42-A6C0-B5FEB8A1FC55}"/>
          </ac:spMkLst>
        </pc:spChg>
        <pc:spChg chg="add del mod">
          <ac:chgData name="Cornago, Fernando" userId="048a41c0-cb7a-447c-b2ac-f7c7348706e9" providerId="ADAL" clId="{937591CA-C1D7-784D-9DA8-42716B827479}" dt="2020-06-15T15:01:49.823" v="957"/>
          <ac:spMkLst>
            <pc:docMk/>
            <pc:sldMk cId="2384041345" sldId="2134806422"/>
            <ac:spMk id="93" creationId="{4D1F31C8-8281-FF4C-A0FB-8FCBC5E6AC08}"/>
          </ac:spMkLst>
        </pc:spChg>
        <pc:spChg chg="add del mod">
          <ac:chgData name="Cornago, Fernando" userId="048a41c0-cb7a-447c-b2ac-f7c7348706e9" providerId="ADAL" clId="{937591CA-C1D7-784D-9DA8-42716B827479}" dt="2020-06-15T15:01:56.720" v="959"/>
          <ac:spMkLst>
            <pc:docMk/>
            <pc:sldMk cId="2384041345" sldId="2134806422"/>
            <ac:spMk id="94" creationId="{EE48A77A-6956-CE4A-B6C1-EE5EE644911E}"/>
          </ac:spMkLst>
        </pc:spChg>
        <pc:spChg chg="add del mod">
          <ac:chgData name="Cornago, Fernando" userId="048a41c0-cb7a-447c-b2ac-f7c7348706e9" providerId="ADAL" clId="{937591CA-C1D7-784D-9DA8-42716B827479}" dt="2020-06-15T15:01:56.720" v="959"/>
          <ac:spMkLst>
            <pc:docMk/>
            <pc:sldMk cId="2384041345" sldId="2134806422"/>
            <ac:spMk id="95" creationId="{36781591-5254-2348-BF0C-1046611FB1A5}"/>
          </ac:spMkLst>
        </pc:spChg>
        <pc:spChg chg="add del mod">
          <ac:chgData name="Cornago, Fernando" userId="048a41c0-cb7a-447c-b2ac-f7c7348706e9" providerId="ADAL" clId="{937591CA-C1D7-784D-9DA8-42716B827479}" dt="2020-06-15T15:01:56.720" v="959"/>
          <ac:spMkLst>
            <pc:docMk/>
            <pc:sldMk cId="2384041345" sldId="2134806422"/>
            <ac:spMk id="96" creationId="{DDA1221D-1D4F-1843-AB19-17B159444125}"/>
          </ac:spMkLst>
        </pc:spChg>
        <pc:spChg chg="add del mod">
          <ac:chgData name="Cornago, Fernando" userId="048a41c0-cb7a-447c-b2ac-f7c7348706e9" providerId="ADAL" clId="{937591CA-C1D7-784D-9DA8-42716B827479}" dt="2020-06-15T15:01:56.720" v="959"/>
          <ac:spMkLst>
            <pc:docMk/>
            <pc:sldMk cId="2384041345" sldId="2134806422"/>
            <ac:spMk id="97" creationId="{65C3DF9D-08AE-BC49-808A-68179E00BB56}"/>
          </ac:spMkLst>
        </pc:spChg>
        <pc:spChg chg="add del mod">
          <ac:chgData name="Cornago, Fernando" userId="048a41c0-cb7a-447c-b2ac-f7c7348706e9" providerId="ADAL" clId="{937591CA-C1D7-784D-9DA8-42716B827479}" dt="2020-06-15T15:01:56.720" v="959"/>
          <ac:spMkLst>
            <pc:docMk/>
            <pc:sldMk cId="2384041345" sldId="2134806422"/>
            <ac:spMk id="98" creationId="{42C320E1-2116-FA47-8344-757E0EC0DF6C}"/>
          </ac:spMkLst>
        </pc:spChg>
        <pc:spChg chg="add del mod">
          <ac:chgData name="Cornago, Fernando" userId="048a41c0-cb7a-447c-b2ac-f7c7348706e9" providerId="ADAL" clId="{937591CA-C1D7-784D-9DA8-42716B827479}" dt="2020-06-15T15:01:56.720" v="959"/>
          <ac:spMkLst>
            <pc:docMk/>
            <pc:sldMk cId="2384041345" sldId="2134806422"/>
            <ac:spMk id="99" creationId="{91550285-4144-D84A-A52F-438C437B6937}"/>
          </ac:spMkLst>
        </pc:spChg>
        <pc:spChg chg="add del mod">
          <ac:chgData name="Cornago, Fernando" userId="048a41c0-cb7a-447c-b2ac-f7c7348706e9" providerId="ADAL" clId="{937591CA-C1D7-784D-9DA8-42716B827479}" dt="2020-06-15T15:01:56.720" v="959"/>
          <ac:spMkLst>
            <pc:docMk/>
            <pc:sldMk cId="2384041345" sldId="2134806422"/>
            <ac:spMk id="100" creationId="{F51CFA1A-2D4E-CC46-8DEA-4BCC46BEA6E4}"/>
          </ac:spMkLst>
        </pc:spChg>
        <pc:spChg chg="add del mod">
          <ac:chgData name="Cornago, Fernando" userId="048a41c0-cb7a-447c-b2ac-f7c7348706e9" providerId="ADAL" clId="{937591CA-C1D7-784D-9DA8-42716B827479}" dt="2020-06-15T15:01:56.720" v="959"/>
          <ac:spMkLst>
            <pc:docMk/>
            <pc:sldMk cId="2384041345" sldId="2134806422"/>
            <ac:spMk id="101" creationId="{9F5CC94D-2EF4-664D-A93D-D90D55934149}"/>
          </ac:spMkLst>
        </pc:spChg>
        <pc:spChg chg="add del mod">
          <ac:chgData name="Cornago, Fernando" userId="048a41c0-cb7a-447c-b2ac-f7c7348706e9" providerId="ADAL" clId="{937591CA-C1D7-784D-9DA8-42716B827479}" dt="2020-06-15T15:01:56.720" v="959"/>
          <ac:spMkLst>
            <pc:docMk/>
            <pc:sldMk cId="2384041345" sldId="2134806422"/>
            <ac:spMk id="102" creationId="{47D56621-C33E-9F4B-9C02-E927D034990C}"/>
          </ac:spMkLst>
        </pc:spChg>
        <pc:spChg chg="add del mod">
          <ac:chgData name="Cornago, Fernando" userId="048a41c0-cb7a-447c-b2ac-f7c7348706e9" providerId="ADAL" clId="{937591CA-C1D7-784D-9DA8-42716B827479}" dt="2020-06-15T15:01:56.720" v="959"/>
          <ac:spMkLst>
            <pc:docMk/>
            <pc:sldMk cId="2384041345" sldId="2134806422"/>
            <ac:spMk id="103" creationId="{59775B2E-4C21-0D40-8733-CAEA542C1253}"/>
          </ac:spMkLst>
        </pc:spChg>
        <pc:spChg chg="add del mod">
          <ac:chgData name="Cornago, Fernando" userId="048a41c0-cb7a-447c-b2ac-f7c7348706e9" providerId="ADAL" clId="{937591CA-C1D7-784D-9DA8-42716B827479}" dt="2020-06-15T15:01:56.720" v="959"/>
          <ac:spMkLst>
            <pc:docMk/>
            <pc:sldMk cId="2384041345" sldId="2134806422"/>
            <ac:spMk id="104" creationId="{80D050E8-7764-3945-A2B3-46B2846ACF9C}"/>
          </ac:spMkLst>
        </pc:spChg>
        <pc:spChg chg="add del mod">
          <ac:chgData name="Cornago, Fernando" userId="048a41c0-cb7a-447c-b2ac-f7c7348706e9" providerId="ADAL" clId="{937591CA-C1D7-784D-9DA8-42716B827479}" dt="2020-06-15T15:01:56.720" v="959"/>
          <ac:spMkLst>
            <pc:docMk/>
            <pc:sldMk cId="2384041345" sldId="2134806422"/>
            <ac:spMk id="105" creationId="{65CFCE25-0DD9-4940-BB34-DC54BC3D4667}"/>
          </ac:spMkLst>
        </pc:spChg>
        <pc:spChg chg="add del mod">
          <ac:chgData name="Cornago, Fernando" userId="048a41c0-cb7a-447c-b2ac-f7c7348706e9" providerId="ADAL" clId="{937591CA-C1D7-784D-9DA8-42716B827479}" dt="2020-06-15T15:01:56.720" v="959"/>
          <ac:spMkLst>
            <pc:docMk/>
            <pc:sldMk cId="2384041345" sldId="2134806422"/>
            <ac:spMk id="106" creationId="{F8B578F6-1C90-1245-BF7F-E04D782CDCE5}"/>
          </ac:spMkLst>
        </pc:spChg>
        <pc:spChg chg="add del mod">
          <ac:chgData name="Cornago, Fernando" userId="048a41c0-cb7a-447c-b2ac-f7c7348706e9" providerId="ADAL" clId="{937591CA-C1D7-784D-9DA8-42716B827479}" dt="2020-06-15T15:01:56.720" v="959"/>
          <ac:spMkLst>
            <pc:docMk/>
            <pc:sldMk cId="2384041345" sldId="2134806422"/>
            <ac:spMk id="107" creationId="{A1C843EF-09DF-E343-8085-E1625501F573}"/>
          </ac:spMkLst>
        </pc:spChg>
        <pc:spChg chg="add del mod">
          <ac:chgData name="Cornago, Fernando" userId="048a41c0-cb7a-447c-b2ac-f7c7348706e9" providerId="ADAL" clId="{937591CA-C1D7-784D-9DA8-42716B827479}" dt="2020-06-15T15:01:56.720" v="959"/>
          <ac:spMkLst>
            <pc:docMk/>
            <pc:sldMk cId="2384041345" sldId="2134806422"/>
            <ac:spMk id="108" creationId="{29F1FB09-330A-514E-87E2-E46CC80F8454}"/>
          </ac:spMkLst>
        </pc:spChg>
        <pc:spChg chg="add del mod">
          <ac:chgData name="Cornago, Fernando" userId="048a41c0-cb7a-447c-b2ac-f7c7348706e9" providerId="ADAL" clId="{937591CA-C1D7-784D-9DA8-42716B827479}" dt="2020-06-15T15:01:56.720" v="959"/>
          <ac:spMkLst>
            <pc:docMk/>
            <pc:sldMk cId="2384041345" sldId="2134806422"/>
            <ac:spMk id="109" creationId="{D1378841-58ED-5349-977F-02B9AC029DFC}"/>
          </ac:spMkLst>
        </pc:spChg>
        <pc:spChg chg="add del mod">
          <ac:chgData name="Cornago, Fernando" userId="048a41c0-cb7a-447c-b2ac-f7c7348706e9" providerId="ADAL" clId="{937591CA-C1D7-784D-9DA8-42716B827479}" dt="2020-06-15T15:01:56.720" v="959"/>
          <ac:spMkLst>
            <pc:docMk/>
            <pc:sldMk cId="2384041345" sldId="2134806422"/>
            <ac:spMk id="110" creationId="{76AC44A5-F980-2B48-A8DB-80C32476C4D1}"/>
          </ac:spMkLst>
        </pc:spChg>
        <pc:spChg chg="add del mod">
          <ac:chgData name="Cornago, Fernando" userId="048a41c0-cb7a-447c-b2ac-f7c7348706e9" providerId="ADAL" clId="{937591CA-C1D7-784D-9DA8-42716B827479}" dt="2020-06-15T15:01:56.720" v="959"/>
          <ac:spMkLst>
            <pc:docMk/>
            <pc:sldMk cId="2384041345" sldId="2134806422"/>
            <ac:spMk id="111" creationId="{06B5A794-1A3C-CF4F-890B-5463804FD42B}"/>
          </ac:spMkLst>
        </pc:spChg>
        <pc:spChg chg="add del mod">
          <ac:chgData name="Cornago, Fernando" userId="048a41c0-cb7a-447c-b2ac-f7c7348706e9" providerId="ADAL" clId="{937591CA-C1D7-784D-9DA8-42716B827479}" dt="2020-06-15T15:01:56.720" v="959"/>
          <ac:spMkLst>
            <pc:docMk/>
            <pc:sldMk cId="2384041345" sldId="2134806422"/>
            <ac:spMk id="112" creationId="{696F8919-0CF4-F048-B209-FA2DDFD04A99}"/>
          </ac:spMkLst>
        </pc:spChg>
        <pc:spChg chg="add del mod">
          <ac:chgData name="Cornago, Fernando" userId="048a41c0-cb7a-447c-b2ac-f7c7348706e9" providerId="ADAL" clId="{937591CA-C1D7-784D-9DA8-42716B827479}" dt="2020-06-15T15:01:56.720" v="959"/>
          <ac:spMkLst>
            <pc:docMk/>
            <pc:sldMk cId="2384041345" sldId="2134806422"/>
            <ac:spMk id="113" creationId="{D7538ADE-9335-C54A-A769-2AA63A3C7ED7}"/>
          </ac:spMkLst>
        </pc:spChg>
        <pc:spChg chg="add del mod">
          <ac:chgData name="Cornago, Fernando" userId="048a41c0-cb7a-447c-b2ac-f7c7348706e9" providerId="ADAL" clId="{937591CA-C1D7-784D-9DA8-42716B827479}" dt="2020-06-15T15:01:56.720" v="959"/>
          <ac:spMkLst>
            <pc:docMk/>
            <pc:sldMk cId="2384041345" sldId="2134806422"/>
            <ac:spMk id="114" creationId="{8B6DE903-6AFB-7747-9F70-E4332BD0CF72}"/>
          </ac:spMkLst>
        </pc:spChg>
        <pc:spChg chg="add del mod">
          <ac:chgData name="Cornago, Fernando" userId="048a41c0-cb7a-447c-b2ac-f7c7348706e9" providerId="ADAL" clId="{937591CA-C1D7-784D-9DA8-42716B827479}" dt="2020-06-15T15:01:56.720" v="959"/>
          <ac:spMkLst>
            <pc:docMk/>
            <pc:sldMk cId="2384041345" sldId="2134806422"/>
            <ac:spMk id="115" creationId="{56D4B5B6-1ADE-9345-B615-EB058924A714}"/>
          </ac:spMkLst>
        </pc:spChg>
        <pc:spChg chg="add del mod">
          <ac:chgData name="Cornago, Fernando" userId="048a41c0-cb7a-447c-b2ac-f7c7348706e9" providerId="ADAL" clId="{937591CA-C1D7-784D-9DA8-42716B827479}" dt="2020-06-15T15:01:56.720" v="959"/>
          <ac:spMkLst>
            <pc:docMk/>
            <pc:sldMk cId="2384041345" sldId="2134806422"/>
            <ac:spMk id="116" creationId="{42FEC99C-85DA-6B4F-B95F-179B1F500344}"/>
          </ac:spMkLst>
        </pc:spChg>
        <pc:spChg chg="add mod">
          <ac:chgData name="Cornago, Fernando" userId="048a41c0-cb7a-447c-b2ac-f7c7348706e9" providerId="ADAL" clId="{937591CA-C1D7-784D-9DA8-42716B827479}" dt="2020-06-15T15:02:01.228" v="962"/>
          <ac:spMkLst>
            <pc:docMk/>
            <pc:sldMk cId="2384041345" sldId="2134806422"/>
            <ac:spMk id="117" creationId="{A9D82D5D-186F-1F43-BF64-CBBE213A7FC2}"/>
          </ac:spMkLst>
        </pc:spChg>
        <pc:spChg chg="add mod">
          <ac:chgData name="Cornago, Fernando" userId="048a41c0-cb7a-447c-b2ac-f7c7348706e9" providerId="ADAL" clId="{937591CA-C1D7-784D-9DA8-42716B827479}" dt="2020-06-15T15:02:01.228" v="962"/>
          <ac:spMkLst>
            <pc:docMk/>
            <pc:sldMk cId="2384041345" sldId="2134806422"/>
            <ac:spMk id="118" creationId="{4EF273CD-BE66-C74A-BA5E-200F48271B25}"/>
          </ac:spMkLst>
        </pc:spChg>
        <pc:spChg chg="add mod">
          <ac:chgData name="Cornago, Fernando" userId="048a41c0-cb7a-447c-b2ac-f7c7348706e9" providerId="ADAL" clId="{937591CA-C1D7-784D-9DA8-42716B827479}" dt="2020-06-15T15:02:01.228" v="962"/>
          <ac:spMkLst>
            <pc:docMk/>
            <pc:sldMk cId="2384041345" sldId="2134806422"/>
            <ac:spMk id="119" creationId="{34721492-305A-B74B-AA54-EC71156867CF}"/>
          </ac:spMkLst>
        </pc:spChg>
        <pc:spChg chg="add mod">
          <ac:chgData name="Cornago, Fernando" userId="048a41c0-cb7a-447c-b2ac-f7c7348706e9" providerId="ADAL" clId="{937591CA-C1D7-784D-9DA8-42716B827479}" dt="2020-06-15T15:02:01.228" v="962"/>
          <ac:spMkLst>
            <pc:docMk/>
            <pc:sldMk cId="2384041345" sldId="2134806422"/>
            <ac:spMk id="120" creationId="{CB0EF1B0-AB86-234F-B426-95FADD8EE27F}"/>
          </ac:spMkLst>
        </pc:spChg>
        <pc:spChg chg="add mod">
          <ac:chgData name="Cornago, Fernando" userId="048a41c0-cb7a-447c-b2ac-f7c7348706e9" providerId="ADAL" clId="{937591CA-C1D7-784D-9DA8-42716B827479}" dt="2020-06-15T15:02:01.228" v="962"/>
          <ac:spMkLst>
            <pc:docMk/>
            <pc:sldMk cId="2384041345" sldId="2134806422"/>
            <ac:spMk id="121" creationId="{9B9E1C40-3DD0-3A41-B95D-02B03216264B}"/>
          </ac:spMkLst>
        </pc:spChg>
        <pc:spChg chg="add mod">
          <ac:chgData name="Cornago, Fernando" userId="048a41c0-cb7a-447c-b2ac-f7c7348706e9" providerId="ADAL" clId="{937591CA-C1D7-784D-9DA8-42716B827479}" dt="2020-06-15T15:02:01.228" v="962"/>
          <ac:spMkLst>
            <pc:docMk/>
            <pc:sldMk cId="2384041345" sldId="2134806422"/>
            <ac:spMk id="122" creationId="{2A21B999-42B1-A541-8509-6497762749FB}"/>
          </ac:spMkLst>
        </pc:spChg>
        <pc:spChg chg="add mod">
          <ac:chgData name="Cornago, Fernando" userId="048a41c0-cb7a-447c-b2ac-f7c7348706e9" providerId="ADAL" clId="{937591CA-C1D7-784D-9DA8-42716B827479}" dt="2020-06-15T15:02:01.228" v="962"/>
          <ac:spMkLst>
            <pc:docMk/>
            <pc:sldMk cId="2384041345" sldId="2134806422"/>
            <ac:spMk id="123" creationId="{7C522CED-CD90-EB46-A5D7-80763A84677F}"/>
          </ac:spMkLst>
        </pc:spChg>
        <pc:spChg chg="add mod">
          <ac:chgData name="Cornago, Fernando" userId="048a41c0-cb7a-447c-b2ac-f7c7348706e9" providerId="ADAL" clId="{937591CA-C1D7-784D-9DA8-42716B827479}" dt="2020-06-15T15:02:01.228" v="962"/>
          <ac:spMkLst>
            <pc:docMk/>
            <pc:sldMk cId="2384041345" sldId="2134806422"/>
            <ac:spMk id="124" creationId="{1EA162E5-EE0D-E540-A4FD-DCB925E958B6}"/>
          </ac:spMkLst>
        </pc:spChg>
        <pc:spChg chg="add mod">
          <ac:chgData name="Cornago, Fernando" userId="048a41c0-cb7a-447c-b2ac-f7c7348706e9" providerId="ADAL" clId="{937591CA-C1D7-784D-9DA8-42716B827479}" dt="2020-06-15T15:02:01.228" v="962"/>
          <ac:spMkLst>
            <pc:docMk/>
            <pc:sldMk cId="2384041345" sldId="2134806422"/>
            <ac:spMk id="125" creationId="{E56BF53D-D0D1-8042-BAD9-E456FF6AAD03}"/>
          </ac:spMkLst>
        </pc:spChg>
        <pc:spChg chg="add mod">
          <ac:chgData name="Cornago, Fernando" userId="048a41c0-cb7a-447c-b2ac-f7c7348706e9" providerId="ADAL" clId="{937591CA-C1D7-784D-9DA8-42716B827479}" dt="2020-06-15T15:02:01.228" v="962"/>
          <ac:spMkLst>
            <pc:docMk/>
            <pc:sldMk cId="2384041345" sldId="2134806422"/>
            <ac:spMk id="126" creationId="{FEEF4757-086E-2D41-A7DF-A51D943F1C86}"/>
          </ac:spMkLst>
        </pc:spChg>
        <pc:spChg chg="add mod">
          <ac:chgData name="Cornago, Fernando" userId="048a41c0-cb7a-447c-b2ac-f7c7348706e9" providerId="ADAL" clId="{937591CA-C1D7-784D-9DA8-42716B827479}" dt="2020-06-15T15:02:01.228" v="962"/>
          <ac:spMkLst>
            <pc:docMk/>
            <pc:sldMk cId="2384041345" sldId="2134806422"/>
            <ac:spMk id="127" creationId="{DE571FC2-8BCA-E545-9841-A030524C5109}"/>
          </ac:spMkLst>
        </pc:spChg>
        <pc:spChg chg="add mod">
          <ac:chgData name="Cornago, Fernando" userId="048a41c0-cb7a-447c-b2ac-f7c7348706e9" providerId="ADAL" clId="{937591CA-C1D7-784D-9DA8-42716B827479}" dt="2020-06-15T15:02:01.228" v="962"/>
          <ac:spMkLst>
            <pc:docMk/>
            <pc:sldMk cId="2384041345" sldId="2134806422"/>
            <ac:spMk id="128" creationId="{1879328D-9F50-8848-9728-8D0EE5A83451}"/>
          </ac:spMkLst>
        </pc:spChg>
        <pc:spChg chg="add mod">
          <ac:chgData name="Cornago, Fernando" userId="048a41c0-cb7a-447c-b2ac-f7c7348706e9" providerId="ADAL" clId="{937591CA-C1D7-784D-9DA8-42716B827479}" dt="2020-06-15T15:02:01.228" v="962"/>
          <ac:spMkLst>
            <pc:docMk/>
            <pc:sldMk cId="2384041345" sldId="2134806422"/>
            <ac:spMk id="129" creationId="{CE31224B-00E2-D94E-8E68-7243B8C31590}"/>
          </ac:spMkLst>
        </pc:spChg>
        <pc:spChg chg="add mod">
          <ac:chgData name="Cornago, Fernando" userId="048a41c0-cb7a-447c-b2ac-f7c7348706e9" providerId="ADAL" clId="{937591CA-C1D7-784D-9DA8-42716B827479}" dt="2020-06-15T15:02:01.228" v="962"/>
          <ac:spMkLst>
            <pc:docMk/>
            <pc:sldMk cId="2384041345" sldId="2134806422"/>
            <ac:spMk id="130" creationId="{1AFF65C3-A2DF-6543-BC62-06BEA0D3DDC7}"/>
          </ac:spMkLst>
        </pc:spChg>
        <pc:spChg chg="add mod">
          <ac:chgData name="Cornago, Fernando" userId="048a41c0-cb7a-447c-b2ac-f7c7348706e9" providerId="ADAL" clId="{937591CA-C1D7-784D-9DA8-42716B827479}" dt="2020-06-15T15:02:01.228" v="962"/>
          <ac:spMkLst>
            <pc:docMk/>
            <pc:sldMk cId="2384041345" sldId="2134806422"/>
            <ac:spMk id="131" creationId="{01E2BB1E-6C77-FC48-8704-D2D66FC43BD1}"/>
          </ac:spMkLst>
        </pc:spChg>
        <pc:spChg chg="add mod">
          <ac:chgData name="Cornago, Fernando" userId="048a41c0-cb7a-447c-b2ac-f7c7348706e9" providerId="ADAL" clId="{937591CA-C1D7-784D-9DA8-42716B827479}" dt="2020-06-15T15:02:01.228" v="962"/>
          <ac:spMkLst>
            <pc:docMk/>
            <pc:sldMk cId="2384041345" sldId="2134806422"/>
            <ac:spMk id="132" creationId="{B7418E69-3617-3848-AA2E-6CB25E3047B3}"/>
          </ac:spMkLst>
        </pc:spChg>
        <pc:spChg chg="add mod">
          <ac:chgData name="Cornago, Fernando" userId="048a41c0-cb7a-447c-b2ac-f7c7348706e9" providerId="ADAL" clId="{937591CA-C1D7-784D-9DA8-42716B827479}" dt="2020-06-15T15:02:01.228" v="962"/>
          <ac:spMkLst>
            <pc:docMk/>
            <pc:sldMk cId="2384041345" sldId="2134806422"/>
            <ac:spMk id="133" creationId="{D8F790E4-83AF-2245-9035-B4DD8812982E}"/>
          </ac:spMkLst>
        </pc:spChg>
        <pc:spChg chg="add mod">
          <ac:chgData name="Cornago, Fernando" userId="048a41c0-cb7a-447c-b2ac-f7c7348706e9" providerId="ADAL" clId="{937591CA-C1D7-784D-9DA8-42716B827479}" dt="2020-06-15T15:02:01.228" v="962"/>
          <ac:spMkLst>
            <pc:docMk/>
            <pc:sldMk cId="2384041345" sldId="2134806422"/>
            <ac:spMk id="134" creationId="{82D08814-80CB-0F4A-8A77-D0665EAAF8AC}"/>
          </ac:spMkLst>
        </pc:spChg>
        <pc:spChg chg="add mod">
          <ac:chgData name="Cornago, Fernando" userId="048a41c0-cb7a-447c-b2ac-f7c7348706e9" providerId="ADAL" clId="{937591CA-C1D7-784D-9DA8-42716B827479}" dt="2020-06-15T15:02:01.228" v="962"/>
          <ac:spMkLst>
            <pc:docMk/>
            <pc:sldMk cId="2384041345" sldId="2134806422"/>
            <ac:spMk id="135" creationId="{68DFD934-B8D9-3B4B-AA78-ECCC040EFAAF}"/>
          </ac:spMkLst>
        </pc:spChg>
        <pc:spChg chg="add mod">
          <ac:chgData name="Cornago, Fernando" userId="048a41c0-cb7a-447c-b2ac-f7c7348706e9" providerId="ADAL" clId="{937591CA-C1D7-784D-9DA8-42716B827479}" dt="2020-06-15T15:02:01.228" v="962"/>
          <ac:spMkLst>
            <pc:docMk/>
            <pc:sldMk cId="2384041345" sldId="2134806422"/>
            <ac:spMk id="136" creationId="{93BA32DA-4AFF-4A4E-8C50-695322C26C10}"/>
          </ac:spMkLst>
        </pc:spChg>
        <pc:spChg chg="add mod">
          <ac:chgData name="Cornago, Fernando" userId="048a41c0-cb7a-447c-b2ac-f7c7348706e9" providerId="ADAL" clId="{937591CA-C1D7-784D-9DA8-42716B827479}" dt="2020-06-15T15:02:01.228" v="962"/>
          <ac:spMkLst>
            <pc:docMk/>
            <pc:sldMk cId="2384041345" sldId="2134806422"/>
            <ac:spMk id="137" creationId="{630CF5F6-778F-8D45-B4D9-D953166364F3}"/>
          </ac:spMkLst>
        </pc:spChg>
        <pc:spChg chg="add mod">
          <ac:chgData name="Cornago, Fernando" userId="048a41c0-cb7a-447c-b2ac-f7c7348706e9" providerId="ADAL" clId="{937591CA-C1D7-784D-9DA8-42716B827479}" dt="2020-06-15T15:02:01.228" v="962"/>
          <ac:spMkLst>
            <pc:docMk/>
            <pc:sldMk cId="2384041345" sldId="2134806422"/>
            <ac:spMk id="138" creationId="{ED0E8AE3-B12B-AE40-BC0F-3DBB49C4E545}"/>
          </ac:spMkLst>
        </pc:spChg>
        <pc:spChg chg="add mod">
          <ac:chgData name="Cornago, Fernando" userId="048a41c0-cb7a-447c-b2ac-f7c7348706e9" providerId="ADAL" clId="{937591CA-C1D7-784D-9DA8-42716B827479}" dt="2020-06-15T15:02:01.228" v="962"/>
          <ac:spMkLst>
            <pc:docMk/>
            <pc:sldMk cId="2384041345" sldId="2134806422"/>
            <ac:spMk id="139" creationId="{B1AD0FBA-E5D5-9547-81FB-9F32D751895B}"/>
          </ac:spMkLst>
        </pc:spChg>
        <pc:grpChg chg="del">
          <ac:chgData name="Cornago, Fernando" userId="048a41c0-cb7a-447c-b2ac-f7c7348706e9" providerId="ADAL" clId="{937591CA-C1D7-784D-9DA8-42716B827479}" dt="2020-06-15T15:00:42.410" v="951" actId="478"/>
          <ac:grpSpMkLst>
            <pc:docMk/>
            <pc:sldMk cId="2384041345" sldId="2134806422"/>
            <ac:grpSpMk id="42" creationId="{C1498875-46C0-435A-BCEC-348EE3A4CF90}"/>
          </ac:grpSpMkLst>
        </pc:grpChg>
        <pc:picChg chg="add del">
          <ac:chgData name="Cornago, Fernando" userId="048a41c0-cb7a-447c-b2ac-f7c7348706e9" providerId="ADAL" clId="{937591CA-C1D7-784D-9DA8-42716B827479}" dt="2020-06-15T15:01:59.558" v="961"/>
          <ac:picMkLst>
            <pc:docMk/>
            <pc:sldMk cId="2384041345" sldId="2134806422"/>
            <ac:picMk id="3" creationId="{0EAD0E50-A8A3-9240-988E-6EEC17433E45}"/>
          </ac:picMkLst>
        </pc:picChg>
        <pc:picChg chg="del">
          <ac:chgData name="Cornago, Fernando" userId="048a41c0-cb7a-447c-b2ac-f7c7348706e9" providerId="ADAL" clId="{937591CA-C1D7-784D-9DA8-42716B827479}" dt="2020-06-15T15:00:42.410" v="951" actId="478"/>
          <ac:picMkLst>
            <pc:docMk/>
            <pc:sldMk cId="2384041345" sldId="2134806422"/>
            <ac:picMk id="45" creationId="{E7661F3A-8EAF-0C40-BD5E-484AF53CFA2E}"/>
          </ac:picMkLst>
        </pc:picChg>
        <pc:picChg chg="del">
          <ac:chgData name="Cornago, Fernando" userId="048a41c0-cb7a-447c-b2ac-f7c7348706e9" providerId="ADAL" clId="{937591CA-C1D7-784D-9DA8-42716B827479}" dt="2020-06-15T15:00:42.410" v="951" actId="478"/>
          <ac:picMkLst>
            <pc:docMk/>
            <pc:sldMk cId="2384041345" sldId="2134806422"/>
            <ac:picMk id="50" creationId="{8F4CAE63-0457-48E0-840D-EDDF704AC798}"/>
          </ac:picMkLst>
        </pc:picChg>
        <pc:picChg chg="del">
          <ac:chgData name="Cornago, Fernando" userId="048a41c0-cb7a-447c-b2ac-f7c7348706e9" providerId="ADAL" clId="{937591CA-C1D7-784D-9DA8-42716B827479}" dt="2020-06-15T15:00:42.410" v="951" actId="478"/>
          <ac:picMkLst>
            <pc:docMk/>
            <pc:sldMk cId="2384041345" sldId="2134806422"/>
            <ac:picMk id="52" creationId="{7DD552B3-16AB-48FE-8D77-8C43A7966709}"/>
          </ac:picMkLst>
        </pc:picChg>
        <pc:picChg chg="del">
          <ac:chgData name="Cornago, Fernando" userId="048a41c0-cb7a-447c-b2ac-f7c7348706e9" providerId="ADAL" clId="{937591CA-C1D7-784D-9DA8-42716B827479}" dt="2020-06-15T15:00:42.410" v="951" actId="478"/>
          <ac:picMkLst>
            <pc:docMk/>
            <pc:sldMk cId="2384041345" sldId="2134806422"/>
            <ac:picMk id="53" creationId="{595EB526-C6E9-4111-9DDB-EB9137C3E7BB}"/>
          </ac:picMkLst>
        </pc:picChg>
        <pc:picChg chg="del">
          <ac:chgData name="Cornago, Fernando" userId="048a41c0-cb7a-447c-b2ac-f7c7348706e9" providerId="ADAL" clId="{937591CA-C1D7-784D-9DA8-42716B827479}" dt="2020-06-15T15:00:42.410" v="951" actId="478"/>
          <ac:picMkLst>
            <pc:docMk/>
            <pc:sldMk cId="2384041345" sldId="2134806422"/>
            <ac:picMk id="54" creationId="{1973C54B-8A37-484B-8C65-9D10D35391AF}"/>
          </ac:picMkLst>
        </pc:picChg>
        <pc:cxnChg chg="del">
          <ac:chgData name="Cornago, Fernando" userId="048a41c0-cb7a-447c-b2ac-f7c7348706e9" providerId="ADAL" clId="{937591CA-C1D7-784D-9DA8-42716B827479}" dt="2020-06-15T15:00:42.410" v="951" actId="478"/>
          <ac:cxnSpMkLst>
            <pc:docMk/>
            <pc:sldMk cId="2384041345" sldId="2134806422"/>
            <ac:cxnSpMk id="8" creationId="{5F1B4FB2-4CBF-4281-BA8C-DD56A2F84697}"/>
          </ac:cxnSpMkLst>
        </pc:cxnChg>
        <pc:cxnChg chg="del">
          <ac:chgData name="Cornago, Fernando" userId="048a41c0-cb7a-447c-b2ac-f7c7348706e9" providerId="ADAL" clId="{937591CA-C1D7-784D-9DA8-42716B827479}" dt="2020-06-15T15:00:42.410" v="951" actId="478"/>
          <ac:cxnSpMkLst>
            <pc:docMk/>
            <pc:sldMk cId="2384041345" sldId="2134806422"/>
            <ac:cxnSpMk id="34" creationId="{509C6095-5D9B-4ADB-9A5C-300F69A3A7D5}"/>
          </ac:cxnSpMkLst>
        </pc:cxnChg>
        <pc:cxnChg chg="del">
          <ac:chgData name="Cornago, Fernando" userId="048a41c0-cb7a-447c-b2ac-f7c7348706e9" providerId="ADAL" clId="{937591CA-C1D7-784D-9DA8-42716B827479}" dt="2020-06-15T15:00:42.410" v="951" actId="478"/>
          <ac:cxnSpMkLst>
            <pc:docMk/>
            <pc:sldMk cId="2384041345" sldId="2134806422"/>
            <ac:cxnSpMk id="37" creationId="{FCDF4723-21BF-4136-8110-AE5A1EFC3D59}"/>
          </ac:cxnSpMkLst>
        </pc:cxnChg>
      </pc:sldChg>
      <pc:sldChg chg="addSp delSp modSp new del">
        <pc:chgData name="Cornago, Fernando" userId="048a41c0-cb7a-447c-b2ac-f7c7348706e9" providerId="ADAL" clId="{937591CA-C1D7-784D-9DA8-42716B827479}" dt="2020-06-15T14:57:53.313" v="919" actId="2696"/>
        <pc:sldMkLst>
          <pc:docMk/>
          <pc:sldMk cId="2989162029" sldId="2134806422"/>
        </pc:sldMkLst>
        <pc:spChg chg="mod">
          <ac:chgData name="Cornago, Fernando" userId="048a41c0-cb7a-447c-b2ac-f7c7348706e9" providerId="ADAL" clId="{937591CA-C1D7-784D-9DA8-42716B827479}" dt="2020-06-15T14:55:16.927" v="902"/>
          <ac:spMkLst>
            <pc:docMk/>
            <pc:sldMk cId="2989162029" sldId="2134806422"/>
            <ac:spMk id="7" creationId="{E4EF4B97-8A6D-0D4E-A0D8-CA7F4A119206}"/>
          </ac:spMkLst>
        </pc:spChg>
        <pc:spChg chg="mod">
          <ac:chgData name="Cornago, Fernando" userId="048a41c0-cb7a-447c-b2ac-f7c7348706e9" providerId="ADAL" clId="{937591CA-C1D7-784D-9DA8-42716B827479}" dt="2020-06-15T14:55:16.927" v="902"/>
          <ac:spMkLst>
            <pc:docMk/>
            <pc:sldMk cId="2989162029" sldId="2134806422"/>
            <ac:spMk id="8" creationId="{09180A70-755F-8940-B094-3047C03DD1D2}"/>
          </ac:spMkLst>
        </pc:spChg>
        <pc:spChg chg="mod">
          <ac:chgData name="Cornago, Fernando" userId="048a41c0-cb7a-447c-b2ac-f7c7348706e9" providerId="ADAL" clId="{937591CA-C1D7-784D-9DA8-42716B827479}" dt="2020-06-15T14:55:16.927" v="902"/>
          <ac:spMkLst>
            <pc:docMk/>
            <pc:sldMk cId="2989162029" sldId="2134806422"/>
            <ac:spMk id="9" creationId="{A9A1F52C-CED5-CB4D-A14C-3DF9C5370CF6}"/>
          </ac:spMkLst>
        </pc:spChg>
        <pc:spChg chg="mod">
          <ac:chgData name="Cornago, Fernando" userId="048a41c0-cb7a-447c-b2ac-f7c7348706e9" providerId="ADAL" clId="{937591CA-C1D7-784D-9DA8-42716B827479}" dt="2020-06-15T14:55:16.927" v="902"/>
          <ac:spMkLst>
            <pc:docMk/>
            <pc:sldMk cId="2989162029" sldId="2134806422"/>
            <ac:spMk id="10" creationId="{312616EF-C596-364F-8F0F-444EDDFE1F21}"/>
          </ac:spMkLst>
        </pc:spChg>
        <pc:spChg chg="mod">
          <ac:chgData name="Cornago, Fernando" userId="048a41c0-cb7a-447c-b2ac-f7c7348706e9" providerId="ADAL" clId="{937591CA-C1D7-784D-9DA8-42716B827479}" dt="2020-06-15T14:55:16.927" v="902"/>
          <ac:spMkLst>
            <pc:docMk/>
            <pc:sldMk cId="2989162029" sldId="2134806422"/>
            <ac:spMk id="11" creationId="{F93ACE4B-A877-4942-82F1-8DEB5469C0F0}"/>
          </ac:spMkLst>
        </pc:spChg>
        <pc:spChg chg="mod">
          <ac:chgData name="Cornago, Fernando" userId="048a41c0-cb7a-447c-b2ac-f7c7348706e9" providerId="ADAL" clId="{937591CA-C1D7-784D-9DA8-42716B827479}" dt="2020-06-15T14:55:16.927" v="902"/>
          <ac:spMkLst>
            <pc:docMk/>
            <pc:sldMk cId="2989162029" sldId="2134806422"/>
            <ac:spMk id="14" creationId="{3F529F19-BB46-9D4D-AAA3-87C506080992}"/>
          </ac:spMkLst>
        </pc:spChg>
        <pc:spChg chg="mod">
          <ac:chgData name="Cornago, Fernando" userId="048a41c0-cb7a-447c-b2ac-f7c7348706e9" providerId="ADAL" clId="{937591CA-C1D7-784D-9DA8-42716B827479}" dt="2020-06-15T14:55:16.927" v="902"/>
          <ac:spMkLst>
            <pc:docMk/>
            <pc:sldMk cId="2989162029" sldId="2134806422"/>
            <ac:spMk id="15" creationId="{95FAF05B-14E1-214E-A548-8E570C0CF2BA}"/>
          </ac:spMkLst>
        </pc:spChg>
        <pc:spChg chg="mod">
          <ac:chgData name="Cornago, Fernando" userId="048a41c0-cb7a-447c-b2ac-f7c7348706e9" providerId="ADAL" clId="{937591CA-C1D7-784D-9DA8-42716B827479}" dt="2020-06-15T14:55:16.927" v="902"/>
          <ac:spMkLst>
            <pc:docMk/>
            <pc:sldMk cId="2989162029" sldId="2134806422"/>
            <ac:spMk id="16" creationId="{178FD807-B759-334A-9BD3-13FCEA83C77D}"/>
          </ac:spMkLst>
        </pc:spChg>
        <pc:spChg chg="mod">
          <ac:chgData name="Cornago, Fernando" userId="048a41c0-cb7a-447c-b2ac-f7c7348706e9" providerId="ADAL" clId="{937591CA-C1D7-784D-9DA8-42716B827479}" dt="2020-06-15T14:55:16.927" v="902"/>
          <ac:spMkLst>
            <pc:docMk/>
            <pc:sldMk cId="2989162029" sldId="2134806422"/>
            <ac:spMk id="17" creationId="{75557058-4744-634D-A96E-87A1B4B3CAE1}"/>
          </ac:spMkLst>
        </pc:spChg>
        <pc:spChg chg="mod">
          <ac:chgData name="Cornago, Fernando" userId="048a41c0-cb7a-447c-b2ac-f7c7348706e9" providerId="ADAL" clId="{937591CA-C1D7-784D-9DA8-42716B827479}" dt="2020-06-15T14:57:03.176" v="908"/>
          <ac:spMkLst>
            <pc:docMk/>
            <pc:sldMk cId="2989162029" sldId="2134806422"/>
            <ac:spMk id="19" creationId="{8CF289B7-F821-3743-B409-7EE99ED20943}"/>
          </ac:spMkLst>
        </pc:spChg>
        <pc:spChg chg="mod">
          <ac:chgData name="Cornago, Fernando" userId="048a41c0-cb7a-447c-b2ac-f7c7348706e9" providerId="ADAL" clId="{937591CA-C1D7-784D-9DA8-42716B827479}" dt="2020-06-15T14:57:03.176" v="908"/>
          <ac:spMkLst>
            <pc:docMk/>
            <pc:sldMk cId="2989162029" sldId="2134806422"/>
            <ac:spMk id="20" creationId="{B057DF04-59D8-1442-B139-3FDF492FE6E3}"/>
          </ac:spMkLst>
        </pc:spChg>
        <pc:spChg chg="mod">
          <ac:chgData name="Cornago, Fernando" userId="048a41c0-cb7a-447c-b2ac-f7c7348706e9" providerId="ADAL" clId="{937591CA-C1D7-784D-9DA8-42716B827479}" dt="2020-06-15T14:57:03.176" v="908"/>
          <ac:spMkLst>
            <pc:docMk/>
            <pc:sldMk cId="2989162029" sldId="2134806422"/>
            <ac:spMk id="21" creationId="{251CFF18-A61D-7E49-804D-E3771739B846}"/>
          </ac:spMkLst>
        </pc:spChg>
        <pc:spChg chg="mod">
          <ac:chgData name="Cornago, Fernando" userId="048a41c0-cb7a-447c-b2ac-f7c7348706e9" providerId="ADAL" clId="{937591CA-C1D7-784D-9DA8-42716B827479}" dt="2020-06-15T14:57:03.176" v="908"/>
          <ac:spMkLst>
            <pc:docMk/>
            <pc:sldMk cId="2989162029" sldId="2134806422"/>
            <ac:spMk id="22" creationId="{A0886E34-A903-8042-9B3E-6E993B6B2F13}"/>
          </ac:spMkLst>
        </pc:spChg>
        <pc:spChg chg="mod">
          <ac:chgData name="Cornago, Fernando" userId="048a41c0-cb7a-447c-b2ac-f7c7348706e9" providerId="ADAL" clId="{937591CA-C1D7-784D-9DA8-42716B827479}" dt="2020-06-15T14:57:03.176" v="908"/>
          <ac:spMkLst>
            <pc:docMk/>
            <pc:sldMk cId="2989162029" sldId="2134806422"/>
            <ac:spMk id="23" creationId="{5218E286-A194-7B4E-BA22-12A65F85843E}"/>
          </ac:spMkLst>
        </pc:spChg>
        <pc:spChg chg="mod">
          <ac:chgData name="Cornago, Fernando" userId="048a41c0-cb7a-447c-b2ac-f7c7348706e9" providerId="ADAL" clId="{937591CA-C1D7-784D-9DA8-42716B827479}" dt="2020-06-15T14:57:03.176" v="908"/>
          <ac:spMkLst>
            <pc:docMk/>
            <pc:sldMk cId="2989162029" sldId="2134806422"/>
            <ac:spMk id="26" creationId="{6C9AF889-48BF-0746-85B4-841EFDA8D4D9}"/>
          </ac:spMkLst>
        </pc:spChg>
        <pc:spChg chg="mod">
          <ac:chgData name="Cornago, Fernando" userId="048a41c0-cb7a-447c-b2ac-f7c7348706e9" providerId="ADAL" clId="{937591CA-C1D7-784D-9DA8-42716B827479}" dt="2020-06-15T14:57:03.176" v="908"/>
          <ac:spMkLst>
            <pc:docMk/>
            <pc:sldMk cId="2989162029" sldId="2134806422"/>
            <ac:spMk id="27" creationId="{F439F411-47C8-C244-B925-F915A32A331B}"/>
          </ac:spMkLst>
        </pc:spChg>
        <pc:spChg chg="mod">
          <ac:chgData name="Cornago, Fernando" userId="048a41c0-cb7a-447c-b2ac-f7c7348706e9" providerId="ADAL" clId="{937591CA-C1D7-784D-9DA8-42716B827479}" dt="2020-06-15T14:57:03.176" v="908"/>
          <ac:spMkLst>
            <pc:docMk/>
            <pc:sldMk cId="2989162029" sldId="2134806422"/>
            <ac:spMk id="28" creationId="{E7DEA85B-1873-C54F-912D-B36ED7F7D380}"/>
          </ac:spMkLst>
        </pc:spChg>
        <pc:spChg chg="mod">
          <ac:chgData name="Cornago, Fernando" userId="048a41c0-cb7a-447c-b2ac-f7c7348706e9" providerId="ADAL" clId="{937591CA-C1D7-784D-9DA8-42716B827479}" dt="2020-06-15T14:57:03.176" v="908"/>
          <ac:spMkLst>
            <pc:docMk/>
            <pc:sldMk cId="2989162029" sldId="2134806422"/>
            <ac:spMk id="29" creationId="{09E80B62-01F6-8B4E-B34B-16E815513CA3}"/>
          </ac:spMkLst>
        </pc:spChg>
        <pc:grpChg chg="add mod">
          <ac:chgData name="Cornago, Fernando" userId="048a41c0-cb7a-447c-b2ac-f7c7348706e9" providerId="ADAL" clId="{937591CA-C1D7-784D-9DA8-42716B827479}" dt="2020-06-15T14:55:29.672" v="904" actId="14100"/>
          <ac:grpSpMkLst>
            <pc:docMk/>
            <pc:sldMk cId="2989162029" sldId="2134806422"/>
            <ac:grpSpMk id="6" creationId="{7D0AD1DD-88FE-F84B-977B-983D87B7F7F1}"/>
          </ac:grpSpMkLst>
        </pc:grpChg>
        <pc:grpChg chg="mod">
          <ac:chgData name="Cornago, Fernando" userId="048a41c0-cb7a-447c-b2ac-f7c7348706e9" providerId="ADAL" clId="{937591CA-C1D7-784D-9DA8-42716B827479}" dt="2020-06-15T14:55:16.927" v="902"/>
          <ac:grpSpMkLst>
            <pc:docMk/>
            <pc:sldMk cId="2989162029" sldId="2134806422"/>
            <ac:grpSpMk id="12" creationId="{1F8D266C-1F9A-A04A-9812-64AE5D25EB83}"/>
          </ac:grpSpMkLst>
        </pc:grpChg>
        <pc:grpChg chg="mod">
          <ac:chgData name="Cornago, Fernando" userId="048a41c0-cb7a-447c-b2ac-f7c7348706e9" providerId="ADAL" clId="{937591CA-C1D7-784D-9DA8-42716B827479}" dt="2020-06-15T14:55:16.927" v="902"/>
          <ac:grpSpMkLst>
            <pc:docMk/>
            <pc:sldMk cId="2989162029" sldId="2134806422"/>
            <ac:grpSpMk id="13" creationId="{EBDA013D-BE48-4E41-BEC2-6136CB0715DA}"/>
          </ac:grpSpMkLst>
        </pc:grpChg>
        <pc:grpChg chg="add del mod">
          <ac:chgData name="Cornago, Fernando" userId="048a41c0-cb7a-447c-b2ac-f7c7348706e9" providerId="ADAL" clId="{937591CA-C1D7-784D-9DA8-42716B827479}" dt="2020-06-15T14:57:05.363" v="909"/>
          <ac:grpSpMkLst>
            <pc:docMk/>
            <pc:sldMk cId="2989162029" sldId="2134806422"/>
            <ac:grpSpMk id="18" creationId="{CB2308B0-03C6-DB41-8ACC-B7CE5C393526}"/>
          </ac:grpSpMkLst>
        </pc:grpChg>
        <pc:grpChg chg="mod">
          <ac:chgData name="Cornago, Fernando" userId="048a41c0-cb7a-447c-b2ac-f7c7348706e9" providerId="ADAL" clId="{937591CA-C1D7-784D-9DA8-42716B827479}" dt="2020-06-15T14:57:03.176" v="908"/>
          <ac:grpSpMkLst>
            <pc:docMk/>
            <pc:sldMk cId="2989162029" sldId="2134806422"/>
            <ac:grpSpMk id="24" creationId="{C358AD2A-3ABD-104F-A641-665BF3C8E876}"/>
          </ac:grpSpMkLst>
        </pc:grpChg>
        <pc:grpChg chg="mod">
          <ac:chgData name="Cornago, Fernando" userId="048a41c0-cb7a-447c-b2ac-f7c7348706e9" providerId="ADAL" clId="{937591CA-C1D7-784D-9DA8-42716B827479}" dt="2020-06-15T14:57:03.176" v="908"/>
          <ac:grpSpMkLst>
            <pc:docMk/>
            <pc:sldMk cId="2989162029" sldId="2134806422"/>
            <ac:grpSpMk id="25" creationId="{A9860C45-385A-0049-8D55-AB250A4BC28B}"/>
          </ac:grpSpMkLst>
        </pc:grpChg>
        <pc:picChg chg="add del">
          <ac:chgData name="Cornago, Fernando" userId="048a41c0-cb7a-447c-b2ac-f7c7348706e9" providerId="ADAL" clId="{937591CA-C1D7-784D-9DA8-42716B827479}" dt="2020-06-15T14:57:06.933" v="911" actId="21"/>
          <ac:picMkLst>
            <pc:docMk/>
            <pc:sldMk cId="2989162029" sldId="2134806422"/>
            <ac:picMk id="30" creationId="{2AA75A6B-340B-E74E-ACEC-A72C48DA0438}"/>
          </ac:picMkLst>
        </pc:picChg>
      </pc:sldChg>
      <pc:sldChg chg="addSp delSp modSp new ord modNotesTx">
        <pc:chgData name="Cornago, Fernando" userId="048a41c0-cb7a-447c-b2ac-f7c7348706e9" providerId="ADAL" clId="{937591CA-C1D7-784D-9DA8-42716B827479}" dt="2020-06-17T06:36:45.437" v="14447" actId="20577"/>
        <pc:sldMkLst>
          <pc:docMk/>
          <pc:sldMk cId="1649412314" sldId="2134806423"/>
        </pc:sldMkLst>
        <pc:spChg chg="mod">
          <ac:chgData name="Cornago, Fernando" userId="048a41c0-cb7a-447c-b2ac-f7c7348706e9" providerId="ADAL" clId="{937591CA-C1D7-784D-9DA8-42716B827479}" dt="2020-06-16T04:03:01.165" v="1178" actId="1076"/>
          <ac:spMkLst>
            <pc:docMk/>
            <pc:sldMk cId="1649412314" sldId="2134806423"/>
            <ac:spMk id="2" creationId="{ABECF0D3-A745-8843-B980-4C43AA6E10E7}"/>
          </ac:spMkLst>
        </pc:spChg>
        <pc:spChg chg="del">
          <ac:chgData name="Cornago, Fernando" userId="048a41c0-cb7a-447c-b2ac-f7c7348706e9" providerId="ADAL" clId="{937591CA-C1D7-784D-9DA8-42716B827479}" dt="2020-06-15T15:06:20.958" v="966" actId="478"/>
          <ac:spMkLst>
            <pc:docMk/>
            <pc:sldMk cId="1649412314" sldId="2134806423"/>
            <ac:spMk id="6" creationId="{CE417E2E-DC82-EF48-98AD-6080E8A9483E}"/>
          </ac:spMkLst>
        </pc:spChg>
        <pc:spChg chg="add del mod">
          <ac:chgData name="Cornago, Fernando" userId="048a41c0-cb7a-447c-b2ac-f7c7348706e9" providerId="ADAL" clId="{937591CA-C1D7-784D-9DA8-42716B827479}" dt="2020-06-16T04:02:20.419" v="1167" actId="478"/>
          <ac:spMkLst>
            <pc:docMk/>
            <pc:sldMk cId="1649412314" sldId="2134806423"/>
            <ac:spMk id="7" creationId="{CDFB4F91-578D-834E-9890-9AD2278D41DC}"/>
          </ac:spMkLst>
        </pc:spChg>
        <pc:spChg chg="mod">
          <ac:chgData name="Cornago, Fernando" userId="048a41c0-cb7a-447c-b2ac-f7c7348706e9" providerId="ADAL" clId="{937591CA-C1D7-784D-9DA8-42716B827479}" dt="2020-06-15T15:06:11.582" v="964"/>
          <ac:spMkLst>
            <pc:docMk/>
            <pc:sldMk cId="1649412314" sldId="2134806423"/>
            <ac:spMk id="9" creationId="{8CF68751-55A4-A04A-8122-8EDF30B21D94}"/>
          </ac:spMkLst>
        </pc:spChg>
        <pc:spChg chg="mod">
          <ac:chgData name="Cornago, Fernando" userId="048a41c0-cb7a-447c-b2ac-f7c7348706e9" providerId="ADAL" clId="{937591CA-C1D7-784D-9DA8-42716B827479}" dt="2020-06-15T15:06:11.582" v="964"/>
          <ac:spMkLst>
            <pc:docMk/>
            <pc:sldMk cId="1649412314" sldId="2134806423"/>
            <ac:spMk id="10" creationId="{EB3C9C00-7D2B-854A-AC3B-661B73BC0DF7}"/>
          </ac:spMkLst>
        </pc:spChg>
        <pc:spChg chg="mod">
          <ac:chgData name="Cornago, Fernando" userId="048a41c0-cb7a-447c-b2ac-f7c7348706e9" providerId="ADAL" clId="{937591CA-C1D7-784D-9DA8-42716B827479}" dt="2020-06-15T15:06:11.582" v="964"/>
          <ac:spMkLst>
            <pc:docMk/>
            <pc:sldMk cId="1649412314" sldId="2134806423"/>
            <ac:spMk id="12" creationId="{1496B293-9B56-8041-9F2A-27D3E16ECCB3}"/>
          </ac:spMkLst>
        </pc:spChg>
        <pc:spChg chg="mod">
          <ac:chgData name="Cornago, Fernando" userId="048a41c0-cb7a-447c-b2ac-f7c7348706e9" providerId="ADAL" clId="{937591CA-C1D7-784D-9DA8-42716B827479}" dt="2020-06-15T15:06:11.582" v="964"/>
          <ac:spMkLst>
            <pc:docMk/>
            <pc:sldMk cId="1649412314" sldId="2134806423"/>
            <ac:spMk id="13" creationId="{19D45B6F-1DF9-B145-A6ED-5EBE6BC14AD9}"/>
          </ac:spMkLst>
        </pc:spChg>
        <pc:spChg chg="add del mod">
          <ac:chgData name="Cornago, Fernando" userId="048a41c0-cb7a-447c-b2ac-f7c7348706e9" providerId="ADAL" clId="{937591CA-C1D7-784D-9DA8-42716B827479}" dt="2020-06-15T15:07:52.591" v="1032" actId="478"/>
          <ac:spMkLst>
            <pc:docMk/>
            <pc:sldMk cId="1649412314" sldId="2134806423"/>
            <ac:spMk id="14" creationId="{49534CBA-E581-9E40-BDD9-A81DA569FB66}"/>
          </ac:spMkLst>
        </pc:spChg>
        <pc:spChg chg="add del mod">
          <ac:chgData name="Cornago, Fernando" userId="048a41c0-cb7a-447c-b2ac-f7c7348706e9" providerId="ADAL" clId="{937591CA-C1D7-784D-9DA8-42716B827479}" dt="2020-06-15T15:07:52.591" v="1032" actId="478"/>
          <ac:spMkLst>
            <pc:docMk/>
            <pc:sldMk cId="1649412314" sldId="2134806423"/>
            <ac:spMk id="15" creationId="{00F3E497-ADA0-C74F-BC50-A63D2C6F63CB}"/>
          </ac:spMkLst>
        </pc:spChg>
        <pc:spChg chg="add del mod">
          <ac:chgData name="Cornago, Fernando" userId="048a41c0-cb7a-447c-b2ac-f7c7348706e9" providerId="ADAL" clId="{937591CA-C1D7-784D-9DA8-42716B827479}" dt="2020-06-16T04:02:20.419" v="1167" actId="478"/>
          <ac:spMkLst>
            <pc:docMk/>
            <pc:sldMk cId="1649412314" sldId="2134806423"/>
            <ac:spMk id="16" creationId="{2955B2D2-B6CA-664D-A220-B01B8FB3643C}"/>
          </ac:spMkLst>
        </pc:spChg>
        <pc:spChg chg="add del mod">
          <ac:chgData name="Cornago, Fernando" userId="048a41c0-cb7a-447c-b2ac-f7c7348706e9" providerId="ADAL" clId="{937591CA-C1D7-784D-9DA8-42716B827479}" dt="2020-06-16T04:02:20.419" v="1167" actId="478"/>
          <ac:spMkLst>
            <pc:docMk/>
            <pc:sldMk cId="1649412314" sldId="2134806423"/>
            <ac:spMk id="17" creationId="{4597B162-9413-DD4B-B715-8CFFF628D4D9}"/>
          </ac:spMkLst>
        </pc:spChg>
        <pc:spChg chg="add del mod">
          <ac:chgData name="Cornago, Fernando" userId="048a41c0-cb7a-447c-b2ac-f7c7348706e9" providerId="ADAL" clId="{937591CA-C1D7-784D-9DA8-42716B827479}" dt="2020-06-16T04:02:20.419" v="1167" actId="478"/>
          <ac:spMkLst>
            <pc:docMk/>
            <pc:sldMk cId="1649412314" sldId="2134806423"/>
            <ac:spMk id="18" creationId="{A4517A80-9CC0-E84A-AAD1-3B4B4E78A507}"/>
          </ac:spMkLst>
        </pc:spChg>
        <pc:spChg chg="add del mod">
          <ac:chgData name="Cornago, Fernando" userId="048a41c0-cb7a-447c-b2ac-f7c7348706e9" providerId="ADAL" clId="{937591CA-C1D7-784D-9DA8-42716B827479}" dt="2020-06-16T04:02:20.419" v="1167" actId="478"/>
          <ac:spMkLst>
            <pc:docMk/>
            <pc:sldMk cId="1649412314" sldId="2134806423"/>
            <ac:spMk id="19" creationId="{1A8E602C-D879-7E4E-98B6-E204AD1B4693}"/>
          </ac:spMkLst>
        </pc:spChg>
        <pc:spChg chg="add del mod">
          <ac:chgData name="Cornago, Fernando" userId="048a41c0-cb7a-447c-b2ac-f7c7348706e9" providerId="ADAL" clId="{937591CA-C1D7-784D-9DA8-42716B827479}" dt="2020-06-16T04:02:20.419" v="1167" actId="478"/>
          <ac:spMkLst>
            <pc:docMk/>
            <pc:sldMk cId="1649412314" sldId="2134806423"/>
            <ac:spMk id="20" creationId="{D39FBD73-747B-AD4F-8FCE-F07341C02491}"/>
          </ac:spMkLst>
        </pc:spChg>
        <pc:spChg chg="add del mod">
          <ac:chgData name="Cornago, Fernando" userId="048a41c0-cb7a-447c-b2ac-f7c7348706e9" providerId="ADAL" clId="{937591CA-C1D7-784D-9DA8-42716B827479}" dt="2020-06-16T04:02:20.419" v="1167" actId="478"/>
          <ac:spMkLst>
            <pc:docMk/>
            <pc:sldMk cId="1649412314" sldId="2134806423"/>
            <ac:spMk id="21" creationId="{374457ED-B6E1-1B41-81F0-93AEEDA4B327}"/>
          </ac:spMkLst>
        </pc:spChg>
        <pc:spChg chg="add del mod">
          <ac:chgData name="Cornago, Fernando" userId="048a41c0-cb7a-447c-b2ac-f7c7348706e9" providerId="ADAL" clId="{937591CA-C1D7-784D-9DA8-42716B827479}" dt="2020-06-16T04:02:20.419" v="1167" actId="478"/>
          <ac:spMkLst>
            <pc:docMk/>
            <pc:sldMk cId="1649412314" sldId="2134806423"/>
            <ac:spMk id="22" creationId="{5764D958-9F93-DE48-8D2D-4057B483F46D}"/>
          </ac:spMkLst>
        </pc:spChg>
        <pc:spChg chg="add del mod">
          <ac:chgData name="Cornago, Fernando" userId="048a41c0-cb7a-447c-b2ac-f7c7348706e9" providerId="ADAL" clId="{937591CA-C1D7-784D-9DA8-42716B827479}" dt="2020-06-16T04:02:20.419" v="1167" actId="478"/>
          <ac:spMkLst>
            <pc:docMk/>
            <pc:sldMk cId="1649412314" sldId="2134806423"/>
            <ac:spMk id="23" creationId="{BB3D6E21-C36D-964C-974E-825F3FB122EF}"/>
          </ac:spMkLst>
        </pc:spChg>
        <pc:spChg chg="add del mod">
          <ac:chgData name="Cornago, Fernando" userId="048a41c0-cb7a-447c-b2ac-f7c7348706e9" providerId="ADAL" clId="{937591CA-C1D7-784D-9DA8-42716B827479}" dt="2020-06-16T04:02:20.419" v="1167" actId="478"/>
          <ac:spMkLst>
            <pc:docMk/>
            <pc:sldMk cId="1649412314" sldId="2134806423"/>
            <ac:spMk id="24" creationId="{7DCD03DB-7FDB-FA48-BEC3-70C9E4ED9135}"/>
          </ac:spMkLst>
        </pc:spChg>
        <pc:spChg chg="add del mod">
          <ac:chgData name="Cornago, Fernando" userId="048a41c0-cb7a-447c-b2ac-f7c7348706e9" providerId="ADAL" clId="{937591CA-C1D7-784D-9DA8-42716B827479}" dt="2020-06-16T04:02:20.419" v="1167" actId="478"/>
          <ac:spMkLst>
            <pc:docMk/>
            <pc:sldMk cId="1649412314" sldId="2134806423"/>
            <ac:spMk id="25" creationId="{8B1106D9-B5A1-A54C-9C3C-14879F6A936D}"/>
          </ac:spMkLst>
        </pc:spChg>
        <pc:spChg chg="add del mod">
          <ac:chgData name="Cornago, Fernando" userId="048a41c0-cb7a-447c-b2ac-f7c7348706e9" providerId="ADAL" clId="{937591CA-C1D7-784D-9DA8-42716B827479}" dt="2020-06-15T15:06:44.132" v="999" actId="478"/>
          <ac:spMkLst>
            <pc:docMk/>
            <pc:sldMk cId="1649412314" sldId="2134806423"/>
            <ac:spMk id="26" creationId="{ED4C975A-F727-0848-B3FD-6B8DDF9CAABC}"/>
          </ac:spMkLst>
        </pc:spChg>
        <pc:spChg chg="add del mod">
          <ac:chgData name="Cornago, Fernando" userId="048a41c0-cb7a-447c-b2ac-f7c7348706e9" providerId="ADAL" clId="{937591CA-C1D7-784D-9DA8-42716B827479}" dt="2020-06-15T15:06:44.132" v="999" actId="478"/>
          <ac:spMkLst>
            <pc:docMk/>
            <pc:sldMk cId="1649412314" sldId="2134806423"/>
            <ac:spMk id="27" creationId="{09FDF347-EEA4-A74B-B05D-4C5CEDE6EBF1}"/>
          </ac:spMkLst>
        </pc:spChg>
        <pc:spChg chg="add del mod">
          <ac:chgData name="Cornago, Fernando" userId="048a41c0-cb7a-447c-b2ac-f7c7348706e9" providerId="ADAL" clId="{937591CA-C1D7-784D-9DA8-42716B827479}" dt="2020-06-16T04:02:20.419" v="1167" actId="478"/>
          <ac:spMkLst>
            <pc:docMk/>
            <pc:sldMk cId="1649412314" sldId="2134806423"/>
            <ac:spMk id="28" creationId="{A407133C-9325-8641-94CB-E75AE10FC683}"/>
          </ac:spMkLst>
        </pc:spChg>
        <pc:spChg chg="add del mod">
          <ac:chgData name="Cornago, Fernando" userId="048a41c0-cb7a-447c-b2ac-f7c7348706e9" providerId="ADAL" clId="{937591CA-C1D7-784D-9DA8-42716B827479}" dt="2020-06-16T04:02:20.419" v="1167" actId="478"/>
          <ac:spMkLst>
            <pc:docMk/>
            <pc:sldMk cId="1649412314" sldId="2134806423"/>
            <ac:spMk id="29" creationId="{5714D85E-335A-7547-8485-B2CAFDA47103}"/>
          </ac:spMkLst>
        </pc:spChg>
        <pc:spChg chg="add del mod">
          <ac:chgData name="Cornago, Fernando" userId="048a41c0-cb7a-447c-b2ac-f7c7348706e9" providerId="ADAL" clId="{937591CA-C1D7-784D-9DA8-42716B827479}" dt="2020-06-16T04:02:20.419" v="1167" actId="478"/>
          <ac:spMkLst>
            <pc:docMk/>
            <pc:sldMk cId="1649412314" sldId="2134806423"/>
            <ac:spMk id="30" creationId="{B583F41A-CB6F-6B4D-91D5-202A2C3E7972}"/>
          </ac:spMkLst>
        </pc:spChg>
        <pc:spChg chg="add del mod">
          <ac:chgData name="Cornago, Fernando" userId="048a41c0-cb7a-447c-b2ac-f7c7348706e9" providerId="ADAL" clId="{937591CA-C1D7-784D-9DA8-42716B827479}" dt="2020-06-16T04:02:20.419" v="1167" actId="478"/>
          <ac:spMkLst>
            <pc:docMk/>
            <pc:sldMk cId="1649412314" sldId="2134806423"/>
            <ac:spMk id="31" creationId="{73A7055A-688D-994D-A186-82AC20302732}"/>
          </ac:spMkLst>
        </pc:spChg>
        <pc:spChg chg="add del mod">
          <ac:chgData name="Cornago, Fernando" userId="048a41c0-cb7a-447c-b2ac-f7c7348706e9" providerId="ADAL" clId="{937591CA-C1D7-784D-9DA8-42716B827479}" dt="2020-06-16T04:02:20.419" v="1167" actId="478"/>
          <ac:spMkLst>
            <pc:docMk/>
            <pc:sldMk cId="1649412314" sldId="2134806423"/>
            <ac:spMk id="32" creationId="{203435E2-FE23-C843-877A-ED3343B5E2ED}"/>
          </ac:spMkLst>
        </pc:spChg>
        <pc:spChg chg="add del mod">
          <ac:chgData name="Cornago, Fernando" userId="048a41c0-cb7a-447c-b2ac-f7c7348706e9" providerId="ADAL" clId="{937591CA-C1D7-784D-9DA8-42716B827479}" dt="2020-06-16T04:02:20.419" v="1167" actId="478"/>
          <ac:spMkLst>
            <pc:docMk/>
            <pc:sldMk cId="1649412314" sldId="2134806423"/>
            <ac:spMk id="33" creationId="{A2C47FC1-5024-3742-AFD8-EB2010E3BF5F}"/>
          </ac:spMkLst>
        </pc:spChg>
        <pc:spChg chg="add del mod">
          <ac:chgData name="Cornago, Fernando" userId="048a41c0-cb7a-447c-b2ac-f7c7348706e9" providerId="ADAL" clId="{937591CA-C1D7-784D-9DA8-42716B827479}" dt="2020-06-16T04:02:20.419" v="1167" actId="478"/>
          <ac:spMkLst>
            <pc:docMk/>
            <pc:sldMk cId="1649412314" sldId="2134806423"/>
            <ac:spMk id="34" creationId="{720C8A56-D1A9-A54D-BBB9-C7A45BA8862C}"/>
          </ac:spMkLst>
        </pc:spChg>
        <pc:spChg chg="add del mod">
          <ac:chgData name="Cornago, Fernando" userId="048a41c0-cb7a-447c-b2ac-f7c7348706e9" providerId="ADAL" clId="{937591CA-C1D7-784D-9DA8-42716B827479}" dt="2020-06-16T04:02:20.419" v="1167" actId="478"/>
          <ac:spMkLst>
            <pc:docMk/>
            <pc:sldMk cId="1649412314" sldId="2134806423"/>
            <ac:spMk id="35" creationId="{A4812140-39F9-5A41-A0EE-2898C7A317EC}"/>
          </ac:spMkLst>
        </pc:spChg>
        <pc:spChg chg="add del mod">
          <ac:chgData name="Cornago, Fernando" userId="048a41c0-cb7a-447c-b2ac-f7c7348706e9" providerId="ADAL" clId="{937591CA-C1D7-784D-9DA8-42716B827479}" dt="2020-06-16T04:02:20.419" v="1167" actId="478"/>
          <ac:spMkLst>
            <pc:docMk/>
            <pc:sldMk cId="1649412314" sldId="2134806423"/>
            <ac:spMk id="36" creationId="{049E7F50-E748-1D42-8CAA-6DF7E2E6B0FF}"/>
          </ac:spMkLst>
        </pc:spChg>
        <pc:spChg chg="add del mod">
          <ac:chgData name="Cornago, Fernando" userId="048a41c0-cb7a-447c-b2ac-f7c7348706e9" providerId="ADAL" clId="{937591CA-C1D7-784D-9DA8-42716B827479}" dt="2020-06-16T04:02:20.419" v="1167" actId="478"/>
          <ac:spMkLst>
            <pc:docMk/>
            <pc:sldMk cId="1649412314" sldId="2134806423"/>
            <ac:spMk id="37" creationId="{D6C5A148-1D09-B94B-B0FF-28D86ABFC41D}"/>
          </ac:spMkLst>
        </pc:spChg>
        <pc:spChg chg="add del mod">
          <ac:chgData name="Cornago, Fernando" userId="048a41c0-cb7a-447c-b2ac-f7c7348706e9" providerId="ADAL" clId="{937591CA-C1D7-784D-9DA8-42716B827479}" dt="2020-06-15T15:06:54.460" v="1000" actId="478"/>
          <ac:spMkLst>
            <pc:docMk/>
            <pc:sldMk cId="1649412314" sldId="2134806423"/>
            <ac:spMk id="38" creationId="{B6587305-8785-9041-8B56-CCAD865B1F16}"/>
          </ac:spMkLst>
        </pc:spChg>
        <pc:spChg chg="add del mod">
          <ac:chgData name="Cornago, Fernando" userId="048a41c0-cb7a-447c-b2ac-f7c7348706e9" providerId="ADAL" clId="{937591CA-C1D7-784D-9DA8-42716B827479}" dt="2020-06-15T15:06:54.460" v="1000" actId="478"/>
          <ac:spMkLst>
            <pc:docMk/>
            <pc:sldMk cId="1649412314" sldId="2134806423"/>
            <ac:spMk id="39" creationId="{278F3650-FAE2-734C-9D3E-425A0D19AC2D}"/>
          </ac:spMkLst>
        </pc:spChg>
        <pc:spChg chg="add del mod">
          <ac:chgData name="Cornago, Fernando" userId="048a41c0-cb7a-447c-b2ac-f7c7348706e9" providerId="ADAL" clId="{937591CA-C1D7-784D-9DA8-42716B827479}" dt="2020-06-15T15:06:54.460" v="1000" actId="478"/>
          <ac:spMkLst>
            <pc:docMk/>
            <pc:sldMk cId="1649412314" sldId="2134806423"/>
            <ac:spMk id="40" creationId="{C3FAA01E-B7DA-B348-B3D6-66224F7D9C49}"/>
          </ac:spMkLst>
        </pc:spChg>
        <pc:spChg chg="add del mod">
          <ac:chgData name="Cornago, Fernando" userId="048a41c0-cb7a-447c-b2ac-f7c7348706e9" providerId="ADAL" clId="{937591CA-C1D7-784D-9DA8-42716B827479}" dt="2020-06-15T15:06:54.460" v="1000" actId="478"/>
          <ac:spMkLst>
            <pc:docMk/>
            <pc:sldMk cId="1649412314" sldId="2134806423"/>
            <ac:spMk id="41" creationId="{863E9132-AFB0-DD4E-942E-6F833677169B}"/>
          </ac:spMkLst>
        </pc:spChg>
        <pc:spChg chg="add del mod">
          <ac:chgData name="Cornago, Fernando" userId="048a41c0-cb7a-447c-b2ac-f7c7348706e9" providerId="ADAL" clId="{937591CA-C1D7-784D-9DA8-42716B827479}" dt="2020-06-15T15:06:54.460" v="1000" actId="478"/>
          <ac:spMkLst>
            <pc:docMk/>
            <pc:sldMk cId="1649412314" sldId="2134806423"/>
            <ac:spMk id="42" creationId="{FD471500-B854-9D4C-97DD-0FCE14F17A1E}"/>
          </ac:spMkLst>
        </pc:spChg>
        <pc:spChg chg="add del mod">
          <ac:chgData name="Cornago, Fernando" userId="048a41c0-cb7a-447c-b2ac-f7c7348706e9" providerId="ADAL" clId="{937591CA-C1D7-784D-9DA8-42716B827479}" dt="2020-06-15T15:06:54.460" v="1000" actId="478"/>
          <ac:spMkLst>
            <pc:docMk/>
            <pc:sldMk cId="1649412314" sldId="2134806423"/>
            <ac:spMk id="43" creationId="{7D3F0EB5-07AA-5540-B47E-C29F93AEFE9E}"/>
          </ac:spMkLst>
        </pc:spChg>
        <pc:spChg chg="add del mod">
          <ac:chgData name="Cornago, Fernando" userId="048a41c0-cb7a-447c-b2ac-f7c7348706e9" providerId="ADAL" clId="{937591CA-C1D7-784D-9DA8-42716B827479}" dt="2020-06-16T04:02:20.419" v="1167" actId="478"/>
          <ac:spMkLst>
            <pc:docMk/>
            <pc:sldMk cId="1649412314" sldId="2134806423"/>
            <ac:spMk id="44" creationId="{0F35B076-4EFD-5D47-9BA8-6C7DFB4B36E0}"/>
          </ac:spMkLst>
        </pc:spChg>
        <pc:spChg chg="add del mod">
          <ac:chgData name="Cornago, Fernando" userId="048a41c0-cb7a-447c-b2ac-f7c7348706e9" providerId="ADAL" clId="{937591CA-C1D7-784D-9DA8-42716B827479}" dt="2020-06-16T04:02:20.419" v="1167" actId="478"/>
          <ac:spMkLst>
            <pc:docMk/>
            <pc:sldMk cId="1649412314" sldId="2134806423"/>
            <ac:spMk id="45" creationId="{3D82C96E-FB3A-A34D-AC2C-8050BC2B3393}"/>
          </ac:spMkLst>
        </pc:spChg>
        <pc:spChg chg="add del mod">
          <ac:chgData name="Cornago, Fernando" userId="048a41c0-cb7a-447c-b2ac-f7c7348706e9" providerId="ADAL" clId="{937591CA-C1D7-784D-9DA8-42716B827479}" dt="2020-06-16T04:02:20.419" v="1167" actId="478"/>
          <ac:spMkLst>
            <pc:docMk/>
            <pc:sldMk cId="1649412314" sldId="2134806423"/>
            <ac:spMk id="46" creationId="{9B6DAF02-D997-764A-BF6C-556E3542D783}"/>
          </ac:spMkLst>
        </pc:spChg>
        <pc:spChg chg="add del mod">
          <ac:chgData name="Cornago, Fernando" userId="048a41c0-cb7a-447c-b2ac-f7c7348706e9" providerId="ADAL" clId="{937591CA-C1D7-784D-9DA8-42716B827479}" dt="2020-06-16T04:02:20.419" v="1167" actId="478"/>
          <ac:spMkLst>
            <pc:docMk/>
            <pc:sldMk cId="1649412314" sldId="2134806423"/>
            <ac:spMk id="47" creationId="{44FED94C-5B04-6447-9DB4-DF7611C7E7C8}"/>
          </ac:spMkLst>
        </pc:spChg>
        <pc:spChg chg="add del mod">
          <ac:chgData name="Cornago, Fernando" userId="048a41c0-cb7a-447c-b2ac-f7c7348706e9" providerId="ADAL" clId="{937591CA-C1D7-784D-9DA8-42716B827479}" dt="2020-06-16T04:02:20.419" v="1167" actId="478"/>
          <ac:spMkLst>
            <pc:docMk/>
            <pc:sldMk cId="1649412314" sldId="2134806423"/>
            <ac:spMk id="48" creationId="{77B36B01-9652-FA4E-AE3F-783BB579A797}"/>
          </ac:spMkLst>
        </pc:spChg>
        <pc:spChg chg="add del mod">
          <ac:chgData name="Cornago, Fernando" userId="048a41c0-cb7a-447c-b2ac-f7c7348706e9" providerId="ADAL" clId="{937591CA-C1D7-784D-9DA8-42716B827479}" dt="2020-06-16T04:02:20.419" v="1167" actId="478"/>
          <ac:spMkLst>
            <pc:docMk/>
            <pc:sldMk cId="1649412314" sldId="2134806423"/>
            <ac:spMk id="49" creationId="{C6BC3EDF-E9CE-194A-9F52-E134FDB09DA4}"/>
          </ac:spMkLst>
        </pc:spChg>
        <pc:spChg chg="add del mod">
          <ac:chgData name="Cornago, Fernando" userId="048a41c0-cb7a-447c-b2ac-f7c7348706e9" providerId="ADAL" clId="{937591CA-C1D7-784D-9DA8-42716B827479}" dt="2020-06-16T04:02:20.419" v="1167" actId="478"/>
          <ac:spMkLst>
            <pc:docMk/>
            <pc:sldMk cId="1649412314" sldId="2134806423"/>
            <ac:spMk id="50" creationId="{2F8C2C74-3A25-BA4F-8C33-7E2D4C6CE911}"/>
          </ac:spMkLst>
        </pc:spChg>
        <pc:spChg chg="add del mod">
          <ac:chgData name="Cornago, Fernando" userId="048a41c0-cb7a-447c-b2ac-f7c7348706e9" providerId="ADAL" clId="{937591CA-C1D7-784D-9DA8-42716B827479}" dt="2020-06-16T04:02:20.419" v="1167" actId="478"/>
          <ac:spMkLst>
            <pc:docMk/>
            <pc:sldMk cId="1649412314" sldId="2134806423"/>
            <ac:spMk id="51" creationId="{89110690-81B0-9C49-A8F6-F2822185B556}"/>
          </ac:spMkLst>
        </pc:spChg>
        <pc:spChg chg="add del mod">
          <ac:chgData name="Cornago, Fernando" userId="048a41c0-cb7a-447c-b2ac-f7c7348706e9" providerId="ADAL" clId="{937591CA-C1D7-784D-9DA8-42716B827479}" dt="2020-06-16T04:02:20.419" v="1167" actId="478"/>
          <ac:spMkLst>
            <pc:docMk/>
            <pc:sldMk cId="1649412314" sldId="2134806423"/>
            <ac:spMk id="52" creationId="{1FC9A86C-CB63-E441-ACB1-7C9B5878A056}"/>
          </ac:spMkLst>
        </pc:spChg>
        <pc:spChg chg="mod">
          <ac:chgData name="Cornago, Fernando" userId="048a41c0-cb7a-447c-b2ac-f7c7348706e9" providerId="ADAL" clId="{937591CA-C1D7-784D-9DA8-42716B827479}" dt="2020-06-15T15:09:00.828" v="1064" actId="1076"/>
          <ac:spMkLst>
            <pc:docMk/>
            <pc:sldMk cId="1649412314" sldId="2134806423"/>
            <ac:spMk id="54" creationId="{62531BA6-9731-A84D-976A-AD36B61FC363}"/>
          </ac:spMkLst>
        </pc:spChg>
        <pc:spChg chg="mod">
          <ac:chgData name="Cornago, Fernando" userId="048a41c0-cb7a-447c-b2ac-f7c7348706e9" providerId="ADAL" clId="{937591CA-C1D7-784D-9DA8-42716B827479}" dt="2020-06-15T15:08:56.308" v="1062"/>
          <ac:spMkLst>
            <pc:docMk/>
            <pc:sldMk cId="1649412314" sldId="2134806423"/>
            <ac:spMk id="55" creationId="{A7669944-6421-664B-AC7A-49ECA4387AA1}"/>
          </ac:spMkLst>
        </pc:spChg>
        <pc:spChg chg="mod">
          <ac:chgData name="Cornago, Fernando" userId="048a41c0-cb7a-447c-b2ac-f7c7348706e9" providerId="ADAL" clId="{937591CA-C1D7-784D-9DA8-42716B827479}" dt="2020-06-15T15:08:56.308" v="1062"/>
          <ac:spMkLst>
            <pc:docMk/>
            <pc:sldMk cId="1649412314" sldId="2134806423"/>
            <ac:spMk id="56" creationId="{5021AF19-BB9E-5F42-9440-7D179F12B363}"/>
          </ac:spMkLst>
        </pc:spChg>
        <pc:spChg chg="mod">
          <ac:chgData name="Cornago, Fernando" userId="048a41c0-cb7a-447c-b2ac-f7c7348706e9" providerId="ADAL" clId="{937591CA-C1D7-784D-9DA8-42716B827479}" dt="2020-06-15T15:08:56.308" v="1062"/>
          <ac:spMkLst>
            <pc:docMk/>
            <pc:sldMk cId="1649412314" sldId="2134806423"/>
            <ac:spMk id="57" creationId="{9008F16F-D5BE-0C47-B6F4-B8659CE0CCB8}"/>
          </ac:spMkLst>
        </pc:spChg>
        <pc:spChg chg="mod">
          <ac:chgData name="Cornago, Fernando" userId="048a41c0-cb7a-447c-b2ac-f7c7348706e9" providerId="ADAL" clId="{937591CA-C1D7-784D-9DA8-42716B827479}" dt="2020-06-15T15:08:56.308" v="1062"/>
          <ac:spMkLst>
            <pc:docMk/>
            <pc:sldMk cId="1649412314" sldId="2134806423"/>
            <ac:spMk id="58" creationId="{085EE00C-2148-B643-BBDC-4F095A91CF50}"/>
          </ac:spMkLst>
        </pc:spChg>
        <pc:spChg chg="mod">
          <ac:chgData name="Cornago, Fernando" userId="048a41c0-cb7a-447c-b2ac-f7c7348706e9" providerId="ADAL" clId="{937591CA-C1D7-784D-9DA8-42716B827479}" dt="2020-06-15T15:08:56.308" v="1062"/>
          <ac:spMkLst>
            <pc:docMk/>
            <pc:sldMk cId="1649412314" sldId="2134806423"/>
            <ac:spMk id="61" creationId="{D8576787-424F-EA47-8276-7B788EAA89F2}"/>
          </ac:spMkLst>
        </pc:spChg>
        <pc:spChg chg="mod">
          <ac:chgData name="Cornago, Fernando" userId="048a41c0-cb7a-447c-b2ac-f7c7348706e9" providerId="ADAL" clId="{937591CA-C1D7-784D-9DA8-42716B827479}" dt="2020-06-15T15:08:56.308" v="1062"/>
          <ac:spMkLst>
            <pc:docMk/>
            <pc:sldMk cId="1649412314" sldId="2134806423"/>
            <ac:spMk id="62" creationId="{0E9D83FD-BCC3-0645-9CD4-C636A8B0BA7B}"/>
          </ac:spMkLst>
        </pc:spChg>
        <pc:spChg chg="mod">
          <ac:chgData name="Cornago, Fernando" userId="048a41c0-cb7a-447c-b2ac-f7c7348706e9" providerId="ADAL" clId="{937591CA-C1D7-784D-9DA8-42716B827479}" dt="2020-06-15T15:08:56.308" v="1062"/>
          <ac:spMkLst>
            <pc:docMk/>
            <pc:sldMk cId="1649412314" sldId="2134806423"/>
            <ac:spMk id="63" creationId="{181B7576-AE19-6A49-AA01-B3C710A2713B}"/>
          </ac:spMkLst>
        </pc:spChg>
        <pc:spChg chg="mod">
          <ac:chgData name="Cornago, Fernando" userId="048a41c0-cb7a-447c-b2ac-f7c7348706e9" providerId="ADAL" clId="{937591CA-C1D7-784D-9DA8-42716B827479}" dt="2020-06-15T15:08:56.308" v="1062"/>
          <ac:spMkLst>
            <pc:docMk/>
            <pc:sldMk cId="1649412314" sldId="2134806423"/>
            <ac:spMk id="64" creationId="{28A38E2B-9F25-3F4D-9AF7-C3A88D2AB864}"/>
          </ac:spMkLst>
        </pc:spChg>
        <pc:spChg chg="add del mod">
          <ac:chgData name="Cornago, Fernando" userId="048a41c0-cb7a-447c-b2ac-f7c7348706e9" providerId="ADAL" clId="{937591CA-C1D7-784D-9DA8-42716B827479}" dt="2020-06-16T04:02:12.513" v="1164"/>
          <ac:spMkLst>
            <pc:docMk/>
            <pc:sldMk cId="1649412314" sldId="2134806423"/>
            <ac:spMk id="65" creationId="{67B1ABB8-B4E2-0F4D-9050-FF83FCADE113}"/>
          </ac:spMkLst>
        </pc:spChg>
        <pc:spChg chg="add del mod">
          <ac:chgData name="Cornago, Fernando" userId="048a41c0-cb7a-447c-b2ac-f7c7348706e9" providerId="ADAL" clId="{937591CA-C1D7-784D-9DA8-42716B827479}" dt="2020-06-16T04:02:12.513" v="1164"/>
          <ac:spMkLst>
            <pc:docMk/>
            <pc:sldMk cId="1649412314" sldId="2134806423"/>
            <ac:spMk id="66" creationId="{842CB5C3-C34E-C44A-BF15-D0AC12861F59}"/>
          </ac:spMkLst>
        </pc:spChg>
        <pc:spChg chg="add del mod">
          <ac:chgData name="Cornago, Fernando" userId="048a41c0-cb7a-447c-b2ac-f7c7348706e9" providerId="ADAL" clId="{937591CA-C1D7-784D-9DA8-42716B827479}" dt="2020-06-16T04:02:12.513" v="1164"/>
          <ac:spMkLst>
            <pc:docMk/>
            <pc:sldMk cId="1649412314" sldId="2134806423"/>
            <ac:spMk id="67" creationId="{4DCC51EE-0A65-024F-9529-40A5D9EA0DA0}"/>
          </ac:spMkLst>
        </pc:spChg>
        <pc:spChg chg="add del mod">
          <ac:chgData name="Cornago, Fernando" userId="048a41c0-cb7a-447c-b2ac-f7c7348706e9" providerId="ADAL" clId="{937591CA-C1D7-784D-9DA8-42716B827479}" dt="2020-06-16T04:02:12.513" v="1164"/>
          <ac:spMkLst>
            <pc:docMk/>
            <pc:sldMk cId="1649412314" sldId="2134806423"/>
            <ac:spMk id="68" creationId="{2BD5ECAC-4B32-1A4D-923D-FFBF7865D4E1}"/>
          </ac:spMkLst>
        </pc:spChg>
        <pc:spChg chg="add del mod">
          <ac:chgData name="Cornago, Fernando" userId="048a41c0-cb7a-447c-b2ac-f7c7348706e9" providerId="ADAL" clId="{937591CA-C1D7-784D-9DA8-42716B827479}" dt="2020-06-16T04:02:12.513" v="1164"/>
          <ac:spMkLst>
            <pc:docMk/>
            <pc:sldMk cId="1649412314" sldId="2134806423"/>
            <ac:spMk id="69" creationId="{052C61D6-8CDE-6C47-99DE-5630F63AB4A5}"/>
          </ac:spMkLst>
        </pc:spChg>
        <pc:spChg chg="add del mod">
          <ac:chgData name="Cornago, Fernando" userId="048a41c0-cb7a-447c-b2ac-f7c7348706e9" providerId="ADAL" clId="{937591CA-C1D7-784D-9DA8-42716B827479}" dt="2020-06-16T04:02:12.513" v="1164"/>
          <ac:spMkLst>
            <pc:docMk/>
            <pc:sldMk cId="1649412314" sldId="2134806423"/>
            <ac:spMk id="70" creationId="{A3C261D4-2FCC-CC4C-8BCE-F76A69380A3A}"/>
          </ac:spMkLst>
        </pc:spChg>
        <pc:spChg chg="add del mod">
          <ac:chgData name="Cornago, Fernando" userId="048a41c0-cb7a-447c-b2ac-f7c7348706e9" providerId="ADAL" clId="{937591CA-C1D7-784D-9DA8-42716B827479}" dt="2020-06-16T04:02:12.513" v="1164"/>
          <ac:spMkLst>
            <pc:docMk/>
            <pc:sldMk cId="1649412314" sldId="2134806423"/>
            <ac:spMk id="71" creationId="{2C2D2E08-F5AD-6045-9D6B-C5E89BFD993C}"/>
          </ac:spMkLst>
        </pc:spChg>
        <pc:spChg chg="add del mod">
          <ac:chgData name="Cornago, Fernando" userId="048a41c0-cb7a-447c-b2ac-f7c7348706e9" providerId="ADAL" clId="{937591CA-C1D7-784D-9DA8-42716B827479}" dt="2020-06-16T04:02:12.513" v="1164"/>
          <ac:spMkLst>
            <pc:docMk/>
            <pc:sldMk cId="1649412314" sldId="2134806423"/>
            <ac:spMk id="72" creationId="{3DC7E234-54B9-DC47-A6FF-91EC43310720}"/>
          </ac:spMkLst>
        </pc:spChg>
        <pc:spChg chg="add del mod">
          <ac:chgData name="Cornago, Fernando" userId="048a41c0-cb7a-447c-b2ac-f7c7348706e9" providerId="ADAL" clId="{937591CA-C1D7-784D-9DA8-42716B827479}" dt="2020-06-16T04:02:12.513" v="1164"/>
          <ac:spMkLst>
            <pc:docMk/>
            <pc:sldMk cId="1649412314" sldId="2134806423"/>
            <ac:spMk id="73" creationId="{74953ABF-C363-6348-86D0-F80CC5691544}"/>
          </ac:spMkLst>
        </pc:spChg>
        <pc:spChg chg="add del mod">
          <ac:chgData name="Cornago, Fernando" userId="048a41c0-cb7a-447c-b2ac-f7c7348706e9" providerId="ADAL" clId="{937591CA-C1D7-784D-9DA8-42716B827479}" dt="2020-06-16T04:02:12.513" v="1164"/>
          <ac:spMkLst>
            <pc:docMk/>
            <pc:sldMk cId="1649412314" sldId="2134806423"/>
            <ac:spMk id="74" creationId="{25AFB944-758B-1249-B08E-83AA4147AE3F}"/>
          </ac:spMkLst>
        </pc:spChg>
        <pc:spChg chg="add del mod">
          <ac:chgData name="Cornago, Fernando" userId="048a41c0-cb7a-447c-b2ac-f7c7348706e9" providerId="ADAL" clId="{937591CA-C1D7-784D-9DA8-42716B827479}" dt="2020-06-16T04:02:12.513" v="1164"/>
          <ac:spMkLst>
            <pc:docMk/>
            <pc:sldMk cId="1649412314" sldId="2134806423"/>
            <ac:spMk id="75" creationId="{D7389139-1269-9941-89A0-C5DBB9EB3502}"/>
          </ac:spMkLst>
        </pc:spChg>
        <pc:spChg chg="add del mod">
          <ac:chgData name="Cornago, Fernando" userId="048a41c0-cb7a-447c-b2ac-f7c7348706e9" providerId="ADAL" clId="{937591CA-C1D7-784D-9DA8-42716B827479}" dt="2020-06-16T04:02:12.513" v="1164"/>
          <ac:spMkLst>
            <pc:docMk/>
            <pc:sldMk cId="1649412314" sldId="2134806423"/>
            <ac:spMk id="76" creationId="{A065410E-6D20-4A4A-8B3A-285259D05A76}"/>
          </ac:spMkLst>
        </pc:spChg>
        <pc:spChg chg="add del mod">
          <ac:chgData name="Cornago, Fernando" userId="048a41c0-cb7a-447c-b2ac-f7c7348706e9" providerId="ADAL" clId="{937591CA-C1D7-784D-9DA8-42716B827479}" dt="2020-06-16T04:02:12.513" v="1164"/>
          <ac:spMkLst>
            <pc:docMk/>
            <pc:sldMk cId="1649412314" sldId="2134806423"/>
            <ac:spMk id="77" creationId="{882AA70E-20DC-A541-BD92-E706B6F30FF5}"/>
          </ac:spMkLst>
        </pc:spChg>
        <pc:spChg chg="add del mod">
          <ac:chgData name="Cornago, Fernando" userId="048a41c0-cb7a-447c-b2ac-f7c7348706e9" providerId="ADAL" clId="{937591CA-C1D7-784D-9DA8-42716B827479}" dt="2020-06-16T04:02:12.513" v="1164"/>
          <ac:spMkLst>
            <pc:docMk/>
            <pc:sldMk cId="1649412314" sldId="2134806423"/>
            <ac:spMk id="78" creationId="{066E2462-E2BE-C447-AC9D-31816DABBADB}"/>
          </ac:spMkLst>
        </pc:spChg>
        <pc:spChg chg="add del mod">
          <ac:chgData name="Cornago, Fernando" userId="048a41c0-cb7a-447c-b2ac-f7c7348706e9" providerId="ADAL" clId="{937591CA-C1D7-784D-9DA8-42716B827479}" dt="2020-06-16T04:02:12.513" v="1164"/>
          <ac:spMkLst>
            <pc:docMk/>
            <pc:sldMk cId="1649412314" sldId="2134806423"/>
            <ac:spMk id="79" creationId="{1406BA76-1235-2C46-99AF-0BA4B53E7DAD}"/>
          </ac:spMkLst>
        </pc:spChg>
        <pc:spChg chg="add del mod">
          <ac:chgData name="Cornago, Fernando" userId="048a41c0-cb7a-447c-b2ac-f7c7348706e9" providerId="ADAL" clId="{937591CA-C1D7-784D-9DA8-42716B827479}" dt="2020-06-16T04:02:12.513" v="1164"/>
          <ac:spMkLst>
            <pc:docMk/>
            <pc:sldMk cId="1649412314" sldId="2134806423"/>
            <ac:spMk id="80" creationId="{79EF44F7-1357-6B4D-BBA9-0BD6C0F39071}"/>
          </ac:spMkLst>
        </pc:spChg>
        <pc:spChg chg="add del mod">
          <ac:chgData name="Cornago, Fernando" userId="048a41c0-cb7a-447c-b2ac-f7c7348706e9" providerId="ADAL" clId="{937591CA-C1D7-784D-9DA8-42716B827479}" dt="2020-06-16T04:02:12.513" v="1164"/>
          <ac:spMkLst>
            <pc:docMk/>
            <pc:sldMk cId="1649412314" sldId="2134806423"/>
            <ac:spMk id="81" creationId="{4E1D6D54-D90A-C544-9DB7-19E2B1516943}"/>
          </ac:spMkLst>
        </pc:spChg>
        <pc:spChg chg="add del mod">
          <ac:chgData name="Cornago, Fernando" userId="048a41c0-cb7a-447c-b2ac-f7c7348706e9" providerId="ADAL" clId="{937591CA-C1D7-784D-9DA8-42716B827479}" dt="2020-06-16T04:02:12.513" v="1164"/>
          <ac:spMkLst>
            <pc:docMk/>
            <pc:sldMk cId="1649412314" sldId="2134806423"/>
            <ac:spMk id="82" creationId="{00A244EA-08C1-714E-8621-0B9133AD6662}"/>
          </ac:spMkLst>
        </pc:spChg>
        <pc:spChg chg="add del mod">
          <ac:chgData name="Cornago, Fernando" userId="048a41c0-cb7a-447c-b2ac-f7c7348706e9" providerId="ADAL" clId="{937591CA-C1D7-784D-9DA8-42716B827479}" dt="2020-06-16T04:02:12.513" v="1164"/>
          <ac:spMkLst>
            <pc:docMk/>
            <pc:sldMk cId="1649412314" sldId="2134806423"/>
            <ac:spMk id="83" creationId="{04FDB654-BBFA-3447-8A84-0AD4C0CCCD60}"/>
          </ac:spMkLst>
        </pc:spChg>
        <pc:spChg chg="add del mod">
          <ac:chgData name="Cornago, Fernando" userId="048a41c0-cb7a-447c-b2ac-f7c7348706e9" providerId="ADAL" clId="{937591CA-C1D7-784D-9DA8-42716B827479}" dt="2020-06-16T04:02:12.513" v="1164"/>
          <ac:spMkLst>
            <pc:docMk/>
            <pc:sldMk cId="1649412314" sldId="2134806423"/>
            <ac:spMk id="84" creationId="{D96D6233-496A-0242-81E7-8FE9739496EA}"/>
          </ac:spMkLst>
        </pc:spChg>
        <pc:spChg chg="add del mod">
          <ac:chgData name="Cornago, Fernando" userId="048a41c0-cb7a-447c-b2ac-f7c7348706e9" providerId="ADAL" clId="{937591CA-C1D7-784D-9DA8-42716B827479}" dt="2020-06-16T04:02:12.513" v="1164"/>
          <ac:spMkLst>
            <pc:docMk/>
            <pc:sldMk cId="1649412314" sldId="2134806423"/>
            <ac:spMk id="85" creationId="{1C83E7C9-A891-1347-A314-44F24B27EAE9}"/>
          </ac:spMkLst>
        </pc:spChg>
        <pc:spChg chg="add del mod">
          <ac:chgData name="Cornago, Fernando" userId="048a41c0-cb7a-447c-b2ac-f7c7348706e9" providerId="ADAL" clId="{937591CA-C1D7-784D-9DA8-42716B827479}" dt="2020-06-16T04:02:12.513" v="1164"/>
          <ac:spMkLst>
            <pc:docMk/>
            <pc:sldMk cId="1649412314" sldId="2134806423"/>
            <ac:spMk id="86" creationId="{8694FAB1-2191-0440-8DBA-A42523B8302E}"/>
          </ac:spMkLst>
        </pc:spChg>
        <pc:spChg chg="add del mod">
          <ac:chgData name="Cornago, Fernando" userId="048a41c0-cb7a-447c-b2ac-f7c7348706e9" providerId="ADAL" clId="{937591CA-C1D7-784D-9DA8-42716B827479}" dt="2020-06-16T04:02:12.513" v="1164"/>
          <ac:spMkLst>
            <pc:docMk/>
            <pc:sldMk cId="1649412314" sldId="2134806423"/>
            <ac:spMk id="87" creationId="{BF2A2818-4182-604E-830B-0D0B424657CF}"/>
          </ac:spMkLst>
        </pc:spChg>
        <pc:spChg chg="add del mod">
          <ac:chgData name="Cornago, Fernando" userId="048a41c0-cb7a-447c-b2ac-f7c7348706e9" providerId="ADAL" clId="{937591CA-C1D7-784D-9DA8-42716B827479}" dt="2020-06-16T04:02:12.513" v="1164"/>
          <ac:spMkLst>
            <pc:docMk/>
            <pc:sldMk cId="1649412314" sldId="2134806423"/>
            <ac:spMk id="88" creationId="{DDAC0356-85A6-D948-95FB-6EDAE8CB8075}"/>
          </ac:spMkLst>
        </pc:spChg>
        <pc:spChg chg="add del mod">
          <ac:chgData name="Cornago, Fernando" userId="048a41c0-cb7a-447c-b2ac-f7c7348706e9" providerId="ADAL" clId="{937591CA-C1D7-784D-9DA8-42716B827479}" dt="2020-06-16T04:02:12.513" v="1164"/>
          <ac:spMkLst>
            <pc:docMk/>
            <pc:sldMk cId="1649412314" sldId="2134806423"/>
            <ac:spMk id="89" creationId="{ECA6BC2B-FA5E-2740-B19A-03686F6018AA}"/>
          </ac:spMkLst>
        </pc:spChg>
        <pc:spChg chg="add del mod">
          <ac:chgData name="Cornago, Fernando" userId="048a41c0-cb7a-447c-b2ac-f7c7348706e9" providerId="ADAL" clId="{937591CA-C1D7-784D-9DA8-42716B827479}" dt="2020-06-16T04:02:12.513" v="1164"/>
          <ac:spMkLst>
            <pc:docMk/>
            <pc:sldMk cId="1649412314" sldId="2134806423"/>
            <ac:spMk id="90" creationId="{F62F4F25-493D-6F49-BBF9-8F0FD6F2219A}"/>
          </ac:spMkLst>
        </pc:spChg>
        <pc:spChg chg="add del mod">
          <ac:chgData name="Cornago, Fernando" userId="048a41c0-cb7a-447c-b2ac-f7c7348706e9" providerId="ADAL" clId="{937591CA-C1D7-784D-9DA8-42716B827479}" dt="2020-06-16T04:02:12.513" v="1164"/>
          <ac:spMkLst>
            <pc:docMk/>
            <pc:sldMk cId="1649412314" sldId="2134806423"/>
            <ac:spMk id="91" creationId="{59881531-D808-5E49-8CCB-7E1485D29618}"/>
          </ac:spMkLst>
        </pc:spChg>
        <pc:spChg chg="add del mod">
          <ac:chgData name="Cornago, Fernando" userId="048a41c0-cb7a-447c-b2ac-f7c7348706e9" providerId="ADAL" clId="{937591CA-C1D7-784D-9DA8-42716B827479}" dt="2020-06-16T04:02:12.513" v="1164"/>
          <ac:spMkLst>
            <pc:docMk/>
            <pc:sldMk cId="1649412314" sldId="2134806423"/>
            <ac:spMk id="92" creationId="{788F2322-C4E3-DE44-83C2-806E9DE7109C}"/>
          </ac:spMkLst>
        </pc:spChg>
        <pc:spChg chg="add del mod">
          <ac:chgData name="Cornago, Fernando" userId="048a41c0-cb7a-447c-b2ac-f7c7348706e9" providerId="ADAL" clId="{937591CA-C1D7-784D-9DA8-42716B827479}" dt="2020-06-16T04:02:12.513" v="1164"/>
          <ac:spMkLst>
            <pc:docMk/>
            <pc:sldMk cId="1649412314" sldId="2134806423"/>
            <ac:spMk id="93" creationId="{D1912E50-1C4F-7B4D-98BF-491ECCC4299B}"/>
          </ac:spMkLst>
        </pc:spChg>
        <pc:spChg chg="add del mod">
          <ac:chgData name="Cornago, Fernando" userId="048a41c0-cb7a-447c-b2ac-f7c7348706e9" providerId="ADAL" clId="{937591CA-C1D7-784D-9DA8-42716B827479}" dt="2020-06-16T04:02:12.513" v="1164"/>
          <ac:spMkLst>
            <pc:docMk/>
            <pc:sldMk cId="1649412314" sldId="2134806423"/>
            <ac:spMk id="94" creationId="{1022D3BB-B449-244C-BE90-67DDAA8D88B8}"/>
          </ac:spMkLst>
        </pc:spChg>
        <pc:spChg chg="mod">
          <ac:chgData name="Cornago, Fernando" userId="048a41c0-cb7a-447c-b2ac-f7c7348706e9" providerId="ADAL" clId="{937591CA-C1D7-784D-9DA8-42716B827479}" dt="2020-06-16T04:02:53.226" v="1174"/>
          <ac:spMkLst>
            <pc:docMk/>
            <pc:sldMk cId="1649412314" sldId="2134806423"/>
            <ac:spMk id="97" creationId="{AB380EDE-8ECA-F14C-9933-E892E193FCED}"/>
          </ac:spMkLst>
        </pc:spChg>
        <pc:spChg chg="mod">
          <ac:chgData name="Cornago, Fernando" userId="048a41c0-cb7a-447c-b2ac-f7c7348706e9" providerId="ADAL" clId="{937591CA-C1D7-784D-9DA8-42716B827479}" dt="2020-06-16T04:02:53.226" v="1174"/>
          <ac:spMkLst>
            <pc:docMk/>
            <pc:sldMk cId="1649412314" sldId="2134806423"/>
            <ac:spMk id="98" creationId="{568C1062-68F3-8A4F-A412-4F016F968D70}"/>
          </ac:spMkLst>
        </pc:spChg>
        <pc:spChg chg="mod">
          <ac:chgData name="Cornago, Fernando" userId="048a41c0-cb7a-447c-b2ac-f7c7348706e9" providerId="ADAL" clId="{937591CA-C1D7-784D-9DA8-42716B827479}" dt="2020-06-16T04:02:53.226" v="1174"/>
          <ac:spMkLst>
            <pc:docMk/>
            <pc:sldMk cId="1649412314" sldId="2134806423"/>
            <ac:spMk id="99" creationId="{368D4BA1-F1BD-A147-97E8-3FE0DC96A7C8}"/>
          </ac:spMkLst>
        </pc:spChg>
        <pc:spChg chg="mod">
          <ac:chgData name="Cornago, Fernando" userId="048a41c0-cb7a-447c-b2ac-f7c7348706e9" providerId="ADAL" clId="{937591CA-C1D7-784D-9DA8-42716B827479}" dt="2020-06-16T04:02:53.226" v="1174"/>
          <ac:spMkLst>
            <pc:docMk/>
            <pc:sldMk cId="1649412314" sldId="2134806423"/>
            <ac:spMk id="100" creationId="{29C022EF-8CFD-CC49-AEE0-6E5D115B49BF}"/>
          </ac:spMkLst>
        </pc:spChg>
        <pc:spChg chg="mod">
          <ac:chgData name="Cornago, Fernando" userId="048a41c0-cb7a-447c-b2ac-f7c7348706e9" providerId="ADAL" clId="{937591CA-C1D7-784D-9DA8-42716B827479}" dt="2020-06-16T04:02:53.226" v="1174"/>
          <ac:spMkLst>
            <pc:docMk/>
            <pc:sldMk cId="1649412314" sldId="2134806423"/>
            <ac:spMk id="101" creationId="{ECBB980A-3141-814C-9C43-2B5774516246}"/>
          </ac:spMkLst>
        </pc:spChg>
        <pc:spChg chg="mod">
          <ac:chgData name="Cornago, Fernando" userId="048a41c0-cb7a-447c-b2ac-f7c7348706e9" providerId="ADAL" clId="{937591CA-C1D7-784D-9DA8-42716B827479}" dt="2020-06-16T04:02:53.226" v="1174"/>
          <ac:spMkLst>
            <pc:docMk/>
            <pc:sldMk cId="1649412314" sldId="2134806423"/>
            <ac:spMk id="104" creationId="{DA9E1234-4851-E547-ACD8-4DEA09736CB8}"/>
          </ac:spMkLst>
        </pc:spChg>
        <pc:spChg chg="mod">
          <ac:chgData name="Cornago, Fernando" userId="048a41c0-cb7a-447c-b2ac-f7c7348706e9" providerId="ADAL" clId="{937591CA-C1D7-784D-9DA8-42716B827479}" dt="2020-06-16T04:02:53.226" v="1174"/>
          <ac:spMkLst>
            <pc:docMk/>
            <pc:sldMk cId="1649412314" sldId="2134806423"/>
            <ac:spMk id="105" creationId="{25D59DD8-C27D-8747-B4D3-D31E071A9957}"/>
          </ac:spMkLst>
        </pc:spChg>
        <pc:spChg chg="mod">
          <ac:chgData name="Cornago, Fernando" userId="048a41c0-cb7a-447c-b2ac-f7c7348706e9" providerId="ADAL" clId="{937591CA-C1D7-784D-9DA8-42716B827479}" dt="2020-06-16T04:02:53.226" v="1174"/>
          <ac:spMkLst>
            <pc:docMk/>
            <pc:sldMk cId="1649412314" sldId="2134806423"/>
            <ac:spMk id="106" creationId="{1269D3E6-72BA-EE47-B5EE-71827D1DF1CB}"/>
          </ac:spMkLst>
        </pc:spChg>
        <pc:spChg chg="mod">
          <ac:chgData name="Cornago, Fernando" userId="048a41c0-cb7a-447c-b2ac-f7c7348706e9" providerId="ADAL" clId="{937591CA-C1D7-784D-9DA8-42716B827479}" dt="2020-06-16T04:02:53.226" v="1174"/>
          <ac:spMkLst>
            <pc:docMk/>
            <pc:sldMk cId="1649412314" sldId="2134806423"/>
            <ac:spMk id="107" creationId="{9CD99843-8152-264F-BEC3-2CC6081C7653}"/>
          </ac:spMkLst>
        </pc:spChg>
        <pc:spChg chg="add mod">
          <ac:chgData name="Cornago, Fernando" userId="048a41c0-cb7a-447c-b2ac-f7c7348706e9" providerId="ADAL" clId="{937591CA-C1D7-784D-9DA8-42716B827479}" dt="2020-06-16T04:12:07.562" v="1220" actId="14100"/>
          <ac:spMkLst>
            <pc:docMk/>
            <pc:sldMk cId="1649412314" sldId="2134806423"/>
            <ac:spMk id="109" creationId="{C2444871-5CB0-3E4D-8C74-0A94347233F0}"/>
          </ac:spMkLst>
        </pc:spChg>
        <pc:spChg chg="add del mod">
          <ac:chgData name="Cornago, Fernando" userId="048a41c0-cb7a-447c-b2ac-f7c7348706e9" providerId="ADAL" clId="{937591CA-C1D7-784D-9DA8-42716B827479}" dt="2020-06-16T04:14:46.402" v="1276" actId="478"/>
          <ac:spMkLst>
            <pc:docMk/>
            <pc:sldMk cId="1649412314" sldId="2134806423"/>
            <ac:spMk id="110" creationId="{BDF1E2BA-5BA2-4C43-AF82-E2D7412B78F8}"/>
          </ac:spMkLst>
        </pc:spChg>
        <pc:spChg chg="add del mod">
          <ac:chgData name="Cornago, Fernando" userId="048a41c0-cb7a-447c-b2ac-f7c7348706e9" providerId="ADAL" clId="{937591CA-C1D7-784D-9DA8-42716B827479}" dt="2020-06-16T04:15:04.089" v="1279" actId="478"/>
          <ac:spMkLst>
            <pc:docMk/>
            <pc:sldMk cId="1649412314" sldId="2134806423"/>
            <ac:spMk id="111" creationId="{DE246C88-EF2A-F740-9C80-B71E962D3252}"/>
          </ac:spMkLst>
        </pc:spChg>
        <pc:spChg chg="add del mod">
          <ac:chgData name="Cornago, Fernando" userId="048a41c0-cb7a-447c-b2ac-f7c7348706e9" providerId="ADAL" clId="{937591CA-C1D7-784D-9DA8-42716B827479}" dt="2020-06-16T04:15:12.452" v="1282" actId="478"/>
          <ac:spMkLst>
            <pc:docMk/>
            <pc:sldMk cId="1649412314" sldId="2134806423"/>
            <ac:spMk id="112" creationId="{36F1574E-303C-1B48-82AE-A2E8370998E0}"/>
          </ac:spMkLst>
        </pc:spChg>
        <pc:spChg chg="add del mod">
          <ac:chgData name="Cornago, Fernando" userId="048a41c0-cb7a-447c-b2ac-f7c7348706e9" providerId="ADAL" clId="{937591CA-C1D7-784D-9DA8-42716B827479}" dt="2020-06-16T04:15:25.179" v="1285" actId="478"/>
          <ac:spMkLst>
            <pc:docMk/>
            <pc:sldMk cId="1649412314" sldId="2134806423"/>
            <ac:spMk id="113" creationId="{14E837FB-C92F-2742-ADA9-DA29FEC2721D}"/>
          </ac:spMkLst>
        </pc:spChg>
        <pc:spChg chg="add del mod">
          <ac:chgData name="Cornago, Fernando" userId="048a41c0-cb7a-447c-b2ac-f7c7348706e9" providerId="ADAL" clId="{937591CA-C1D7-784D-9DA8-42716B827479}" dt="2020-06-16T04:16:33.520" v="1296" actId="478"/>
          <ac:spMkLst>
            <pc:docMk/>
            <pc:sldMk cId="1649412314" sldId="2134806423"/>
            <ac:spMk id="114" creationId="{1A51FDC0-3C12-7443-98BF-31372ADC6B7E}"/>
          </ac:spMkLst>
        </pc:spChg>
        <pc:spChg chg="add del mod">
          <ac:chgData name="Cornago, Fernando" userId="048a41c0-cb7a-447c-b2ac-f7c7348706e9" providerId="ADAL" clId="{937591CA-C1D7-784D-9DA8-42716B827479}" dt="2020-06-16T04:16:46.316" v="1299" actId="478"/>
          <ac:spMkLst>
            <pc:docMk/>
            <pc:sldMk cId="1649412314" sldId="2134806423"/>
            <ac:spMk id="115" creationId="{83239BF6-CB10-154E-B256-4EAD41BB387C}"/>
          </ac:spMkLst>
        </pc:spChg>
        <pc:spChg chg="add del mod">
          <ac:chgData name="Cornago, Fernando" userId="048a41c0-cb7a-447c-b2ac-f7c7348706e9" providerId="ADAL" clId="{937591CA-C1D7-784D-9DA8-42716B827479}" dt="2020-06-16T04:16:54.382" v="1302" actId="478"/>
          <ac:spMkLst>
            <pc:docMk/>
            <pc:sldMk cId="1649412314" sldId="2134806423"/>
            <ac:spMk id="116" creationId="{404625A6-C4B1-E247-B22A-3A549349EBB1}"/>
          </ac:spMkLst>
        </pc:spChg>
        <pc:spChg chg="add del mod">
          <ac:chgData name="Cornago, Fernando" userId="048a41c0-cb7a-447c-b2ac-f7c7348706e9" providerId="ADAL" clId="{937591CA-C1D7-784D-9DA8-42716B827479}" dt="2020-06-16T04:17:15.333" v="1305" actId="478"/>
          <ac:spMkLst>
            <pc:docMk/>
            <pc:sldMk cId="1649412314" sldId="2134806423"/>
            <ac:spMk id="117" creationId="{4AF0CD19-DA84-CE40-8A93-B4B712FDC9F0}"/>
          </ac:spMkLst>
        </pc:spChg>
        <pc:spChg chg="add del mod">
          <ac:chgData name="Cornago, Fernando" userId="048a41c0-cb7a-447c-b2ac-f7c7348706e9" providerId="ADAL" clId="{937591CA-C1D7-784D-9DA8-42716B827479}" dt="2020-06-16T04:17:34.651" v="1310" actId="478"/>
          <ac:spMkLst>
            <pc:docMk/>
            <pc:sldMk cId="1649412314" sldId="2134806423"/>
            <ac:spMk id="118" creationId="{39EDD0AA-3582-E140-9778-E9EA3B37176E}"/>
          </ac:spMkLst>
        </pc:spChg>
        <pc:spChg chg="add del mod">
          <ac:chgData name="Cornago, Fernando" userId="048a41c0-cb7a-447c-b2ac-f7c7348706e9" providerId="ADAL" clId="{937591CA-C1D7-784D-9DA8-42716B827479}" dt="2020-06-16T04:17:54.634" v="1313" actId="478"/>
          <ac:spMkLst>
            <pc:docMk/>
            <pc:sldMk cId="1649412314" sldId="2134806423"/>
            <ac:spMk id="119" creationId="{2E849D1E-DE06-CC4A-969E-EB5A659FD3DE}"/>
          </ac:spMkLst>
        </pc:spChg>
        <pc:spChg chg="add del mod">
          <ac:chgData name="Cornago, Fernando" userId="048a41c0-cb7a-447c-b2ac-f7c7348706e9" providerId="ADAL" clId="{937591CA-C1D7-784D-9DA8-42716B827479}" dt="2020-06-16T04:18:02.197" v="1316" actId="478"/>
          <ac:spMkLst>
            <pc:docMk/>
            <pc:sldMk cId="1649412314" sldId="2134806423"/>
            <ac:spMk id="120" creationId="{88264E4D-F085-E845-8F68-08F67CA889F6}"/>
          </ac:spMkLst>
        </pc:spChg>
        <pc:spChg chg="add del mod">
          <ac:chgData name="Cornago, Fernando" userId="048a41c0-cb7a-447c-b2ac-f7c7348706e9" providerId="ADAL" clId="{937591CA-C1D7-784D-9DA8-42716B827479}" dt="2020-06-16T04:18:15.599" v="1321" actId="478"/>
          <ac:spMkLst>
            <pc:docMk/>
            <pc:sldMk cId="1649412314" sldId="2134806423"/>
            <ac:spMk id="121" creationId="{5E71E9AD-67E9-1341-8843-6E068458FC33}"/>
          </ac:spMkLst>
        </pc:spChg>
        <pc:spChg chg="add del mod">
          <ac:chgData name="Cornago, Fernando" userId="048a41c0-cb7a-447c-b2ac-f7c7348706e9" providerId="ADAL" clId="{937591CA-C1D7-784D-9DA8-42716B827479}" dt="2020-06-16T04:18:29.478" v="1324" actId="478"/>
          <ac:spMkLst>
            <pc:docMk/>
            <pc:sldMk cId="1649412314" sldId="2134806423"/>
            <ac:spMk id="122" creationId="{A9BC5043-C159-7E42-88E1-DEFD1525632C}"/>
          </ac:spMkLst>
        </pc:spChg>
        <pc:spChg chg="add mod">
          <ac:chgData name="Cornago, Fernando" userId="048a41c0-cb7a-447c-b2ac-f7c7348706e9" providerId="ADAL" clId="{937591CA-C1D7-784D-9DA8-42716B827479}" dt="2020-06-16T04:12:26.073" v="1223" actId="207"/>
          <ac:spMkLst>
            <pc:docMk/>
            <pc:sldMk cId="1649412314" sldId="2134806423"/>
            <ac:spMk id="123" creationId="{1B4A77C4-6FC7-4A4E-93CD-00E765027DC7}"/>
          </ac:spMkLst>
        </pc:spChg>
        <pc:spChg chg="add mod">
          <ac:chgData name="Cornago, Fernando" userId="048a41c0-cb7a-447c-b2ac-f7c7348706e9" providerId="ADAL" clId="{937591CA-C1D7-784D-9DA8-42716B827479}" dt="2020-06-17T03:54:26.921" v="2796" actId="1076"/>
          <ac:spMkLst>
            <pc:docMk/>
            <pc:sldMk cId="1649412314" sldId="2134806423"/>
            <ac:spMk id="124" creationId="{3D9475A7-90DA-D44E-8458-EF6A98B20C62}"/>
          </ac:spMkLst>
        </pc:spChg>
        <pc:spChg chg="add mod">
          <ac:chgData name="Cornago, Fernando" userId="048a41c0-cb7a-447c-b2ac-f7c7348706e9" providerId="ADAL" clId="{937591CA-C1D7-784D-9DA8-42716B827479}" dt="2020-06-17T03:55:39.275" v="2909" actId="20577"/>
          <ac:spMkLst>
            <pc:docMk/>
            <pc:sldMk cId="1649412314" sldId="2134806423"/>
            <ac:spMk id="125" creationId="{B343CD47-BAC3-AE46-B146-45F579E252A6}"/>
          </ac:spMkLst>
        </pc:spChg>
        <pc:spChg chg="add del mod">
          <ac:chgData name="Cornago, Fernando" userId="048a41c0-cb7a-447c-b2ac-f7c7348706e9" providerId="ADAL" clId="{937591CA-C1D7-784D-9DA8-42716B827479}" dt="2020-06-16T04:13:08.833" v="1236" actId="478"/>
          <ac:spMkLst>
            <pc:docMk/>
            <pc:sldMk cId="1649412314" sldId="2134806423"/>
            <ac:spMk id="126" creationId="{E4B78D08-110E-ED4E-BA5F-43ED2BE78F68}"/>
          </ac:spMkLst>
        </pc:spChg>
        <pc:spChg chg="add mod">
          <ac:chgData name="Cornago, Fernando" userId="048a41c0-cb7a-447c-b2ac-f7c7348706e9" providerId="ADAL" clId="{937591CA-C1D7-784D-9DA8-42716B827479}" dt="2020-06-17T03:54:36.441" v="2797" actId="1076"/>
          <ac:spMkLst>
            <pc:docMk/>
            <pc:sldMk cId="1649412314" sldId="2134806423"/>
            <ac:spMk id="127" creationId="{2A0F7A92-2C66-674B-ACD6-DB9880F73A7F}"/>
          </ac:spMkLst>
        </pc:spChg>
        <pc:spChg chg="add mod">
          <ac:chgData name="Cornago, Fernando" userId="048a41c0-cb7a-447c-b2ac-f7c7348706e9" providerId="ADAL" clId="{937591CA-C1D7-784D-9DA8-42716B827479}" dt="2020-06-17T03:56:49.240" v="2979" actId="20577"/>
          <ac:spMkLst>
            <pc:docMk/>
            <pc:sldMk cId="1649412314" sldId="2134806423"/>
            <ac:spMk id="128" creationId="{B8467306-49D6-D048-AF17-E9C8E44D068C}"/>
          </ac:spMkLst>
        </pc:spChg>
        <pc:spChg chg="add mod">
          <ac:chgData name="Cornago, Fernando" userId="048a41c0-cb7a-447c-b2ac-f7c7348706e9" providerId="ADAL" clId="{937591CA-C1D7-784D-9DA8-42716B827479}" dt="2020-06-17T03:54:51.496" v="2798" actId="1076"/>
          <ac:spMkLst>
            <pc:docMk/>
            <pc:sldMk cId="1649412314" sldId="2134806423"/>
            <ac:spMk id="129" creationId="{C8147F5A-5799-F941-8D18-41620ACE6CA4}"/>
          </ac:spMkLst>
        </pc:spChg>
        <pc:spChg chg="add mod">
          <ac:chgData name="Cornago, Fernando" userId="048a41c0-cb7a-447c-b2ac-f7c7348706e9" providerId="ADAL" clId="{937591CA-C1D7-784D-9DA8-42716B827479}" dt="2020-06-17T03:57:25.017" v="3066" actId="20577"/>
          <ac:spMkLst>
            <pc:docMk/>
            <pc:sldMk cId="1649412314" sldId="2134806423"/>
            <ac:spMk id="130" creationId="{30C41CA3-8CB2-B14B-A412-89F20155072D}"/>
          </ac:spMkLst>
        </pc:spChg>
        <pc:spChg chg="add mod">
          <ac:chgData name="Cornago, Fernando" userId="048a41c0-cb7a-447c-b2ac-f7c7348706e9" providerId="ADAL" clId="{937591CA-C1D7-784D-9DA8-42716B827479}" dt="2020-06-16T04:14:55.875" v="1278" actId="1076"/>
          <ac:spMkLst>
            <pc:docMk/>
            <pc:sldMk cId="1649412314" sldId="2134806423"/>
            <ac:spMk id="131" creationId="{E01C4BB3-E931-C241-9795-0249C7B42EA2}"/>
          </ac:spMkLst>
        </pc:spChg>
        <pc:spChg chg="add mod">
          <ac:chgData name="Cornago, Fernando" userId="048a41c0-cb7a-447c-b2ac-f7c7348706e9" providerId="ADAL" clId="{937591CA-C1D7-784D-9DA8-42716B827479}" dt="2020-06-16T04:14:55.875" v="1278" actId="1076"/>
          <ac:spMkLst>
            <pc:docMk/>
            <pc:sldMk cId="1649412314" sldId="2134806423"/>
            <ac:spMk id="132" creationId="{AB47E185-E3BC-BB46-AAF5-0B73BE2FEFF9}"/>
          </ac:spMkLst>
        </pc:spChg>
        <pc:spChg chg="add mod">
          <ac:chgData name="Cornago, Fernando" userId="048a41c0-cb7a-447c-b2ac-f7c7348706e9" providerId="ADAL" clId="{937591CA-C1D7-784D-9DA8-42716B827479}" dt="2020-06-16T04:15:10.454" v="1281" actId="1076"/>
          <ac:spMkLst>
            <pc:docMk/>
            <pc:sldMk cId="1649412314" sldId="2134806423"/>
            <ac:spMk id="133" creationId="{8B51EC48-8136-0C45-BFC4-BD894E451C03}"/>
          </ac:spMkLst>
        </pc:spChg>
        <pc:spChg chg="add mod">
          <ac:chgData name="Cornago, Fernando" userId="048a41c0-cb7a-447c-b2ac-f7c7348706e9" providerId="ADAL" clId="{937591CA-C1D7-784D-9DA8-42716B827479}" dt="2020-06-16T04:15:10.454" v="1281" actId="1076"/>
          <ac:spMkLst>
            <pc:docMk/>
            <pc:sldMk cId="1649412314" sldId="2134806423"/>
            <ac:spMk id="134" creationId="{EE993FEA-F22D-AC45-BB91-8C5ED03F8342}"/>
          </ac:spMkLst>
        </pc:spChg>
        <pc:spChg chg="add mod">
          <ac:chgData name="Cornago, Fernando" userId="048a41c0-cb7a-447c-b2ac-f7c7348706e9" providerId="ADAL" clId="{937591CA-C1D7-784D-9DA8-42716B827479}" dt="2020-06-16T04:15:18.532" v="1284" actId="1076"/>
          <ac:spMkLst>
            <pc:docMk/>
            <pc:sldMk cId="1649412314" sldId="2134806423"/>
            <ac:spMk id="135" creationId="{70541B78-7CA1-604D-961C-3F0744406A7C}"/>
          </ac:spMkLst>
        </pc:spChg>
        <pc:spChg chg="add mod">
          <ac:chgData name="Cornago, Fernando" userId="048a41c0-cb7a-447c-b2ac-f7c7348706e9" providerId="ADAL" clId="{937591CA-C1D7-784D-9DA8-42716B827479}" dt="2020-06-16T04:15:18.532" v="1284" actId="1076"/>
          <ac:spMkLst>
            <pc:docMk/>
            <pc:sldMk cId="1649412314" sldId="2134806423"/>
            <ac:spMk id="136" creationId="{4F4D2640-1A18-6344-A047-FF44B0E578FE}"/>
          </ac:spMkLst>
        </pc:spChg>
        <pc:spChg chg="add mod">
          <ac:chgData name="Cornago, Fernando" userId="048a41c0-cb7a-447c-b2ac-f7c7348706e9" providerId="ADAL" clId="{937591CA-C1D7-784D-9DA8-42716B827479}" dt="2020-06-16T04:15:54.073" v="1291" actId="14100"/>
          <ac:spMkLst>
            <pc:docMk/>
            <pc:sldMk cId="1649412314" sldId="2134806423"/>
            <ac:spMk id="137" creationId="{8E2E51EE-3648-FF4C-BD66-2C2E94491280}"/>
          </ac:spMkLst>
        </pc:spChg>
        <pc:spChg chg="add mod">
          <ac:chgData name="Cornago, Fernando" userId="048a41c0-cb7a-447c-b2ac-f7c7348706e9" providerId="ADAL" clId="{937591CA-C1D7-784D-9DA8-42716B827479}" dt="2020-06-16T04:16:09.950" v="1293" actId="1076"/>
          <ac:spMkLst>
            <pc:docMk/>
            <pc:sldMk cId="1649412314" sldId="2134806423"/>
            <ac:spMk id="138" creationId="{B824A2D9-F926-5646-82CC-83973A3A8D38}"/>
          </ac:spMkLst>
        </pc:spChg>
        <pc:spChg chg="add mod">
          <ac:chgData name="Cornago, Fernando" userId="048a41c0-cb7a-447c-b2ac-f7c7348706e9" providerId="ADAL" clId="{937591CA-C1D7-784D-9DA8-42716B827479}" dt="2020-06-16T04:16:20.385" v="1295" actId="1076"/>
          <ac:spMkLst>
            <pc:docMk/>
            <pc:sldMk cId="1649412314" sldId="2134806423"/>
            <ac:spMk id="139" creationId="{FFCD50EB-43F1-2B4D-A107-2FF523C0AF28}"/>
          </ac:spMkLst>
        </pc:spChg>
        <pc:spChg chg="add mod">
          <ac:chgData name="Cornago, Fernando" userId="048a41c0-cb7a-447c-b2ac-f7c7348706e9" providerId="ADAL" clId="{937591CA-C1D7-784D-9DA8-42716B827479}" dt="2020-06-16T04:16:39.728" v="1298" actId="1076"/>
          <ac:spMkLst>
            <pc:docMk/>
            <pc:sldMk cId="1649412314" sldId="2134806423"/>
            <ac:spMk id="140" creationId="{C038590A-CE0F-1E44-BDFA-532842016583}"/>
          </ac:spMkLst>
        </pc:spChg>
        <pc:spChg chg="add mod">
          <ac:chgData name="Cornago, Fernando" userId="048a41c0-cb7a-447c-b2ac-f7c7348706e9" providerId="ADAL" clId="{937591CA-C1D7-784D-9DA8-42716B827479}" dt="2020-06-16T04:16:39.728" v="1298" actId="1076"/>
          <ac:spMkLst>
            <pc:docMk/>
            <pc:sldMk cId="1649412314" sldId="2134806423"/>
            <ac:spMk id="141" creationId="{5912DB0B-5FE3-1B46-83DD-7C3A701EC9C8}"/>
          </ac:spMkLst>
        </pc:spChg>
        <pc:spChg chg="add mod">
          <ac:chgData name="Cornago, Fernando" userId="048a41c0-cb7a-447c-b2ac-f7c7348706e9" providerId="ADAL" clId="{937591CA-C1D7-784D-9DA8-42716B827479}" dt="2020-06-16T04:16:51.999" v="1301" actId="1076"/>
          <ac:spMkLst>
            <pc:docMk/>
            <pc:sldMk cId="1649412314" sldId="2134806423"/>
            <ac:spMk id="142" creationId="{E6360C2B-F6E3-7842-B5DC-FDEAA7C7A51A}"/>
          </ac:spMkLst>
        </pc:spChg>
        <pc:spChg chg="add mod">
          <ac:chgData name="Cornago, Fernando" userId="048a41c0-cb7a-447c-b2ac-f7c7348706e9" providerId="ADAL" clId="{937591CA-C1D7-784D-9DA8-42716B827479}" dt="2020-06-16T04:16:51.999" v="1301" actId="1076"/>
          <ac:spMkLst>
            <pc:docMk/>
            <pc:sldMk cId="1649412314" sldId="2134806423"/>
            <ac:spMk id="143" creationId="{F48063B9-9786-7742-AB29-B594F12856CD}"/>
          </ac:spMkLst>
        </pc:spChg>
        <pc:spChg chg="add mod">
          <ac:chgData name="Cornago, Fernando" userId="048a41c0-cb7a-447c-b2ac-f7c7348706e9" providerId="ADAL" clId="{937591CA-C1D7-784D-9DA8-42716B827479}" dt="2020-06-16T04:17:03.762" v="1304" actId="1076"/>
          <ac:spMkLst>
            <pc:docMk/>
            <pc:sldMk cId="1649412314" sldId="2134806423"/>
            <ac:spMk id="144" creationId="{97F64B53-B230-074C-A4CF-4AE7B4A5AA96}"/>
          </ac:spMkLst>
        </pc:spChg>
        <pc:spChg chg="add mod">
          <ac:chgData name="Cornago, Fernando" userId="048a41c0-cb7a-447c-b2ac-f7c7348706e9" providerId="ADAL" clId="{937591CA-C1D7-784D-9DA8-42716B827479}" dt="2020-06-16T04:17:03.762" v="1304" actId="1076"/>
          <ac:spMkLst>
            <pc:docMk/>
            <pc:sldMk cId="1649412314" sldId="2134806423"/>
            <ac:spMk id="145" creationId="{962070AC-0909-1149-B15C-323861C23655}"/>
          </ac:spMkLst>
        </pc:spChg>
        <pc:spChg chg="add mod">
          <ac:chgData name="Cornago, Fernando" userId="048a41c0-cb7a-447c-b2ac-f7c7348706e9" providerId="ADAL" clId="{937591CA-C1D7-784D-9DA8-42716B827479}" dt="2020-06-16T04:17:03.762" v="1304" actId="1076"/>
          <ac:spMkLst>
            <pc:docMk/>
            <pc:sldMk cId="1649412314" sldId="2134806423"/>
            <ac:spMk id="146" creationId="{9145F114-8AEC-4443-85C1-F57D2AFCB40D}"/>
          </ac:spMkLst>
        </pc:spChg>
        <pc:spChg chg="add del mod">
          <ac:chgData name="Cornago, Fernando" userId="048a41c0-cb7a-447c-b2ac-f7c7348706e9" providerId="ADAL" clId="{937591CA-C1D7-784D-9DA8-42716B827479}" dt="2020-06-16T04:17:19.232" v="1307"/>
          <ac:spMkLst>
            <pc:docMk/>
            <pc:sldMk cId="1649412314" sldId="2134806423"/>
            <ac:spMk id="147" creationId="{D5B5616A-A198-BB4A-BC85-97682371FCA9}"/>
          </ac:spMkLst>
        </pc:spChg>
        <pc:spChg chg="add mod">
          <ac:chgData name="Cornago, Fernando" userId="048a41c0-cb7a-447c-b2ac-f7c7348706e9" providerId="ADAL" clId="{937591CA-C1D7-784D-9DA8-42716B827479}" dt="2020-06-16T04:17:29.388" v="1309" actId="1076"/>
          <ac:spMkLst>
            <pc:docMk/>
            <pc:sldMk cId="1649412314" sldId="2134806423"/>
            <ac:spMk id="148" creationId="{1F7D5CC4-47ED-2148-803C-9C6387DE8778}"/>
          </ac:spMkLst>
        </pc:spChg>
        <pc:spChg chg="add mod">
          <ac:chgData name="Cornago, Fernando" userId="048a41c0-cb7a-447c-b2ac-f7c7348706e9" providerId="ADAL" clId="{937591CA-C1D7-784D-9DA8-42716B827479}" dt="2020-06-16T04:17:29.388" v="1309" actId="1076"/>
          <ac:spMkLst>
            <pc:docMk/>
            <pc:sldMk cId="1649412314" sldId="2134806423"/>
            <ac:spMk id="149" creationId="{A261C6A9-4A69-2140-8048-3DBB0709ECDF}"/>
          </ac:spMkLst>
        </pc:spChg>
        <pc:spChg chg="add mod">
          <ac:chgData name="Cornago, Fernando" userId="048a41c0-cb7a-447c-b2ac-f7c7348706e9" providerId="ADAL" clId="{937591CA-C1D7-784D-9DA8-42716B827479}" dt="2020-06-16T04:17:29.388" v="1309" actId="1076"/>
          <ac:spMkLst>
            <pc:docMk/>
            <pc:sldMk cId="1649412314" sldId="2134806423"/>
            <ac:spMk id="150" creationId="{0C3C943C-AA7C-5F4C-9F49-DD013E9B19F8}"/>
          </ac:spMkLst>
        </pc:spChg>
        <pc:spChg chg="add mod">
          <ac:chgData name="Cornago, Fernando" userId="048a41c0-cb7a-447c-b2ac-f7c7348706e9" providerId="ADAL" clId="{937591CA-C1D7-784D-9DA8-42716B827479}" dt="2020-06-16T04:17:44.743" v="1312" actId="1076"/>
          <ac:spMkLst>
            <pc:docMk/>
            <pc:sldMk cId="1649412314" sldId="2134806423"/>
            <ac:spMk id="151" creationId="{4919610E-92B0-4E48-8D93-DF945A49236B}"/>
          </ac:spMkLst>
        </pc:spChg>
        <pc:spChg chg="add mod">
          <ac:chgData name="Cornago, Fernando" userId="048a41c0-cb7a-447c-b2ac-f7c7348706e9" providerId="ADAL" clId="{937591CA-C1D7-784D-9DA8-42716B827479}" dt="2020-06-16T04:17:59.976" v="1315" actId="1076"/>
          <ac:spMkLst>
            <pc:docMk/>
            <pc:sldMk cId="1649412314" sldId="2134806423"/>
            <ac:spMk id="152" creationId="{2B3B2997-A966-0E45-8F6A-0AB14E221FC5}"/>
          </ac:spMkLst>
        </pc:spChg>
        <pc:spChg chg="add del mod">
          <ac:chgData name="Cornago, Fernando" userId="048a41c0-cb7a-447c-b2ac-f7c7348706e9" providerId="ADAL" clId="{937591CA-C1D7-784D-9DA8-42716B827479}" dt="2020-06-16T04:18:05.202" v="1318"/>
          <ac:spMkLst>
            <pc:docMk/>
            <pc:sldMk cId="1649412314" sldId="2134806423"/>
            <ac:spMk id="153" creationId="{F86784B8-C2D7-7B48-B611-92343D4A1405}"/>
          </ac:spMkLst>
        </pc:spChg>
        <pc:spChg chg="add mod">
          <ac:chgData name="Cornago, Fernando" userId="048a41c0-cb7a-447c-b2ac-f7c7348706e9" providerId="ADAL" clId="{937591CA-C1D7-784D-9DA8-42716B827479}" dt="2020-06-16T04:18:13.262" v="1320" actId="1076"/>
          <ac:spMkLst>
            <pc:docMk/>
            <pc:sldMk cId="1649412314" sldId="2134806423"/>
            <ac:spMk id="154" creationId="{53F65FE5-4D95-CF48-B4DD-58C357AD3C65}"/>
          </ac:spMkLst>
        </pc:spChg>
        <pc:spChg chg="add mod">
          <ac:chgData name="Cornago, Fernando" userId="048a41c0-cb7a-447c-b2ac-f7c7348706e9" providerId="ADAL" clId="{937591CA-C1D7-784D-9DA8-42716B827479}" dt="2020-06-16T04:18:13.262" v="1320" actId="1076"/>
          <ac:spMkLst>
            <pc:docMk/>
            <pc:sldMk cId="1649412314" sldId="2134806423"/>
            <ac:spMk id="155" creationId="{AB00D719-841C-1A41-8917-847005247759}"/>
          </ac:spMkLst>
        </pc:spChg>
        <pc:spChg chg="add mod">
          <ac:chgData name="Cornago, Fernando" userId="048a41c0-cb7a-447c-b2ac-f7c7348706e9" providerId="ADAL" clId="{937591CA-C1D7-784D-9DA8-42716B827479}" dt="2020-06-16T04:18:13.262" v="1320" actId="1076"/>
          <ac:spMkLst>
            <pc:docMk/>
            <pc:sldMk cId="1649412314" sldId="2134806423"/>
            <ac:spMk id="156" creationId="{7CC1267C-FE77-BB4F-B59D-148CC963F25F}"/>
          </ac:spMkLst>
        </pc:spChg>
        <pc:spChg chg="add mod">
          <ac:chgData name="Cornago, Fernando" userId="048a41c0-cb7a-447c-b2ac-f7c7348706e9" providerId="ADAL" clId="{937591CA-C1D7-784D-9DA8-42716B827479}" dt="2020-06-16T04:18:27.498" v="1323" actId="1076"/>
          <ac:spMkLst>
            <pc:docMk/>
            <pc:sldMk cId="1649412314" sldId="2134806423"/>
            <ac:spMk id="157" creationId="{30864C67-87BE-5F46-BF68-678F1E76060A}"/>
          </ac:spMkLst>
        </pc:spChg>
        <pc:spChg chg="add mod">
          <ac:chgData name="Cornago, Fernando" userId="048a41c0-cb7a-447c-b2ac-f7c7348706e9" providerId="ADAL" clId="{937591CA-C1D7-784D-9DA8-42716B827479}" dt="2020-06-16T04:18:27.498" v="1323" actId="1076"/>
          <ac:spMkLst>
            <pc:docMk/>
            <pc:sldMk cId="1649412314" sldId="2134806423"/>
            <ac:spMk id="158" creationId="{9006EDF0-629A-234B-A93F-07227F03D0C3}"/>
          </ac:spMkLst>
        </pc:spChg>
        <pc:spChg chg="add mod">
          <ac:chgData name="Cornago, Fernando" userId="048a41c0-cb7a-447c-b2ac-f7c7348706e9" providerId="ADAL" clId="{937591CA-C1D7-784D-9DA8-42716B827479}" dt="2020-06-16T04:18:27.498" v="1323" actId="1076"/>
          <ac:spMkLst>
            <pc:docMk/>
            <pc:sldMk cId="1649412314" sldId="2134806423"/>
            <ac:spMk id="159" creationId="{C165385F-B19C-5E4E-A26B-8EE1EA9BE91D}"/>
          </ac:spMkLst>
        </pc:spChg>
        <pc:spChg chg="add mod">
          <ac:chgData name="Cornago, Fernando" userId="048a41c0-cb7a-447c-b2ac-f7c7348706e9" providerId="ADAL" clId="{937591CA-C1D7-784D-9DA8-42716B827479}" dt="2020-06-16T04:18:35.642" v="1326" actId="1076"/>
          <ac:spMkLst>
            <pc:docMk/>
            <pc:sldMk cId="1649412314" sldId="2134806423"/>
            <ac:spMk id="160" creationId="{047C3D35-F463-5147-BCE7-416717ABFCAF}"/>
          </ac:spMkLst>
        </pc:spChg>
        <pc:spChg chg="add del mod">
          <ac:chgData name="Cornago, Fernando" userId="048a41c0-cb7a-447c-b2ac-f7c7348706e9" providerId="ADAL" clId="{937591CA-C1D7-784D-9DA8-42716B827479}" dt="2020-06-16T04:22:00.855" v="1369" actId="478"/>
          <ac:spMkLst>
            <pc:docMk/>
            <pc:sldMk cId="1649412314" sldId="2134806423"/>
            <ac:spMk id="161" creationId="{856FB6FF-5B24-2042-A47C-F8133D9390EB}"/>
          </ac:spMkLst>
        </pc:spChg>
        <pc:spChg chg="add del mod">
          <ac:chgData name="Cornago, Fernando" userId="048a41c0-cb7a-447c-b2ac-f7c7348706e9" providerId="ADAL" clId="{937591CA-C1D7-784D-9DA8-42716B827479}" dt="2020-06-16T04:22:31.608" v="1428" actId="478"/>
          <ac:spMkLst>
            <pc:docMk/>
            <pc:sldMk cId="1649412314" sldId="2134806423"/>
            <ac:spMk id="162" creationId="{13916D3D-445B-2C49-B966-6FA9C8C883B4}"/>
          </ac:spMkLst>
        </pc:spChg>
        <pc:spChg chg="add del mod">
          <ac:chgData name="Cornago, Fernando" userId="048a41c0-cb7a-447c-b2ac-f7c7348706e9" providerId="ADAL" clId="{937591CA-C1D7-784D-9DA8-42716B827479}" dt="2020-06-16T04:22:34.092" v="1429" actId="478"/>
          <ac:spMkLst>
            <pc:docMk/>
            <pc:sldMk cId="1649412314" sldId="2134806423"/>
            <ac:spMk id="163" creationId="{F0CB38F6-681F-BA42-B5C5-10BDE8EBF454}"/>
          </ac:spMkLst>
        </pc:spChg>
        <pc:grpChg chg="add del mod">
          <ac:chgData name="Cornago, Fernando" userId="048a41c0-cb7a-447c-b2ac-f7c7348706e9" providerId="ADAL" clId="{937591CA-C1D7-784D-9DA8-42716B827479}" dt="2020-06-15T15:07:52.591" v="1032" actId="478"/>
          <ac:grpSpMkLst>
            <pc:docMk/>
            <pc:sldMk cId="1649412314" sldId="2134806423"/>
            <ac:grpSpMk id="8" creationId="{C6DB2807-7CBE-7F4F-B5AA-77D0D56B8071}"/>
          </ac:grpSpMkLst>
        </pc:grpChg>
        <pc:grpChg chg="add del mod">
          <ac:chgData name="Cornago, Fernando" userId="048a41c0-cb7a-447c-b2ac-f7c7348706e9" providerId="ADAL" clId="{937591CA-C1D7-784D-9DA8-42716B827479}" dt="2020-06-15T15:07:52.591" v="1032" actId="478"/>
          <ac:grpSpMkLst>
            <pc:docMk/>
            <pc:sldMk cId="1649412314" sldId="2134806423"/>
            <ac:grpSpMk id="11" creationId="{722F8ED2-69C7-CD41-96EC-93AC743C6FC6}"/>
          </ac:grpSpMkLst>
        </pc:grpChg>
        <pc:grpChg chg="add del mod">
          <ac:chgData name="Cornago, Fernando" userId="048a41c0-cb7a-447c-b2ac-f7c7348706e9" providerId="ADAL" clId="{937591CA-C1D7-784D-9DA8-42716B827479}" dt="2020-06-16T04:03:08.419" v="1179" actId="478"/>
          <ac:grpSpMkLst>
            <pc:docMk/>
            <pc:sldMk cId="1649412314" sldId="2134806423"/>
            <ac:grpSpMk id="53" creationId="{8C4794E7-8412-9B42-AC1F-03C9836E7FF1}"/>
          </ac:grpSpMkLst>
        </pc:grpChg>
        <pc:grpChg chg="mod">
          <ac:chgData name="Cornago, Fernando" userId="048a41c0-cb7a-447c-b2ac-f7c7348706e9" providerId="ADAL" clId="{937591CA-C1D7-784D-9DA8-42716B827479}" dt="2020-06-15T15:08:56.308" v="1062"/>
          <ac:grpSpMkLst>
            <pc:docMk/>
            <pc:sldMk cId="1649412314" sldId="2134806423"/>
            <ac:grpSpMk id="59" creationId="{20F5A0F1-5357-B44C-B8E8-D1B26036B127}"/>
          </ac:grpSpMkLst>
        </pc:grpChg>
        <pc:grpChg chg="mod">
          <ac:chgData name="Cornago, Fernando" userId="048a41c0-cb7a-447c-b2ac-f7c7348706e9" providerId="ADAL" clId="{937591CA-C1D7-784D-9DA8-42716B827479}" dt="2020-06-15T15:08:56.308" v="1062"/>
          <ac:grpSpMkLst>
            <pc:docMk/>
            <pc:sldMk cId="1649412314" sldId="2134806423"/>
            <ac:grpSpMk id="60" creationId="{908C5387-90AE-7644-8D86-A1FF2CD1B95E}"/>
          </ac:grpSpMkLst>
        </pc:grpChg>
        <pc:grpChg chg="add del mod">
          <ac:chgData name="Cornago, Fernando" userId="048a41c0-cb7a-447c-b2ac-f7c7348706e9" providerId="ADAL" clId="{937591CA-C1D7-784D-9DA8-42716B827479}" dt="2020-06-16T04:02:55.533" v="1175"/>
          <ac:grpSpMkLst>
            <pc:docMk/>
            <pc:sldMk cId="1649412314" sldId="2134806423"/>
            <ac:grpSpMk id="96" creationId="{FFDF69F0-DF68-544F-BDE0-674536A53899}"/>
          </ac:grpSpMkLst>
        </pc:grpChg>
        <pc:grpChg chg="mod">
          <ac:chgData name="Cornago, Fernando" userId="048a41c0-cb7a-447c-b2ac-f7c7348706e9" providerId="ADAL" clId="{937591CA-C1D7-784D-9DA8-42716B827479}" dt="2020-06-16T04:02:53.226" v="1174"/>
          <ac:grpSpMkLst>
            <pc:docMk/>
            <pc:sldMk cId="1649412314" sldId="2134806423"/>
            <ac:grpSpMk id="102" creationId="{B59CFE7D-9E1D-F645-B2DB-D9CC8183F72D}"/>
          </ac:grpSpMkLst>
        </pc:grpChg>
        <pc:grpChg chg="mod">
          <ac:chgData name="Cornago, Fernando" userId="048a41c0-cb7a-447c-b2ac-f7c7348706e9" providerId="ADAL" clId="{937591CA-C1D7-784D-9DA8-42716B827479}" dt="2020-06-16T04:02:53.226" v="1174"/>
          <ac:grpSpMkLst>
            <pc:docMk/>
            <pc:sldMk cId="1649412314" sldId="2134806423"/>
            <ac:grpSpMk id="103" creationId="{883879B5-E01F-7D48-8C36-A53B1E3DCC2D}"/>
          </ac:grpSpMkLst>
        </pc:grpChg>
        <pc:picChg chg="add mod">
          <ac:chgData name="Cornago, Fernando" userId="048a41c0-cb7a-447c-b2ac-f7c7348706e9" providerId="ADAL" clId="{937591CA-C1D7-784D-9DA8-42716B827479}" dt="2020-06-16T04:19:08.044" v="1329" actId="14100"/>
          <ac:picMkLst>
            <pc:docMk/>
            <pc:sldMk cId="1649412314" sldId="2134806423"/>
            <ac:picMk id="95" creationId="{B255B617-3142-4A4F-9E6C-EB3C27DA3870}"/>
          </ac:picMkLst>
        </pc:picChg>
        <pc:picChg chg="add mod">
          <ac:chgData name="Cornago, Fernando" userId="048a41c0-cb7a-447c-b2ac-f7c7348706e9" providerId="ADAL" clId="{937591CA-C1D7-784D-9DA8-42716B827479}" dt="2020-06-16T04:21:41.470" v="1366" actId="1076"/>
          <ac:picMkLst>
            <pc:docMk/>
            <pc:sldMk cId="1649412314" sldId="2134806423"/>
            <ac:picMk id="108" creationId="{6C827C56-6A6D-5944-A30B-C025EDFB29BA}"/>
          </ac:picMkLst>
        </pc:picChg>
      </pc:sldChg>
      <pc:sldChg chg="addSp delSp modSp new modAnim modNotesTx">
        <pc:chgData name="Cornago, Fernando" userId="048a41c0-cb7a-447c-b2ac-f7c7348706e9" providerId="ADAL" clId="{937591CA-C1D7-784D-9DA8-42716B827479}" dt="2020-06-17T07:02:41.953" v="15173" actId="20577"/>
        <pc:sldMkLst>
          <pc:docMk/>
          <pc:sldMk cId="2785670093" sldId="2134806424"/>
        </pc:sldMkLst>
        <pc:spChg chg="del">
          <ac:chgData name="Cornago, Fernando" userId="048a41c0-cb7a-447c-b2ac-f7c7348706e9" providerId="ADAL" clId="{937591CA-C1D7-784D-9DA8-42716B827479}" dt="2020-06-16T05:32:36.634" v="1843" actId="478"/>
          <ac:spMkLst>
            <pc:docMk/>
            <pc:sldMk cId="2785670093" sldId="2134806424"/>
            <ac:spMk id="2" creationId="{A0CFC812-E53C-8840-8E53-3FE8B0CFD5E5}"/>
          </ac:spMkLst>
        </pc:spChg>
        <pc:spChg chg="add mod">
          <ac:chgData name="Cornago, Fernando" userId="048a41c0-cb7a-447c-b2ac-f7c7348706e9" providerId="ADAL" clId="{937591CA-C1D7-784D-9DA8-42716B827479}" dt="2020-06-17T04:08:17.627" v="3177" actId="1076"/>
          <ac:spMkLst>
            <pc:docMk/>
            <pc:sldMk cId="2785670093" sldId="2134806424"/>
            <ac:spMk id="11" creationId="{2A81BF07-2F8C-DA4E-A72F-1163F53C065A}"/>
          </ac:spMkLst>
        </pc:spChg>
        <pc:spChg chg="add mod">
          <ac:chgData name="Cornago, Fernando" userId="048a41c0-cb7a-447c-b2ac-f7c7348706e9" providerId="ADAL" clId="{937591CA-C1D7-784D-9DA8-42716B827479}" dt="2020-06-17T04:06:22.300" v="3174" actId="207"/>
          <ac:spMkLst>
            <pc:docMk/>
            <pc:sldMk cId="2785670093" sldId="2134806424"/>
            <ac:spMk id="13" creationId="{9133D296-87BC-E641-8CA9-6D28186A15FA}"/>
          </ac:spMkLst>
        </pc:spChg>
        <pc:graphicFrameChg chg="add mod">
          <ac:chgData name="Cornago, Fernando" userId="048a41c0-cb7a-447c-b2ac-f7c7348706e9" providerId="ADAL" clId="{937591CA-C1D7-784D-9DA8-42716B827479}" dt="2020-06-17T04:08:17.627" v="3177" actId="1076"/>
          <ac:graphicFrameMkLst>
            <pc:docMk/>
            <pc:sldMk cId="2785670093" sldId="2134806424"/>
            <ac:graphicFrameMk id="10" creationId="{703A4B52-B419-0242-AD67-71521B070364}"/>
          </ac:graphicFrameMkLst>
        </pc:graphicFrameChg>
        <pc:picChg chg="add mod">
          <ac:chgData name="Cornago, Fernando" userId="048a41c0-cb7a-447c-b2ac-f7c7348706e9" providerId="ADAL" clId="{937591CA-C1D7-784D-9DA8-42716B827479}" dt="2020-06-17T04:04:37.739" v="3125" actId="1076"/>
          <ac:picMkLst>
            <pc:docMk/>
            <pc:sldMk cId="2785670093" sldId="2134806424"/>
            <ac:picMk id="2" creationId="{A13C5478-4B61-5948-88F9-662E1D934634}"/>
          </ac:picMkLst>
        </pc:picChg>
        <pc:picChg chg="add mod">
          <ac:chgData name="Cornago, Fernando" userId="048a41c0-cb7a-447c-b2ac-f7c7348706e9" providerId="ADAL" clId="{937591CA-C1D7-784D-9DA8-42716B827479}" dt="2020-06-17T04:08:17.627" v="3177" actId="1076"/>
          <ac:picMkLst>
            <pc:docMk/>
            <pc:sldMk cId="2785670093" sldId="2134806424"/>
            <ac:picMk id="6" creationId="{411A3DF3-61F7-E54D-8672-2BD72F55DABB}"/>
          </ac:picMkLst>
        </pc:picChg>
        <pc:picChg chg="add mod">
          <ac:chgData name="Cornago, Fernando" userId="048a41c0-cb7a-447c-b2ac-f7c7348706e9" providerId="ADAL" clId="{937591CA-C1D7-784D-9DA8-42716B827479}" dt="2020-06-17T04:08:17.627" v="3177" actId="1076"/>
          <ac:picMkLst>
            <pc:docMk/>
            <pc:sldMk cId="2785670093" sldId="2134806424"/>
            <ac:picMk id="7" creationId="{CCC7F86F-60EF-D84D-A887-6EB644C52545}"/>
          </ac:picMkLst>
        </pc:picChg>
        <pc:picChg chg="add mod">
          <ac:chgData name="Cornago, Fernando" userId="048a41c0-cb7a-447c-b2ac-f7c7348706e9" providerId="ADAL" clId="{937591CA-C1D7-784D-9DA8-42716B827479}" dt="2020-06-17T04:08:17.627" v="3177" actId="1076"/>
          <ac:picMkLst>
            <pc:docMk/>
            <pc:sldMk cId="2785670093" sldId="2134806424"/>
            <ac:picMk id="8" creationId="{34E405F5-008E-F742-BD1A-0F82F903D1E5}"/>
          </ac:picMkLst>
        </pc:picChg>
        <pc:picChg chg="add mod">
          <ac:chgData name="Cornago, Fernando" userId="048a41c0-cb7a-447c-b2ac-f7c7348706e9" providerId="ADAL" clId="{937591CA-C1D7-784D-9DA8-42716B827479}" dt="2020-06-17T04:08:17.627" v="3177" actId="1076"/>
          <ac:picMkLst>
            <pc:docMk/>
            <pc:sldMk cId="2785670093" sldId="2134806424"/>
            <ac:picMk id="9" creationId="{D74155F3-5E9C-C848-839F-6D7AE08C2522}"/>
          </ac:picMkLst>
        </pc:picChg>
        <pc:picChg chg="add mod">
          <ac:chgData name="Cornago, Fernando" userId="048a41c0-cb7a-447c-b2ac-f7c7348706e9" providerId="ADAL" clId="{937591CA-C1D7-784D-9DA8-42716B827479}" dt="2020-06-16T08:08:31.202" v="2660" actId="167"/>
          <ac:picMkLst>
            <pc:docMk/>
            <pc:sldMk cId="2785670093" sldId="2134806424"/>
            <ac:picMk id="12" creationId="{05619792-FA01-A94D-9220-E0B7B86982C2}"/>
          </ac:picMkLst>
        </pc:picChg>
      </pc:sldChg>
      <pc:sldChg chg="addSp delSp modSp new">
        <pc:chgData name="Cornago, Fernando" userId="048a41c0-cb7a-447c-b2ac-f7c7348706e9" providerId="ADAL" clId="{937591CA-C1D7-784D-9DA8-42716B827479}" dt="2020-06-17T04:14:04.634" v="3254" actId="1076"/>
        <pc:sldMkLst>
          <pc:docMk/>
          <pc:sldMk cId="1053811112" sldId="2134806425"/>
        </pc:sldMkLst>
        <pc:spChg chg="mod">
          <ac:chgData name="Cornago, Fernando" userId="048a41c0-cb7a-447c-b2ac-f7c7348706e9" providerId="ADAL" clId="{937591CA-C1D7-784D-9DA8-42716B827479}" dt="2020-06-17T04:12:57.208" v="3246" actId="20577"/>
          <ac:spMkLst>
            <pc:docMk/>
            <pc:sldMk cId="1053811112" sldId="2134806425"/>
            <ac:spMk id="2" creationId="{9F19D598-6C64-D44B-B066-4BDE9D8B628D}"/>
          </ac:spMkLst>
        </pc:spChg>
        <pc:spChg chg="add del mod">
          <ac:chgData name="Cornago, Fernando" userId="048a41c0-cb7a-447c-b2ac-f7c7348706e9" providerId="ADAL" clId="{937591CA-C1D7-784D-9DA8-42716B827479}" dt="2020-06-17T04:12:29.425" v="3186" actId="478"/>
          <ac:spMkLst>
            <pc:docMk/>
            <pc:sldMk cId="1053811112" sldId="2134806425"/>
            <ac:spMk id="6" creationId="{0D4F3D25-43D6-F848-82CA-9E6BCC7FD9D9}"/>
          </ac:spMkLst>
        </pc:spChg>
        <pc:picChg chg="add mod">
          <ac:chgData name="Cornago, Fernando" userId="048a41c0-cb7a-447c-b2ac-f7c7348706e9" providerId="ADAL" clId="{937591CA-C1D7-784D-9DA8-42716B827479}" dt="2020-06-17T04:13:07.120" v="3247" actId="14100"/>
          <ac:picMkLst>
            <pc:docMk/>
            <pc:sldMk cId="1053811112" sldId="2134806425"/>
            <ac:picMk id="7" creationId="{58786160-8413-D243-BAF2-FB9232196B8E}"/>
          </ac:picMkLst>
        </pc:picChg>
        <pc:picChg chg="add mod">
          <ac:chgData name="Cornago, Fernando" userId="048a41c0-cb7a-447c-b2ac-f7c7348706e9" providerId="ADAL" clId="{937591CA-C1D7-784D-9DA8-42716B827479}" dt="2020-06-17T04:13:14.233" v="3249" actId="14100"/>
          <ac:picMkLst>
            <pc:docMk/>
            <pc:sldMk cId="1053811112" sldId="2134806425"/>
            <ac:picMk id="8" creationId="{A67800C4-08F6-DD46-9729-4F104BC1EF08}"/>
          </ac:picMkLst>
        </pc:picChg>
        <pc:picChg chg="add mod">
          <ac:chgData name="Cornago, Fernando" userId="048a41c0-cb7a-447c-b2ac-f7c7348706e9" providerId="ADAL" clId="{937591CA-C1D7-784D-9DA8-42716B827479}" dt="2020-06-17T04:13:16.914" v="3250" actId="1076"/>
          <ac:picMkLst>
            <pc:docMk/>
            <pc:sldMk cId="1053811112" sldId="2134806425"/>
            <ac:picMk id="9" creationId="{3A7CF99C-5B76-9E4A-8C3C-7C1946080072}"/>
          </ac:picMkLst>
        </pc:picChg>
        <pc:picChg chg="add mod">
          <ac:chgData name="Cornago, Fernando" userId="048a41c0-cb7a-447c-b2ac-f7c7348706e9" providerId="ADAL" clId="{937591CA-C1D7-784D-9DA8-42716B827479}" dt="2020-06-17T04:13:53.278" v="3252" actId="1076"/>
          <ac:picMkLst>
            <pc:docMk/>
            <pc:sldMk cId="1053811112" sldId="2134806425"/>
            <ac:picMk id="10" creationId="{F1AC9544-BAEE-AA4C-BE86-AB5A0A447FF0}"/>
          </ac:picMkLst>
        </pc:picChg>
        <pc:picChg chg="add mod">
          <ac:chgData name="Cornago, Fernando" userId="048a41c0-cb7a-447c-b2ac-f7c7348706e9" providerId="ADAL" clId="{937591CA-C1D7-784D-9DA8-42716B827479}" dt="2020-06-17T04:14:04.634" v="3254" actId="1076"/>
          <ac:picMkLst>
            <pc:docMk/>
            <pc:sldMk cId="1053811112" sldId="2134806425"/>
            <ac:picMk id="11" creationId="{7EED3EA3-C08E-F246-9190-FC3B5C15102E}"/>
          </ac:picMkLst>
        </pc:picChg>
      </pc:sldChg>
      <pc:sldChg chg="addSp delSp modSp add">
        <pc:chgData name="Cornago, Fernando" userId="048a41c0-cb7a-447c-b2ac-f7c7348706e9" providerId="ADAL" clId="{937591CA-C1D7-784D-9DA8-42716B827479}" dt="2020-06-17T04:59:55.804" v="3943" actId="20577"/>
        <pc:sldMkLst>
          <pc:docMk/>
          <pc:sldMk cId="293792105" sldId="2134806426"/>
        </pc:sldMkLst>
        <pc:spChg chg="mod">
          <ac:chgData name="Cornago, Fernando" userId="048a41c0-cb7a-447c-b2ac-f7c7348706e9" providerId="ADAL" clId="{937591CA-C1D7-784D-9DA8-42716B827479}" dt="2020-06-17T04:38:39.074" v="3492" actId="20577"/>
          <ac:spMkLst>
            <pc:docMk/>
            <pc:sldMk cId="293792105" sldId="2134806426"/>
            <ac:spMk id="2" creationId="{9F19D598-6C64-D44B-B066-4BDE9D8B628D}"/>
          </ac:spMkLst>
        </pc:spChg>
        <pc:spChg chg="add mod">
          <ac:chgData name="Cornago, Fernando" userId="048a41c0-cb7a-447c-b2ac-f7c7348706e9" providerId="ADAL" clId="{937591CA-C1D7-784D-9DA8-42716B827479}" dt="2020-06-17T04:16:21.065" v="3327" actId="20577"/>
          <ac:spMkLst>
            <pc:docMk/>
            <pc:sldMk cId="293792105" sldId="2134806426"/>
            <ac:spMk id="12" creationId="{371523AE-CFCD-244A-9402-B20C580AF570}"/>
          </ac:spMkLst>
        </pc:spChg>
        <pc:spChg chg="add del mod">
          <ac:chgData name="Cornago, Fernando" userId="048a41c0-cb7a-447c-b2ac-f7c7348706e9" providerId="ADAL" clId="{937591CA-C1D7-784D-9DA8-42716B827479}" dt="2020-06-17T04:16:24.595" v="3329"/>
          <ac:spMkLst>
            <pc:docMk/>
            <pc:sldMk cId="293792105" sldId="2134806426"/>
            <ac:spMk id="13" creationId="{55130B3F-419F-9E4A-9032-23A026DAE3BD}"/>
          </ac:spMkLst>
        </pc:spChg>
        <pc:spChg chg="add mod">
          <ac:chgData name="Cornago, Fernando" userId="048a41c0-cb7a-447c-b2ac-f7c7348706e9" providerId="ADAL" clId="{937591CA-C1D7-784D-9DA8-42716B827479}" dt="2020-06-17T04:53:08.136" v="3731" actId="1076"/>
          <ac:spMkLst>
            <pc:docMk/>
            <pc:sldMk cId="293792105" sldId="2134806426"/>
            <ac:spMk id="14" creationId="{A33519E7-3EB9-2E40-8AD5-77B4B0CA122F}"/>
          </ac:spMkLst>
        </pc:spChg>
        <pc:spChg chg="add del mod">
          <ac:chgData name="Cornago, Fernando" userId="048a41c0-cb7a-447c-b2ac-f7c7348706e9" providerId="ADAL" clId="{937591CA-C1D7-784D-9DA8-42716B827479}" dt="2020-06-17T04:38:07.504" v="3457"/>
          <ac:spMkLst>
            <pc:docMk/>
            <pc:sldMk cId="293792105" sldId="2134806426"/>
            <ac:spMk id="15" creationId="{C5406A5D-A087-9A4A-B701-7D1E63978963}"/>
          </ac:spMkLst>
        </pc:spChg>
        <pc:spChg chg="add del mod">
          <ac:chgData name="Cornago, Fernando" userId="048a41c0-cb7a-447c-b2ac-f7c7348706e9" providerId="ADAL" clId="{937591CA-C1D7-784D-9DA8-42716B827479}" dt="2020-06-17T04:38:07.504" v="3457"/>
          <ac:spMkLst>
            <pc:docMk/>
            <pc:sldMk cId="293792105" sldId="2134806426"/>
            <ac:spMk id="16" creationId="{F10FC89D-862B-B04D-8D23-465334EB1B82}"/>
          </ac:spMkLst>
        </pc:spChg>
        <pc:spChg chg="add del mod">
          <ac:chgData name="Cornago, Fernando" userId="048a41c0-cb7a-447c-b2ac-f7c7348706e9" providerId="ADAL" clId="{937591CA-C1D7-784D-9DA8-42716B827479}" dt="2020-06-17T04:38:07.504" v="3457"/>
          <ac:spMkLst>
            <pc:docMk/>
            <pc:sldMk cId="293792105" sldId="2134806426"/>
            <ac:spMk id="17" creationId="{A5EB941E-4D7F-9445-9C24-5DF308D33480}"/>
          </ac:spMkLst>
        </pc:spChg>
        <pc:spChg chg="add del mod">
          <ac:chgData name="Cornago, Fernando" userId="048a41c0-cb7a-447c-b2ac-f7c7348706e9" providerId="ADAL" clId="{937591CA-C1D7-784D-9DA8-42716B827479}" dt="2020-06-17T04:38:07.504" v="3457"/>
          <ac:spMkLst>
            <pc:docMk/>
            <pc:sldMk cId="293792105" sldId="2134806426"/>
            <ac:spMk id="18" creationId="{07BEF4D8-6E6A-354E-A4AD-6CC0614B5F2C}"/>
          </ac:spMkLst>
        </pc:spChg>
        <pc:spChg chg="add del mod">
          <ac:chgData name="Cornago, Fernando" userId="048a41c0-cb7a-447c-b2ac-f7c7348706e9" providerId="ADAL" clId="{937591CA-C1D7-784D-9DA8-42716B827479}" dt="2020-06-17T04:38:07.504" v="3457"/>
          <ac:spMkLst>
            <pc:docMk/>
            <pc:sldMk cId="293792105" sldId="2134806426"/>
            <ac:spMk id="22" creationId="{7E471B2C-2A25-A94A-B9B0-E9A1B23C7469}"/>
          </ac:spMkLst>
        </pc:spChg>
        <pc:spChg chg="add del mod">
          <ac:chgData name="Cornago, Fernando" userId="048a41c0-cb7a-447c-b2ac-f7c7348706e9" providerId="ADAL" clId="{937591CA-C1D7-784D-9DA8-42716B827479}" dt="2020-06-17T04:38:07.504" v="3457"/>
          <ac:spMkLst>
            <pc:docMk/>
            <pc:sldMk cId="293792105" sldId="2134806426"/>
            <ac:spMk id="23" creationId="{7552D136-D71B-3C4C-A34E-D56A38CF1F09}"/>
          </ac:spMkLst>
        </pc:spChg>
        <pc:spChg chg="add del mod">
          <ac:chgData name="Cornago, Fernando" userId="048a41c0-cb7a-447c-b2ac-f7c7348706e9" providerId="ADAL" clId="{937591CA-C1D7-784D-9DA8-42716B827479}" dt="2020-06-17T04:38:07.504" v="3457"/>
          <ac:spMkLst>
            <pc:docMk/>
            <pc:sldMk cId="293792105" sldId="2134806426"/>
            <ac:spMk id="24" creationId="{A671665F-5064-4F4A-8F76-32D69104C9BC}"/>
          </ac:spMkLst>
        </pc:spChg>
        <pc:spChg chg="add del mod">
          <ac:chgData name="Cornago, Fernando" userId="048a41c0-cb7a-447c-b2ac-f7c7348706e9" providerId="ADAL" clId="{937591CA-C1D7-784D-9DA8-42716B827479}" dt="2020-06-17T04:38:07.504" v="3457"/>
          <ac:spMkLst>
            <pc:docMk/>
            <pc:sldMk cId="293792105" sldId="2134806426"/>
            <ac:spMk id="25" creationId="{B57A95F7-F11C-D349-8066-B94BA349F07D}"/>
          </ac:spMkLst>
        </pc:spChg>
        <pc:spChg chg="add del mod">
          <ac:chgData name="Cornago, Fernando" userId="048a41c0-cb7a-447c-b2ac-f7c7348706e9" providerId="ADAL" clId="{937591CA-C1D7-784D-9DA8-42716B827479}" dt="2020-06-17T04:38:07.504" v="3457"/>
          <ac:spMkLst>
            <pc:docMk/>
            <pc:sldMk cId="293792105" sldId="2134806426"/>
            <ac:spMk id="26" creationId="{2F367AAB-3D10-5540-AF6B-B0387F40BC4C}"/>
          </ac:spMkLst>
        </pc:spChg>
        <pc:spChg chg="mod">
          <ac:chgData name="Cornago, Fernando" userId="048a41c0-cb7a-447c-b2ac-f7c7348706e9" providerId="ADAL" clId="{937591CA-C1D7-784D-9DA8-42716B827479}" dt="2020-06-17T04:38:00.279" v="3456"/>
          <ac:spMkLst>
            <pc:docMk/>
            <pc:sldMk cId="293792105" sldId="2134806426"/>
            <ac:spMk id="33" creationId="{245C6D71-A8DA-0A48-9211-87C52482BA11}"/>
          </ac:spMkLst>
        </pc:spChg>
        <pc:spChg chg="mod">
          <ac:chgData name="Cornago, Fernando" userId="048a41c0-cb7a-447c-b2ac-f7c7348706e9" providerId="ADAL" clId="{937591CA-C1D7-784D-9DA8-42716B827479}" dt="2020-06-17T04:38:00.279" v="3456"/>
          <ac:spMkLst>
            <pc:docMk/>
            <pc:sldMk cId="293792105" sldId="2134806426"/>
            <ac:spMk id="34" creationId="{54EF4152-2775-7044-8AC9-9A4357A1E3F9}"/>
          </ac:spMkLst>
        </pc:spChg>
        <pc:spChg chg="mod">
          <ac:chgData name="Cornago, Fernando" userId="048a41c0-cb7a-447c-b2ac-f7c7348706e9" providerId="ADAL" clId="{937591CA-C1D7-784D-9DA8-42716B827479}" dt="2020-06-17T04:38:00.279" v="3456"/>
          <ac:spMkLst>
            <pc:docMk/>
            <pc:sldMk cId="293792105" sldId="2134806426"/>
            <ac:spMk id="35" creationId="{A428E4EF-46AD-A241-BEC4-AC49E53B6DAB}"/>
          </ac:spMkLst>
        </pc:spChg>
        <pc:spChg chg="mod">
          <ac:chgData name="Cornago, Fernando" userId="048a41c0-cb7a-447c-b2ac-f7c7348706e9" providerId="ADAL" clId="{937591CA-C1D7-784D-9DA8-42716B827479}" dt="2020-06-17T04:38:00.279" v="3456"/>
          <ac:spMkLst>
            <pc:docMk/>
            <pc:sldMk cId="293792105" sldId="2134806426"/>
            <ac:spMk id="36" creationId="{EBE6085E-DDF7-F649-A139-7F9ECC764E3F}"/>
          </ac:spMkLst>
        </pc:spChg>
        <pc:spChg chg="mod">
          <ac:chgData name="Cornago, Fernando" userId="048a41c0-cb7a-447c-b2ac-f7c7348706e9" providerId="ADAL" clId="{937591CA-C1D7-784D-9DA8-42716B827479}" dt="2020-06-17T04:38:00.279" v="3456"/>
          <ac:spMkLst>
            <pc:docMk/>
            <pc:sldMk cId="293792105" sldId="2134806426"/>
            <ac:spMk id="37" creationId="{855FA083-6DBC-4148-A9E1-34730AF0C269}"/>
          </ac:spMkLst>
        </pc:spChg>
        <pc:spChg chg="mod">
          <ac:chgData name="Cornago, Fernando" userId="048a41c0-cb7a-447c-b2ac-f7c7348706e9" providerId="ADAL" clId="{937591CA-C1D7-784D-9DA8-42716B827479}" dt="2020-06-17T04:38:00.279" v="3456"/>
          <ac:spMkLst>
            <pc:docMk/>
            <pc:sldMk cId="293792105" sldId="2134806426"/>
            <ac:spMk id="38" creationId="{167046F3-3FAB-0D4A-A269-9FD0B7B7BE54}"/>
          </ac:spMkLst>
        </pc:spChg>
        <pc:spChg chg="mod">
          <ac:chgData name="Cornago, Fernando" userId="048a41c0-cb7a-447c-b2ac-f7c7348706e9" providerId="ADAL" clId="{937591CA-C1D7-784D-9DA8-42716B827479}" dt="2020-06-17T04:38:00.279" v="3456"/>
          <ac:spMkLst>
            <pc:docMk/>
            <pc:sldMk cId="293792105" sldId="2134806426"/>
            <ac:spMk id="39" creationId="{6E3684D7-3218-D047-9A7E-7EC245B7C646}"/>
          </ac:spMkLst>
        </pc:spChg>
        <pc:spChg chg="mod">
          <ac:chgData name="Cornago, Fernando" userId="048a41c0-cb7a-447c-b2ac-f7c7348706e9" providerId="ADAL" clId="{937591CA-C1D7-784D-9DA8-42716B827479}" dt="2020-06-17T04:38:00.279" v="3456"/>
          <ac:spMkLst>
            <pc:docMk/>
            <pc:sldMk cId="293792105" sldId="2134806426"/>
            <ac:spMk id="40" creationId="{8AE89A86-9563-5641-A267-C9A312EAA028}"/>
          </ac:spMkLst>
        </pc:spChg>
        <pc:spChg chg="mod">
          <ac:chgData name="Cornago, Fernando" userId="048a41c0-cb7a-447c-b2ac-f7c7348706e9" providerId="ADAL" clId="{937591CA-C1D7-784D-9DA8-42716B827479}" dt="2020-06-17T04:38:00.279" v="3456"/>
          <ac:spMkLst>
            <pc:docMk/>
            <pc:sldMk cId="293792105" sldId="2134806426"/>
            <ac:spMk id="41" creationId="{116EF1FC-088D-8549-AD5C-3402C678CE5C}"/>
          </ac:spMkLst>
        </pc:spChg>
        <pc:spChg chg="mod">
          <ac:chgData name="Cornago, Fernando" userId="048a41c0-cb7a-447c-b2ac-f7c7348706e9" providerId="ADAL" clId="{937591CA-C1D7-784D-9DA8-42716B827479}" dt="2020-06-17T04:38:00.279" v="3456"/>
          <ac:spMkLst>
            <pc:docMk/>
            <pc:sldMk cId="293792105" sldId="2134806426"/>
            <ac:spMk id="42" creationId="{3BB96BA9-B0D5-4340-B782-4065F0EF90E1}"/>
          </ac:spMkLst>
        </pc:spChg>
        <pc:spChg chg="mod">
          <ac:chgData name="Cornago, Fernando" userId="048a41c0-cb7a-447c-b2ac-f7c7348706e9" providerId="ADAL" clId="{937591CA-C1D7-784D-9DA8-42716B827479}" dt="2020-06-17T04:38:00.279" v="3456"/>
          <ac:spMkLst>
            <pc:docMk/>
            <pc:sldMk cId="293792105" sldId="2134806426"/>
            <ac:spMk id="43" creationId="{A566E44C-8AEB-B443-BA59-580B11BA06D6}"/>
          </ac:spMkLst>
        </pc:spChg>
        <pc:spChg chg="mod">
          <ac:chgData name="Cornago, Fernando" userId="048a41c0-cb7a-447c-b2ac-f7c7348706e9" providerId="ADAL" clId="{937591CA-C1D7-784D-9DA8-42716B827479}" dt="2020-06-17T04:38:00.279" v="3456"/>
          <ac:spMkLst>
            <pc:docMk/>
            <pc:sldMk cId="293792105" sldId="2134806426"/>
            <ac:spMk id="44" creationId="{CF9D26BF-98C0-484F-B7E6-D183EF12C6A9}"/>
          </ac:spMkLst>
        </pc:spChg>
        <pc:spChg chg="mod">
          <ac:chgData name="Cornago, Fernando" userId="048a41c0-cb7a-447c-b2ac-f7c7348706e9" providerId="ADAL" clId="{937591CA-C1D7-784D-9DA8-42716B827479}" dt="2020-06-17T04:38:00.279" v="3456"/>
          <ac:spMkLst>
            <pc:docMk/>
            <pc:sldMk cId="293792105" sldId="2134806426"/>
            <ac:spMk id="45" creationId="{139F5481-918C-2F4C-870B-23F2627D9189}"/>
          </ac:spMkLst>
        </pc:spChg>
        <pc:spChg chg="mod">
          <ac:chgData name="Cornago, Fernando" userId="048a41c0-cb7a-447c-b2ac-f7c7348706e9" providerId="ADAL" clId="{937591CA-C1D7-784D-9DA8-42716B827479}" dt="2020-06-17T04:38:00.279" v="3456"/>
          <ac:spMkLst>
            <pc:docMk/>
            <pc:sldMk cId="293792105" sldId="2134806426"/>
            <ac:spMk id="46" creationId="{EC0EB51B-B445-6A4E-B169-79CD32FB27BD}"/>
          </ac:spMkLst>
        </pc:spChg>
        <pc:spChg chg="mod">
          <ac:chgData name="Cornago, Fernando" userId="048a41c0-cb7a-447c-b2ac-f7c7348706e9" providerId="ADAL" clId="{937591CA-C1D7-784D-9DA8-42716B827479}" dt="2020-06-17T04:38:00.279" v="3456"/>
          <ac:spMkLst>
            <pc:docMk/>
            <pc:sldMk cId="293792105" sldId="2134806426"/>
            <ac:spMk id="47" creationId="{929CAF9E-07E1-2E4C-A107-CF5EE23ABF08}"/>
          </ac:spMkLst>
        </pc:spChg>
        <pc:spChg chg="mod">
          <ac:chgData name="Cornago, Fernando" userId="048a41c0-cb7a-447c-b2ac-f7c7348706e9" providerId="ADAL" clId="{937591CA-C1D7-784D-9DA8-42716B827479}" dt="2020-06-17T04:38:00.279" v="3456"/>
          <ac:spMkLst>
            <pc:docMk/>
            <pc:sldMk cId="293792105" sldId="2134806426"/>
            <ac:spMk id="48" creationId="{E4059A19-BE97-5845-B00D-92BBF936158C}"/>
          </ac:spMkLst>
        </pc:spChg>
        <pc:spChg chg="mod">
          <ac:chgData name="Cornago, Fernando" userId="048a41c0-cb7a-447c-b2ac-f7c7348706e9" providerId="ADAL" clId="{937591CA-C1D7-784D-9DA8-42716B827479}" dt="2020-06-17T04:38:00.279" v="3456"/>
          <ac:spMkLst>
            <pc:docMk/>
            <pc:sldMk cId="293792105" sldId="2134806426"/>
            <ac:spMk id="49" creationId="{960C977E-5F6C-994C-9F15-191C25738C2A}"/>
          </ac:spMkLst>
        </pc:spChg>
        <pc:spChg chg="mod">
          <ac:chgData name="Cornago, Fernando" userId="048a41c0-cb7a-447c-b2ac-f7c7348706e9" providerId="ADAL" clId="{937591CA-C1D7-784D-9DA8-42716B827479}" dt="2020-06-17T04:38:00.279" v="3456"/>
          <ac:spMkLst>
            <pc:docMk/>
            <pc:sldMk cId="293792105" sldId="2134806426"/>
            <ac:spMk id="50" creationId="{009272C5-65E8-B643-ABF3-979E0C4030DE}"/>
          </ac:spMkLst>
        </pc:spChg>
        <pc:spChg chg="mod">
          <ac:chgData name="Cornago, Fernando" userId="048a41c0-cb7a-447c-b2ac-f7c7348706e9" providerId="ADAL" clId="{937591CA-C1D7-784D-9DA8-42716B827479}" dt="2020-06-17T04:38:00.279" v="3456"/>
          <ac:spMkLst>
            <pc:docMk/>
            <pc:sldMk cId="293792105" sldId="2134806426"/>
            <ac:spMk id="51" creationId="{BF4389CB-5787-C34C-B8BE-B327A6BEDA82}"/>
          </ac:spMkLst>
        </pc:spChg>
        <pc:spChg chg="mod">
          <ac:chgData name="Cornago, Fernando" userId="048a41c0-cb7a-447c-b2ac-f7c7348706e9" providerId="ADAL" clId="{937591CA-C1D7-784D-9DA8-42716B827479}" dt="2020-06-17T04:38:00.279" v="3456"/>
          <ac:spMkLst>
            <pc:docMk/>
            <pc:sldMk cId="293792105" sldId="2134806426"/>
            <ac:spMk id="52" creationId="{C8807F53-35CA-DD4E-B99A-A4BFD9235106}"/>
          </ac:spMkLst>
        </pc:spChg>
        <pc:spChg chg="mod">
          <ac:chgData name="Cornago, Fernando" userId="048a41c0-cb7a-447c-b2ac-f7c7348706e9" providerId="ADAL" clId="{937591CA-C1D7-784D-9DA8-42716B827479}" dt="2020-06-17T04:38:00.279" v="3456"/>
          <ac:spMkLst>
            <pc:docMk/>
            <pc:sldMk cId="293792105" sldId="2134806426"/>
            <ac:spMk id="53" creationId="{FB4797A5-7B51-934C-83B9-2153F3445A8B}"/>
          </ac:spMkLst>
        </pc:spChg>
        <pc:spChg chg="mod">
          <ac:chgData name="Cornago, Fernando" userId="048a41c0-cb7a-447c-b2ac-f7c7348706e9" providerId="ADAL" clId="{937591CA-C1D7-784D-9DA8-42716B827479}" dt="2020-06-17T04:38:00.279" v="3456"/>
          <ac:spMkLst>
            <pc:docMk/>
            <pc:sldMk cId="293792105" sldId="2134806426"/>
            <ac:spMk id="54" creationId="{9DEB1942-EC3C-1D45-993A-F88E48A23887}"/>
          </ac:spMkLst>
        </pc:spChg>
        <pc:spChg chg="mod">
          <ac:chgData name="Cornago, Fernando" userId="048a41c0-cb7a-447c-b2ac-f7c7348706e9" providerId="ADAL" clId="{937591CA-C1D7-784D-9DA8-42716B827479}" dt="2020-06-17T04:38:00.279" v="3456"/>
          <ac:spMkLst>
            <pc:docMk/>
            <pc:sldMk cId="293792105" sldId="2134806426"/>
            <ac:spMk id="55" creationId="{B5BADA9D-A3E3-BC43-9DB7-AE699D55C8A7}"/>
          </ac:spMkLst>
        </pc:spChg>
        <pc:spChg chg="mod">
          <ac:chgData name="Cornago, Fernando" userId="048a41c0-cb7a-447c-b2ac-f7c7348706e9" providerId="ADAL" clId="{937591CA-C1D7-784D-9DA8-42716B827479}" dt="2020-06-17T04:38:00.279" v="3456"/>
          <ac:spMkLst>
            <pc:docMk/>
            <pc:sldMk cId="293792105" sldId="2134806426"/>
            <ac:spMk id="56" creationId="{8A5A9C87-43AC-1140-9061-03B543D9FF10}"/>
          </ac:spMkLst>
        </pc:spChg>
        <pc:spChg chg="mod">
          <ac:chgData name="Cornago, Fernando" userId="048a41c0-cb7a-447c-b2ac-f7c7348706e9" providerId="ADAL" clId="{937591CA-C1D7-784D-9DA8-42716B827479}" dt="2020-06-17T04:38:00.279" v="3456"/>
          <ac:spMkLst>
            <pc:docMk/>
            <pc:sldMk cId="293792105" sldId="2134806426"/>
            <ac:spMk id="57" creationId="{A2143097-09DC-6545-B455-A0028B201B34}"/>
          </ac:spMkLst>
        </pc:spChg>
        <pc:spChg chg="mod">
          <ac:chgData name="Cornago, Fernando" userId="048a41c0-cb7a-447c-b2ac-f7c7348706e9" providerId="ADAL" clId="{937591CA-C1D7-784D-9DA8-42716B827479}" dt="2020-06-17T04:38:00.279" v="3456"/>
          <ac:spMkLst>
            <pc:docMk/>
            <pc:sldMk cId="293792105" sldId="2134806426"/>
            <ac:spMk id="58" creationId="{49D71A4F-2E41-304F-9504-A3B4626C689A}"/>
          </ac:spMkLst>
        </pc:spChg>
        <pc:spChg chg="mod">
          <ac:chgData name="Cornago, Fernando" userId="048a41c0-cb7a-447c-b2ac-f7c7348706e9" providerId="ADAL" clId="{937591CA-C1D7-784D-9DA8-42716B827479}" dt="2020-06-17T04:38:00.279" v="3456"/>
          <ac:spMkLst>
            <pc:docMk/>
            <pc:sldMk cId="293792105" sldId="2134806426"/>
            <ac:spMk id="59" creationId="{70C6719A-CCDC-3348-8A5F-4461B9677FA5}"/>
          </ac:spMkLst>
        </pc:spChg>
        <pc:spChg chg="mod">
          <ac:chgData name="Cornago, Fernando" userId="048a41c0-cb7a-447c-b2ac-f7c7348706e9" providerId="ADAL" clId="{937591CA-C1D7-784D-9DA8-42716B827479}" dt="2020-06-17T04:38:00.279" v="3456"/>
          <ac:spMkLst>
            <pc:docMk/>
            <pc:sldMk cId="293792105" sldId="2134806426"/>
            <ac:spMk id="60" creationId="{1BE68005-816F-3A42-846C-85DB380203ED}"/>
          </ac:spMkLst>
        </pc:spChg>
        <pc:spChg chg="mod">
          <ac:chgData name="Cornago, Fernando" userId="048a41c0-cb7a-447c-b2ac-f7c7348706e9" providerId="ADAL" clId="{937591CA-C1D7-784D-9DA8-42716B827479}" dt="2020-06-17T04:38:00.279" v="3456"/>
          <ac:spMkLst>
            <pc:docMk/>
            <pc:sldMk cId="293792105" sldId="2134806426"/>
            <ac:spMk id="61" creationId="{0B908AB6-5B11-104E-B7C0-1E8D1E209054}"/>
          </ac:spMkLst>
        </pc:spChg>
        <pc:spChg chg="mod">
          <ac:chgData name="Cornago, Fernando" userId="048a41c0-cb7a-447c-b2ac-f7c7348706e9" providerId="ADAL" clId="{937591CA-C1D7-784D-9DA8-42716B827479}" dt="2020-06-17T04:38:00.279" v="3456"/>
          <ac:spMkLst>
            <pc:docMk/>
            <pc:sldMk cId="293792105" sldId="2134806426"/>
            <ac:spMk id="62" creationId="{F64E90F8-2946-BE4C-880D-5341387DA4C2}"/>
          </ac:spMkLst>
        </pc:spChg>
        <pc:spChg chg="mod">
          <ac:chgData name="Cornago, Fernando" userId="048a41c0-cb7a-447c-b2ac-f7c7348706e9" providerId="ADAL" clId="{937591CA-C1D7-784D-9DA8-42716B827479}" dt="2020-06-17T04:38:00.279" v="3456"/>
          <ac:spMkLst>
            <pc:docMk/>
            <pc:sldMk cId="293792105" sldId="2134806426"/>
            <ac:spMk id="63" creationId="{4266A652-BD64-FD40-A445-B51E3FDB4BEF}"/>
          </ac:spMkLst>
        </pc:spChg>
        <pc:spChg chg="mod">
          <ac:chgData name="Cornago, Fernando" userId="048a41c0-cb7a-447c-b2ac-f7c7348706e9" providerId="ADAL" clId="{937591CA-C1D7-784D-9DA8-42716B827479}" dt="2020-06-17T04:38:00.279" v="3456"/>
          <ac:spMkLst>
            <pc:docMk/>
            <pc:sldMk cId="293792105" sldId="2134806426"/>
            <ac:spMk id="64" creationId="{6BBE039D-C3A3-1045-9E3B-AE99862BC4A5}"/>
          </ac:spMkLst>
        </pc:spChg>
        <pc:spChg chg="mod">
          <ac:chgData name="Cornago, Fernando" userId="048a41c0-cb7a-447c-b2ac-f7c7348706e9" providerId="ADAL" clId="{937591CA-C1D7-784D-9DA8-42716B827479}" dt="2020-06-17T04:38:00.279" v="3456"/>
          <ac:spMkLst>
            <pc:docMk/>
            <pc:sldMk cId="293792105" sldId="2134806426"/>
            <ac:spMk id="65" creationId="{3F4BE4D0-856E-144D-92AC-3719C5712F3B}"/>
          </ac:spMkLst>
        </pc:spChg>
        <pc:spChg chg="mod">
          <ac:chgData name="Cornago, Fernando" userId="048a41c0-cb7a-447c-b2ac-f7c7348706e9" providerId="ADAL" clId="{937591CA-C1D7-784D-9DA8-42716B827479}" dt="2020-06-17T04:38:00.279" v="3456"/>
          <ac:spMkLst>
            <pc:docMk/>
            <pc:sldMk cId="293792105" sldId="2134806426"/>
            <ac:spMk id="66" creationId="{746EED16-26CC-E64E-92B4-5272C3929DDC}"/>
          </ac:spMkLst>
        </pc:spChg>
        <pc:spChg chg="mod">
          <ac:chgData name="Cornago, Fernando" userId="048a41c0-cb7a-447c-b2ac-f7c7348706e9" providerId="ADAL" clId="{937591CA-C1D7-784D-9DA8-42716B827479}" dt="2020-06-17T04:38:00.279" v="3456"/>
          <ac:spMkLst>
            <pc:docMk/>
            <pc:sldMk cId="293792105" sldId="2134806426"/>
            <ac:spMk id="67" creationId="{EFDA0344-F088-E445-A155-DA3DD5CB8AE7}"/>
          </ac:spMkLst>
        </pc:spChg>
        <pc:spChg chg="mod">
          <ac:chgData name="Cornago, Fernando" userId="048a41c0-cb7a-447c-b2ac-f7c7348706e9" providerId="ADAL" clId="{937591CA-C1D7-784D-9DA8-42716B827479}" dt="2020-06-17T04:38:00.279" v="3456"/>
          <ac:spMkLst>
            <pc:docMk/>
            <pc:sldMk cId="293792105" sldId="2134806426"/>
            <ac:spMk id="68" creationId="{65D55EDF-AABC-F24D-BBD0-43DBB0547D95}"/>
          </ac:spMkLst>
        </pc:spChg>
        <pc:spChg chg="mod">
          <ac:chgData name="Cornago, Fernando" userId="048a41c0-cb7a-447c-b2ac-f7c7348706e9" providerId="ADAL" clId="{937591CA-C1D7-784D-9DA8-42716B827479}" dt="2020-06-17T04:38:00.279" v="3456"/>
          <ac:spMkLst>
            <pc:docMk/>
            <pc:sldMk cId="293792105" sldId="2134806426"/>
            <ac:spMk id="69" creationId="{A698835C-93A6-0547-9B43-2101B5EA6744}"/>
          </ac:spMkLst>
        </pc:spChg>
        <pc:spChg chg="mod">
          <ac:chgData name="Cornago, Fernando" userId="048a41c0-cb7a-447c-b2ac-f7c7348706e9" providerId="ADAL" clId="{937591CA-C1D7-784D-9DA8-42716B827479}" dt="2020-06-17T04:38:00.279" v="3456"/>
          <ac:spMkLst>
            <pc:docMk/>
            <pc:sldMk cId="293792105" sldId="2134806426"/>
            <ac:spMk id="70" creationId="{F8F1D761-59EF-7745-8EA4-1B76D0D4F110}"/>
          </ac:spMkLst>
        </pc:spChg>
        <pc:spChg chg="mod">
          <ac:chgData name="Cornago, Fernando" userId="048a41c0-cb7a-447c-b2ac-f7c7348706e9" providerId="ADAL" clId="{937591CA-C1D7-784D-9DA8-42716B827479}" dt="2020-06-17T04:38:00.279" v="3456"/>
          <ac:spMkLst>
            <pc:docMk/>
            <pc:sldMk cId="293792105" sldId="2134806426"/>
            <ac:spMk id="71" creationId="{DE39A125-1FEC-6D4B-82BF-FBE048722858}"/>
          </ac:spMkLst>
        </pc:spChg>
        <pc:spChg chg="mod">
          <ac:chgData name="Cornago, Fernando" userId="048a41c0-cb7a-447c-b2ac-f7c7348706e9" providerId="ADAL" clId="{937591CA-C1D7-784D-9DA8-42716B827479}" dt="2020-06-17T04:38:00.279" v="3456"/>
          <ac:spMkLst>
            <pc:docMk/>
            <pc:sldMk cId="293792105" sldId="2134806426"/>
            <ac:spMk id="72" creationId="{DF6B57D7-2F66-6C40-8FD9-2C6527C71E3C}"/>
          </ac:spMkLst>
        </pc:spChg>
        <pc:spChg chg="mod">
          <ac:chgData name="Cornago, Fernando" userId="048a41c0-cb7a-447c-b2ac-f7c7348706e9" providerId="ADAL" clId="{937591CA-C1D7-784D-9DA8-42716B827479}" dt="2020-06-17T04:38:00.279" v="3456"/>
          <ac:spMkLst>
            <pc:docMk/>
            <pc:sldMk cId="293792105" sldId="2134806426"/>
            <ac:spMk id="73" creationId="{BFF71058-8D5A-D843-AF68-25FDCAF4A40C}"/>
          </ac:spMkLst>
        </pc:spChg>
        <pc:spChg chg="mod">
          <ac:chgData name="Cornago, Fernando" userId="048a41c0-cb7a-447c-b2ac-f7c7348706e9" providerId="ADAL" clId="{937591CA-C1D7-784D-9DA8-42716B827479}" dt="2020-06-17T04:38:00.279" v="3456"/>
          <ac:spMkLst>
            <pc:docMk/>
            <pc:sldMk cId="293792105" sldId="2134806426"/>
            <ac:spMk id="74" creationId="{B29906ED-05E7-8B4D-A83E-A0FC26DC2371}"/>
          </ac:spMkLst>
        </pc:spChg>
        <pc:spChg chg="mod">
          <ac:chgData name="Cornago, Fernando" userId="048a41c0-cb7a-447c-b2ac-f7c7348706e9" providerId="ADAL" clId="{937591CA-C1D7-784D-9DA8-42716B827479}" dt="2020-06-17T04:38:00.279" v="3456"/>
          <ac:spMkLst>
            <pc:docMk/>
            <pc:sldMk cId="293792105" sldId="2134806426"/>
            <ac:spMk id="75" creationId="{F412C9AB-E05F-434B-B7FD-63F52272DBB3}"/>
          </ac:spMkLst>
        </pc:spChg>
        <pc:spChg chg="mod">
          <ac:chgData name="Cornago, Fernando" userId="048a41c0-cb7a-447c-b2ac-f7c7348706e9" providerId="ADAL" clId="{937591CA-C1D7-784D-9DA8-42716B827479}" dt="2020-06-17T04:38:00.279" v="3456"/>
          <ac:spMkLst>
            <pc:docMk/>
            <pc:sldMk cId="293792105" sldId="2134806426"/>
            <ac:spMk id="76" creationId="{2D1B8B70-6B26-B049-8A7A-47643A294EA5}"/>
          </ac:spMkLst>
        </pc:spChg>
        <pc:spChg chg="mod">
          <ac:chgData name="Cornago, Fernando" userId="048a41c0-cb7a-447c-b2ac-f7c7348706e9" providerId="ADAL" clId="{937591CA-C1D7-784D-9DA8-42716B827479}" dt="2020-06-17T04:38:00.279" v="3456"/>
          <ac:spMkLst>
            <pc:docMk/>
            <pc:sldMk cId="293792105" sldId="2134806426"/>
            <ac:spMk id="77" creationId="{90005A41-39B0-ED47-A438-49B0F9614E24}"/>
          </ac:spMkLst>
        </pc:spChg>
        <pc:spChg chg="mod">
          <ac:chgData name="Cornago, Fernando" userId="048a41c0-cb7a-447c-b2ac-f7c7348706e9" providerId="ADAL" clId="{937591CA-C1D7-784D-9DA8-42716B827479}" dt="2020-06-17T04:38:00.279" v="3456"/>
          <ac:spMkLst>
            <pc:docMk/>
            <pc:sldMk cId="293792105" sldId="2134806426"/>
            <ac:spMk id="79" creationId="{F9C690A7-1C88-F744-916F-A92F7103740C}"/>
          </ac:spMkLst>
        </pc:spChg>
        <pc:spChg chg="mod">
          <ac:chgData name="Cornago, Fernando" userId="048a41c0-cb7a-447c-b2ac-f7c7348706e9" providerId="ADAL" clId="{937591CA-C1D7-784D-9DA8-42716B827479}" dt="2020-06-17T04:38:00.279" v="3456"/>
          <ac:spMkLst>
            <pc:docMk/>
            <pc:sldMk cId="293792105" sldId="2134806426"/>
            <ac:spMk id="80" creationId="{844B121E-8534-0B48-A9F9-5D9A136DC3C3}"/>
          </ac:spMkLst>
        </pc:spChg>
        <pc:spChg chg="mod">
          <ac:chgData name="Cornago, Fernando" userId="048a41c0-cb7a-447c-b2ac-f7c7348706e9" providerId="ADAL" clId="{937591CA-C1D7-784D-9DA8-42716B827479}" dt="2020-06-17T04:38:00.279" v="3456"/>
          <ac:spMkLst>
            <pc:docMk/>
            <pc:sldMk cId="293792105" sldId="2134806426"/>
            <ac:spMk id="81" creationId="{F2067773-40FB-1E43-B860-3585CF3EE37D}"/>
          </ac:spMkLst>
        </pc:spChg>
        <pc:spChg chg="mod">
          <ac:chgData name="Cornago, Fernando" userId="048a41c0-cb7a-447c-b2ac-f7c7348706e9" providerId="ADAL" clId="{937591CA-C1D7-784D-9DA8-42716B827479}" dt="2020-06-17T04:38:00.279" v="3456"/>
          <ac:spMkLst>
            <pc:docMk/>
            <pc:sldMk cId="293792105" sldId="2134806426"/>
            <ac:spMk id="82" creationId="{88CEC758-F194-7B43-9BE4-896584DCD701}"/>
          </ac:spMkLst>
        </pc:spChg>
        <pc:spChg chg="mod">
          <ac:chgData name="Cornago, Fernando" userId="048a41c0-cb7a-447c-b2ac-f7c7348706e9" providerId="ADAL" clId="{937591CA-C1D7-784D-9DA8-42716B827479}" dt="2020-06-17T04:38:00.279" v="3456"/>
          <ac:spMkLst>
            <pc:docMk/>
            <pc:sldMk cId="293792105" sldId="2134806426"/>
            <ac:spMk id="83" creationId="{BEC48FF5-84FE-FA4E-8E44-B8C845C1F340}"/>
          </ac:spMkLst>
        </pc:spChg>
        <pc:spChg chg="mod">
          <ac:chgData name="Cornago, Fernando" userId="048a41c0-cb7a-447c-b2ac-f7c7348706e9" providerId="ADAL" clId="{937591CA-C1D7-784D-9DA8-42716B827479}" dt="2020-06-17T04:38:00.279" v="3456"/>
          <ac:spMkLst>
            <pc:docMk/>
            <pc:sldMk cId="293792105" sldId="2134806426"/>
            <ac:spMk id="84" creationId="{150F51F1-2F97-1943-892D-A2661B20B873}"/>
          </ac:spMkLst>
        </pc:spChg>
        <pc:spChg chg="mod">
          <ac:chgData name="Cornago, Fernando" userId="048a41c0-cb7a-447c-b2ac-f7c7348706e9" providerId="ADAL" clId="{937591CA-C1D7-784D-9DA8-42716B827479}" dt="2020-06-17T04:38:00.279" v="3456"/>
          <ac:spMkLst>
            <pc:docMk/>
            <pc:sldMk cId="293792105" sldId="2134806426"/>
            <ac:spMk id="85" creationId="{2BC1F95F-6106-2743-BA39-5476DC5F2B92}"/>
          </ac:spMkLst>
        </pc:spChg>
        <pc:spChg chg="mod">
          <ac:chgData name="Cornago, Fernando" userId="048a41c0-cb7a-447c-b2ac-f7c7348706e9" providerId="ADAL" clId="{937591CA-C1D7-784D-9DA8-42716B827479}" dt="2020-06-17T04:38:00.279" v="3456"/>
          <ac:spMkLst>
            <pc:docMk/>
            <pc:sldMk cId="293792105" sldId="2134806426"/>
            <ac:spMk id="86" creationId="{F045EBB6-5557-8E4F-85EA-9A0444DEB039}"/>
          </ac:spMkLst>
        </pc:spChg>
        <pc:spChg chg="mod">
          <ac:chgData name="Cornago, Fernando" userId="048a41c0-cb7a-447c-b2ac-f7c7348706e9" providerId="ADAL" clId="{937591CA-C1D7-784D-9DA8-42716B827479}" dt="2020-06-17T04:38:00.279" v="3456"/>
          <ac:spMkLst>
            <pc:docMk/>
            <pc:sldMk cId="293792105" sldId="2134806426"/>
            <ac:spMk id="87" creationId="{7B036183-1F43-C042-834B-55234DA2F5D9}"/>
          </ac:spMkLst>
        </pc:spChg>
        <pc:spChg chg="mod">
          <ac:chgData name="Cornago, Fernando" userId="048a41c0-cb7a-447c-b2ac-f7c7348706e9" providerId="ADAL" clId="{937591CA-C1D7-784D-9DA8-42716B827479}" dt="2020-06-17T04:38:00.279" v="3456"/>
          <ac:spMkLst>
            <pc:docMk/>
            <pc:sldMk cId="293792105" sldId="2134806426"/>
            <ac:spMk id="89" creationId="{8DE5AC92-C1AB-7046-A544-01766EFDF20F}"/>
          </ac:spMkLst>
        </pc:spChg>
        <pc:spChg chg="mod">
          <ac:chgData name="Cornago, Fernando" userId="048a41c0-cb7a-447c-b2ac-f7c7348706e9" providerId="ADAL" clId="{937591CA-C1D7-784D-9DA8-42716B827479}" dt="2020-06-17T04:38:00.279" v="3456"/>
          <ac:spMkLst>
            <pc:docMk/>
            <pc:sldMk cId="293792105" sldId="2134806426"/>
            <ac:spMk id="90" creationId="{C94FA4E1-5567-CC4E-8C3B-01B036295F9C}"/>
          </ac:spMkLst>
        </pc:spChg>
        <pc:spChg chg="mod">
          <ac:chgData name="Cornago, Fernando" userId="048a41c0-cb7a-447c-b2ac-f7c7348706e9" providerId="ADAL" clId="{937591CA-C1D7-784D-9DA8-42716B827479}" dt="2020-06-17T04:38:00.279" v="3456"/>
          <ac:spMkLst>
            <pc:docMk/>
            <pc:sldMk cId="293792105" sldId="2134806426"/>
            <ac:spMk id="91" creationId="{CB32673F-72D7-C847-B3A5-439C8915B0FB}"/>
          </ac:spMkLst>
        </pc:spChg>
        <pc:spChg chg="mod">
          <ac:chgData name="Cornago, Fernando" userId="048a41c0-cb7a-447c-b2ac-f7c7348706e9" providerId="ADAL" clId="{937591CA-C1D7-784D-9DA8-42716B827479}" dt="2020-06-17T04:38:00.279" v="3456"/>
          <ac:spMkLst>
            <pc:docMk/>
            <pc:sldMk cId="293792105" sldId="2134806426"/>
            <ac:spMk id="92" creationId="{01DD000D-CC67-E24F-ABCD-2B855984AE3C}"/>
          </ac:spMkLst>
        </pc:spChg>
        <pc:spChg chg="mod">
          <ac:chgData name="Cornago, Fernando" userId="048a41c0-cb7a-447c-b2ac-f7c7348706e9" providerId="ADAL" clId="{937591CA-C1D7-784D-9DA8-42716B827479}" dt="2020-06-17T04:38:00.279" v="3456"/>
          <ac:spMkLst>
            <pc:docMk/>
            <pc:sldMk cId="293792105" sldId="2134806426"/>
            <ac:spMk id="93" creationId="{B3A9DCB0-24BD-0E40-8E64-22D1C808D3C5}"/>
          </ac:spMkLst>
        </pc:spChg>
        <pc:spChg chg="mod">
          <ac:chgData name="Cornago, Fernando" userId="048a41c0-cb7a-447c-b2ac-f7c7348706e9" providerId="ADAL" clId="{937591CA-C1D7-784D-9DA8-42716B827479}" dt="2020-06-17T04:38:00.279" v="3456"/>
          <ac:spMkLst>
            <pc:docMk/>
            <pc:sldMk cId="293792105" sldId="2134806426"/>
            <ac:spMk id="94" creationId="{A81876D5-71A3-274D-AC7B-41B5AB0F4599}"/>
          </ac:spMkLst>
        </pc:spChg>
        <pc:spChg chg="mod">
          <ac:chgData name="Cornago, Fernando" userId="048a41c0-cb7a-447c-b2ac-f7c7348706e9" providerId="ADAL" clId="{937591CA-C1D7-784D-9DA8-42716B827479}" dt="2020-06-17T04:38:00.279" v="3456"/>
          <ac:spMkLst>
            <pc:docMk/>
            <pc:sldMk cId="293792105" sldId="2134806426"/>
            <ac:spMk id="95" creationId="{63B945AF-BCBF-364C-87B7-AF9C593E4F8F}"/>
          </ac:spMkLst>
        </pc:spChg>
        <pc:spChg chg="mod">
          <ac:chgData name="Cornago, Fernando" userId="048a41c0-cb7a-447c-b2ac-f7c7348706e9" providerId="ADAL" clId="{937591CA-C1D7-784D-9DA8-42716B827479}" dt="2020-06-17T04:38:00.279" v="3456"/>
          <ac:spMkLst>
            <pc:docMk/>
            <pc:sldMk cId="293792105" sldId="2134806426"/>
            <ac:spMk id="96" creationId="{D207E172-194D-524E-ADD4-0E3179C073DA}"/>
          </ac:spMkLst>
        </pc:spChg>
        <pc:spChg chg="mod">
          <ac:chgData name="Cornago, Fernando" userId="048a41c0-cb7a-447c-b2ac-f7c7348706e9" providerId="ADAL" clId="{937591CA-C1D7-784D-9DA8-42716B827479}" dt="2020-06-17T04:38:00.279" v="3456"/>
          <ac:spMkLst>
            <pc:docMk/>
            <pc:sldMk cId="293792105" sldId="2134806426"/>
            <ac:spMk id="97" creationId="{3B2FFE77-F5F3-6D45-857B-02B5EF600025}"/>
          </ac:spMkLst>
        </pc:spChg>
        <pc:spChg chg="mod">
          <ac:chgData name="Cornago, Fernando" userId="048a41c0-cb7a-447c-b2ac-f7c7348706e9" providerId="ADAL" clId="{937591CA-C1D7-784D-9DA8-42716B827479}" dt="2020-06-17T04:38:00.279" v="3456"/>
          <ac:spMkLst>
            <pc:docMk/>
            <pc:sldMk cId="293792105" sldId="2134806426"/>
            <ac:spMk id="99" creationId="{FB583ED2-5B0D-204B-854D-8ADB68CF0F6F}"/>
          </ac:spMkLst>
        </pc:spChg>
        <pc:spChg chg="mod">
          <ac:chgData name="Cornago, Fernando" userId="048a41c0-cb7a-447c-b2ac-f7c7348706e9" providerId="ADAL" clId="{937591CA-C1D7-784D-9DA8-42716B827479}" dt="2020-06-17T04:38:00.279" v="3456"/>
          <ac:spMkLst>
            <pc:docMk/>
            <pc:sldMk cId="293792105" sldId="2134806426"/>
            <ac:spMk id="100" creationId="{8CED73F4-9A3A-3D42-9111-7D892AAB1477}"/>
          </ac:spMkLst>
        </pc:spChg>
        <pc:spChg chg="mod">
          <ac:chgData name="Cornago, Fernando" userId="048a41c0-cb7a-447c-b2ac-f7c7348706e9" providerId="ADAL" clId="{937591CA-C1D7-784D-9DA8-42716B827479}" dt="2020-06-17T04:38:00.279" v="3456"/>
          <ac:spMkLst>
            <pc:docMk/>
            <pc:sldMk cId="293792105" sldId="2134806426"/>
            <ac:spMk id="101" creationId="{56A530F8-1EDC-6F42-A129-1A52A1C964B8}"/>
          </ac:spMkLst>
        </pc:spChg>
        <pc:spChg chg="mod">
          <ac:chgData name="Cornago, Fernando" userId="048a41c0-cb7a-447c-b2ac-f7c7348706e9" providerId="ADAL" clId="{937591CA-C1D7-784D-9DA8-42716B827479}" dt="2020-06-17T04:38:00.279" v="3456"/>
          <ac:spMkLst>
            <pc:docMk/>
            <pc:sldMk cId="293792105" sldId="2134806426"/>
            <ac:spMk id="102" creationId="{6C18C299-3520-6640-8770-0852AB6B9B02}"/>
          </ac:spMkLst>
        </pc:spChg>
        <pc:spChg chg="mod">
          <ac:chgData name="Cornago, Fernando" userId="048a41c0-cb7a-447c-b2ac-f7c7348706e9" providerId="ADAL" clId="{937591CA-C1D7-784D-9DA8-42716B827479}" dt="2020-06-17T04:38:00.279" v="3456"/>
          <ac:spMkLst>
            <pc:docMk/>
            <pc:sldMk cId="293792105" sldId="2134806426"/>
            <ac:spMk id="103" creationId="{2FE220A4-FEFB-1B4A-BDD1-0A60D177EDA1}"/>
          </ac:spMkLst>
        </pc:spChg>
        <pc:spChg chg="mod">
          <ac:chgData name="Cornago, Fernando" userId="048a41c0-cb7a-447c-b2ac-f7c7348706e9" providerId="ADAL" clId="{937591CA-C1D7-784D-9DA8-42716B827479}" dt="2020-06-17T04:38:00.279" v="3456"/>
          <ac:spMkLst>
            <pc:docMk/>
            <pc:sldMk cId="293792105" sldId="2134806426"/>
            <ac:spMk id="104" creationId="{72B394B8-8A07-1944-927E-E0EB1FDAE51B}"/>
          </ac:spMkLst>
        </pc:spChg>
        <pc:spChg chg="mod">
          <ac:chgData name="Cornago, Fernando" userId="048a41c0-cb7a-447c-b2ac-f7c7348706e9" providerId="ADAL" clId="{937591CA-C1D7-784D-9DA8-42716B827479}" dt="2020-06-17T04:38:00.279" v="3456"/>
          <ac:spMkLst>
            <pc:docMk/>
            <pc:sldMk cId="293792105" sldId="2134806426"/>
            <ac:spMk id="105" creationId="{C00B92B8-97A3-524A-96D3-D6E7E0FFBDF7}"/>
          </ac:spMkLst>
        </pc:spChg>
        <pc:spChg chg="mod">
          <ac:chgData name="Cornago, Fernando" userId="048a41c0-cb7a-447c-b2ac-f7c7348706e9" providerId="ADAL" clId="{937591CA-C1D7-784D-9DA8-42716B827479}" dt="2020-06-17T04:38:00.279" v="3456"/>
          <ac:spMkLst>
            <pc:docMk/>
            <pc:sldMk cId="293792105" sldId="2134806426"/>
            <ac:spMk id="106" creationId="{D9C96D8E-A115-2540-BB83-EE1F497D97D4}"/>
          </ac:spMkLst>
        </pc:spChg>
        <pc:spChg chg="mod">
          <ac:chgData name="Cornago, Fernando" userId="048a41c0-cb7a-447c-b2ac-f7c7348706e9" providerId="ADAL" clId="{937591CA-C1D7-784D-9DA8-42716B827479}" dt="2020-06-17T04:38:00.279" v="3456"/>
          <ac:spMkLst>
            <pc:docMk/>
            <pc:sldMk cId="293792105" sldId="2134806426"/>
            <ac:spMk id="107" creationId="{BF770C6C-623E-9345-BE9C-60AAB1E43BC8}"/>
          </ac:spMkLst>
        </pc:spChg>
        <pc:spChg chg="add del mod">
          <ac:chgData name="Cornago, Fernando" userId="048a41c0-cb7a-447c-b2ac-f7c7348706e9" providerId="ADAL" clId="{937591CA-C1D7-784D-9DA8-42716B827479}" dt="2020-06-17T04:38:07.504" v="3457"/>
          <ac:spMkLst>
            <pc:docMk/>
            <pc:sldMk cId="293792105" sldId="2134806426"/>
            <ac:spMk id="108" creationId="{3247A85E-2449-3A46-A9C4-262714AE078B}"/>
          </ac:spMkLst>
        </pc:spChg>
        <pc:spChg chg="add del mod">
          <ac:chgData name="Cornago, Fernando" userId="048a41c0-cb7a-447c-b2ac-f7c7348706e9" providerId="ADAL" clId="{937591CA-C1D7-784D-9DA8-42716B827479}" dt="2020-06-17T04:38:07.504" v="3457"/>
          <ac:spMkLst>
            <pc:docMk/>
            <pc:sldMk cId="293792105" sldId="2134806426"/>
            <ac:spMk id="109" creationId="{CF79F7D5-1C68-5944-A9AC-46C7C9AB6071}"/>
          </ac:spMkLst>
        </pc:spChg>
        <pc:spChg chg="add del mod">
          <ac:chgData name="Cornago, Fernando" userId="048a41c0-cb7a-447c-b2ac-f7c7348706e9" providerId="ADAL" clId="{937591CA-C1D7-784D-9DA8-42716B827479}" dt="2020-06-17T04:38:07.504" v="3457"/>
          <ac:spMkLst>
            <pc:docMk/>
            <pc:sldMk cId="293792105" sldId="2134806426"/>
            <ac:spMk id="110" creationId="{18796FAB-A0AF-E34B-B4E2-740C9BF471CA}"/>
          </ac:spMkLst>
        </pc:spChg>
        <pc:spChg chg="add del mod">
          <ac:chgData name="Cornago, Fernando" userId="048a41c0-cb7a-447c-b2ac-f7c7348706e9" providerId="ADAL" clId="{937591CA-C1D7-784D-9DA8-42716B827479}" dt="2020-06-17T04:38:07.504" v="3457"/>
          <ac:spMkLst>
            <pc:docMk/>
            <pc:sldMk cId="293792105" sldId="2134806426"/>
            <ac:spMk id="111" creationId="{DC91C0DE-336F-194E-A352-139E1EB37674}"/>
          </ac:spMkLst>
        </pc:spChg>
        <pc:spChg chg="add del mod">
          <ac:chgData name="Cornago, Fernando" userId="048a41c0-cb7a-447c-b2ac-f7c7348706e9" providerId="ADAL" clId="{937591CA-C1D7-784D-9DA8-42716B827479}" dt="2020-06-17T04:38:07.504" v="3457"/>
          <ac:spMkLst>
            <pc:docMk/>
            <pc:sldMk cId="293792105" sldId="2134806426"/>
            <ac:spMk id="112" creationId="{1A83AFE5-66CC-374D-9FEC-6E392563A538}"/>
          </ac:spMkLst>
        </pc:spChg>
        <pc:spChg chg="add del mod">
          <ac:chgData name="Cornago, Fernando" userId="048a41c0-cb7a-447c-b2ac-f7c7348706e9" providerId="ADAL" clId="{937591CA-C1D7-784D-9DA8-42716B827479}" dt="2020-06-17T04:38:07.504" v="3457"/>
          <ac:spMkLst>
            <pc:docMk/>
            <pc:sldMk cId="293792105" sldId="2134806426"/>
            <ac:spMk id="113" creationId="{EC265B3C-3619-6742-93C2-86AEEE126457}"/>
          </ac:spMkLst>
        </pc:spChg>
        <pc:spChg chg="add del mod">
          <ac:chgData name="Cornago, Fernando" userId="048a41c0-cb7a-447c-b2ac-f7c7348706e9" providerId="ADAL" clId="{937591CA-C1D7-784D-9DA8-42716B827479}" dt="2020-06-17T04:38:07.504" v="3457"/>
          <ac:spMkLst>
            <pc:docMk/>
            <pc:sldMk cId="293792105" sldId="2134806426"/>
            <ac:spMk id="114" creationId="{4F1B8B63-EB1C-954B-9E95-2FB058CDB677}"/>
          </ac:spMkLst>
        </pc:spChg>
        <pc:spChg chg="add del mod">
          <ac:chgData name="Cornago, Fernando" userId="048a41c0-cb7a-447c-b2ac-f7c7348706e9" providerId="ADAL" clId="{937591CA-C1D7-784D-9DA8-42716B827479}" dt="2020-06-17T04:38:07.504" v="3457"/>
          <ac:spMkLst>
            <pc:docMk/>
            <pc:sldMk cId="293792105" sldId="2134806426"/>
            <ac:spMk id="115" creationId="{AA37644C-F65F-BD4B-95AC-A1725BC8E18F}"/>
          </ac:spMkLst>
        </pc:spChg>
        <pc:spChg chg="add del mod">
          <ac:chgData name="Cornago, Fernando" userId="048a41c0-cb7a-447c-b2ac-f7c7348706e9" providerId="ADAL" clId="{937591CA-C1D7-784D-9DA8-42716B827479}" dt="2020-06-17T04:38:07.504" v="3457"/>
          <ac:spMkLst>
            <pc:docMk/>
            <pc:sldMk cId="293792105" sldId="2134806426"/>
            <ac:spMk id="116" creationId="{FBA7294B-1C36-C943-AE98-0AB0F41568C1}"/>
          </ac:spMkLst>
        </pc:spChg>
        <pc:spChg chg="add del mod">
          <ac:chgData name="Cornago, Fernando" userId="048a41c0-cb7a-447c-b2ac-f7c7348706e9" providerId="ADAL" clId="{937591CA-C1D7-784D-9DA8-42716B827479}" dt="2020-06-17T04:38:07.504" v="3457"/>
          <ac:spMkLst>
            <pc:docMk/>
            <pc:sldMk cId="293792105" sldId="2134806426"/>
            <ac:spMk id="118" creationId="{CC0E5CD9-AA0A-9541-98B2-4CC0B7A5ABD7}"/>
          </ac:spMkLst>
        </pc:spChg>
        <pc:spChg chg="add del mod">
          <ac:chgData name="Cornago, Fernando" userId="048a41c0-cb7a-447c-b2ac-f7c7348706e9" providerId="ADAL" clId="{937591CA-C1D7-784D-9DA8-42716B827479}" dt="2020-06-17T04:38:07.504" v="3457"/>
          <ac:spMkLst>
            <pc:docMk/>
            <pc:sldMk cId="293792105" sldId="2134806426"/>
            <ac:spMk id="119" creationId="{99D23137-23FF-814B-A533-43EFECA4798B}"/>
          </ac:spMkLst>
        </pc:spChg>
        <pc:spChg chg="add del mod">
          <ac:chgData name="Cornago, Fernando" userId="048a41c0-cb7a-447c-b2ac-f7c7348706e9" providerId="ADAL" clId="{937591CA-C1D7-784D-9DA8-42716B827479}" dt="2020-06-17T04:38:07.504" v="3457"/>
          <ac:spMkLst>
            <pc:docMk/>
            <pc:sldMk cId="293792105" sldId="2134806426"/>
            <ac:spMk id="121" creationId="{3F81131F-002E-294B-A18C-FA938EE7ED83}"/>
          </ac:spMkLst>
        </pc:spChg>
        <pc:spChg chg="add del mod">
          <ac:chgData name="Cornago, Fernando" userId="048a41c0-cb7a-447c-b2ac-f7c7348706e9" providerId="ADAL" clId="{937591CA-C1D7-784D-9DA8-42716B827479}" dt="2020-06-17T04:38:07.504" v="3457"/>
          <ac:spMkLst>
            <pc:docMk/>
            <pc:sldMk cId="293792105" sldId="2134806426"/>
            <ac:spMk id="122" creationId="{14DF059A-EA56-F14B-B168-2E2596E392F0}"/>
          </ac:spMkLst>
        </pc:spChg>
        <pc:spChg chg="add del mod">
          <ac:chgData name="Cornago, Fernando" userId="048a41c0-cb7a-447c-b2ac-f7c7348706e9" providerId="ADAL" clId="{937591CA-C1D7-784D-9DA8-42716B827479}" dt="2020-06-17T04:38:07.504" v="3457"/>
          <ac:spMkLst>
            <pc:docMk/>
            <pc:sldMk cId="293792105" sldId="2134806426"/>
            <ac:spMk id="123" creationId="{3390F380-AF21-4A41-95B1-61D94FB25BE8}"/>
          </ac:spMkLst>
        </pc:spChg>
        <pc:spChg chg="add del mod">
          <ac:chgData name="Cornago, Fernando" userId="048a41c0-cb7a-447c-b2ac-f7c7348706e9" providerId="ADAL" clId="{937591CA-C1D7-784D-9DA8-42716B827479}" dt="2020-06-17T04:38:07.504" v="3457"/>
          <ac:spMkLst>
            <pc:docMk/>
            <pc:sldMk cId="293792105" sldId="2134806426"/>
            <ac:spMk id="124" creationId="{E2B6EEFE-77A9-BD4B-B9F3-847D323CE7A5}"/>
          </ac:spMkLst>
        </pc:spChg>
        <pc:spChg chg="add del mod">
          <ac:chgData name="Cornago, Fernando" userId="048a41c0-cb7a-447c-b2ac-f7c7348706e9" providerId="ADAL" clId="{937591CA-C1D7-784D-9DA8-42716B827479}" dt="2020-06-17T04:38:07.504" v="3457"/>
          <ac:spMkLst>
            <pc:docMk/>
            <pc:sldMk cId="293792105" sldId="2134806426"/>
            <ac:spMk id="125" creationId="{2E8DAC06-423F-5F4D-9C62-9E2123DC4557}"/>
          </ac:spMkLst>
        </pc:spChg>
        <pc:spChg chg="add del mod">
          <ac:chgData name="Cornago, Fernando" userId="048a41c0-cb7a-447c-b2ac-f7c7348706e9" providerId="ADAL" clId="{937591CA-C1D7-784D-9DA8-42716B827479}" dt="2020-06-17T04:38:07.504" v="3457"/>
          <ac:spMkLst>
            <pc:docMk/>
            <pc:sldMk cId="293792105" sldId="2134806426"/>
            <ac:spMk id="126" creationId="{2638C19F-DBED-D444-9F7D-CF788A43AE6A}"/>
          </ac:spMkLst>
        </pc:spChg>
        <pc:spChg chg="add mod">
          <ac:chgData name="Cornago, Fernando" userId="048a41c0-cb7a-447c-b2ac-f7c7348706e9" providerId="ADAL" clId="{937591CA-C1D7-784D-9DA8-42716B827479}" dt="2020-06-17T04:55:07.861" v="3738" actId="1076"/>
          <ac:spMkLst>
            <pc:docMk/>
            <pc:sldMk cId="293792105" sldId="2134806426"/>
            <ac:spMk id="134" creationId="{59390BEA-2389-F24F-831A-B1BF4BA2E1E7}"/>
          </ac:spMkLst>
        </pc:spChg>
        <pc:spChg chg="add mod">
          <ac:chgData name="Cornago, Fernando" userId="048a41c0-cb7a-447c-b2ac-f7c7348706e9" providerId="ADAL" clId="{937591CA-C1D7-784D-9DA8-42716B827479}" dt="2020-06-17T04:55:07.861" v="3738" actId="1076"/>
          <ac:spMkLst>
            <pc:docMk/>
            <pc:sldMk cId="293792105" sldId="2134806426"/>
            <ac:spMk id="135" creationId="{BE28D7ED-ACF1-0E4E-95D3-E2854E0998C8}"/>
          </ac:spMkLst>
        </pc:spChg>
        <pc:spChg chg="add mod">
          <ac:chgData name="Cornago, Fernando" userId="048a41c0-cb7a-447c-b2ac-f7c7348706e9" providerId="ADAL" clId="{937591CA-C1D7-784D-9DA8-42716B827479}" dt="2020-06-17T04:55:33.218" v="3765" actId="20577"/>
          <ac:spMkLst>
            <pc:docMk/>
            <pc:sldMk cId="293792105" sldId="2134806426"/>
            <ac:spMk id="138" creationId="{5F439768-0D61-AF41-8C42-3BE4B6E8C2AE}"/>
          </ac:spMkLst>
        </pc:spChg>
        <pc:spChg chg="add mod">
          <ac:chgData name="Cornago, Fernando" userId="048a41c0-cb7a-447c-b2ac-f7c7348706e9" providerId="ADAL" clId="{937591CA-C1D7-784D-9DA8-42716B827479}" dt="2020-06-17T04:59:55.804" v="3943" actId="20577"/>
          <ac:spMkLst>
            <pc:docMk/>
            <pc:sldMk cId="293792105" sldId="2134806426"/>
            <ac:spMk id="139" creationId="{7C2E28C2-509A-E142-B21F-7BDE4E2F7539}"/>
          </ac:spMkLst>
        </pc:spChg>
        <pc:grpChg chg="add del mod">
          <ac:chgData name="Cornago, Fernando" userId="048a41c0-cb7a-447c-b2ac-f7c7348706e9" providerId="ADAL" clId="{937591CA-C1D7-784D-9DA8-42716B827479}" dt="2020-06-17T04:38:07.504" v="3457"/>
          <ac:grpSpMkLst>
            <pc:docMk/>
            <pc:sldMk cId="293792105" sldId="2134806426"/>
            <ac:grpSpMk id="27" creationId="{01FB50ED-AFF4-A540-A847-5AD728BB316B}"/>
          </ac:grpSpMkLst>
        </pc:grpChg>
        <pc:grpChg chg="mod">
          <ac:chgData name="Cornago, Fernando" userId="048a41c0-cb7a-447c-b2ac-f7c7348706e9" providerId="ADAL" clId="{937591CA-C1D7-784D-9DA8-42716B827479}" dt="2020-06-17T04:38:00.279" v="3456"/>
          <ac:grpSpMkLst>
            <pc:docMk/>
            <pc:sldMk cId="293792105" sldId="2134806426"/>
            <ac:grpSpMk id="28" creationId="{63C8D46A-C9F1-6849-BBB8-7882F7F4CF3E}"/>
          </ac:grpSpMkLst>
        </pc:grpChg>
        <pc:grpChg chg="mod">
          <ac:chgData name="Cornago, Fernando" userId="048a41c0-cb7a-447c-b2ac-f7c7348706e9" providerId="ADAL" clId="{937591CA-C1D7-784D-9DA8-42716B827479}" dt="2020-06-17T04:38:00.279" v="3456"/>
          <ac:grpSpMkLst>
            <pc:docMk/>
            <pc:sldMk cId="293792105" sldId="2134806426"/>
            <ac:grpSpMk id="29" creationId="{6DA311FF-24F7-2C45-80B8-80CDD1056F88}"/>
          </ac:grpSpMkLst>
        </pc:grpChg>
        <pc:grpChg chg="mod">
          <ac:chgData name="Cornago, Fernando" userId="048a41c0-cb7a-447c-b2ac-f7c7348706e9" providerId="ADAL" clId="{937591CA-C1D7-784D-9DA8-42716B827479}" dt="2020-06-17T04:38:00.279" v="3456"/>
          <ac:grpSpMkLst>
            <pc:docMk/>
            <pc:sldMk cId="293792105" sldId="2134806426"/>
            <ac:grpSpMk id="30" creationId="{D6B59B5B-E270-7147-AAD0-D303DFCCFA67}"/>
          </ac:grpSpMkLst>
        </pc:grpChg>
        <pc:grpChg chg="mod">
          <ac:chgData name="Cornago, Fernando" userId="048a41c0-cb7a-447c-b2ac-f7c7348706e9" providerId="ADAL" clId="{937591CA-C1D7-784D-9DA8-42716B827479}" dt="2020-06-17T04:38:00.279" v="3456"/>
          <ac:grpSpMkLst>
            <pc:docMk/>
            <pc:sldMk cId="293792105" sldId="2134806426"/>
            <ac:grpSpMk id="31" creationId="{A48EDEBF-792B-4D42-9051-071E69DC9350}"/>
          </ac:grpSpMkLst>
        </pc:grpChg>
        <pc:grpChg chg="mod">
          <ac:chgData name="Cornago, Fernando" userId="048a41c0-cb7a-447c-b2ac-f7c7348706e9" providerId="ADAL" clId="{937591CA-C1D7-784D-9DA8-42716B827479}" dt="2020-06-17T04:38:00.279" v="3456"/>
          <ac:grpSpMkLst>
            <pc:docMk/>
            <pc:sldMk cId="293792105" sldId="2134806426"/>
            <ac:grpSpMk id="32" creationId="{27009921-EEA4-B044-8B2F-C9D4F07CCF73}"/>
          </ac:grpSpMkLst>
        </pc:grpChg>
        <pc:grpChg chg="add del mod">
          <ac:chgData name="Cornago, Fernando" userId="048a41c0-cb7a-447c-b2ac-f7c7348706e9" providerId="ADAL" clId="{937591CA-C1D7-784D-9DA8-42716B827479}" dt="2020-06-17T04:38:07.504" v="3457"/>
          <ac:grpSpMkLst>
            <pc:docMk/>
            <pc:sldMk cId="293792105" sldId="2134806426"/>
            <ac:grpSpMk id="78" creationId="{01BB0E9F-0B3B-4E42-8ACB-5EF573FF347A}"/>
          </ac:grpSpMkLst>
        </pc:grpChg>
        <pc:grpChg chg="add del mod">
          <ac:chgData name="Cornago, Fernando" userId="048a41c0-cb7a-447c-b2ac-f7c7348706e9" providerId="ADAL" clId="{937591CA-C1D7-784D-9DA8-42716B827479}" dt="2020-06-17T04:38:07.504" v="3457"/>
          <ac:grpSpMkLst>
            <pc:docMk/>
            <pc:sldMk cId="293792105" sldId="2134806426"/>
            <ac:grpSpMk id="88" creationId="{C8CA6453-F2B3-0A4A-9864-0EB8E4B6FD30}"/>
          </ac:grpSpMkLst>
        </pc:grpChg>
        <pc:grpChg chg="add del mod">
          <ac:chgData name="Cornago, Fernando" userId="048a41c0-cb7a-447c-b2ac-f7c7348706e9" providerId="ADAL" clId="{937591CA-C1D7-784D-9DA8-42716B827479}" dt="2020-06-17T04:38:07.504" v="3457"/>
          <ac:grpSpMkLst>
            <pc:docMk/>
            <pc:sldMk cId="293792105" sldId="2134806426"/>
            <ac:grpSpMk id="98" creationId="{91C1AA39-EC9D-004C-898E-DBC78BD9C553}"/>
          </ac:grpSpMkLst>
        </pc:grpChg>
        <pc:graphicFrameChg chg="add del mod">
          <ac:chgData name="Cornago, Fernando" userId="048a41c0-cb7a-447c-b2ac-f7c7348706e9" providerId="ADAL" clId="{937591CA-C1D7-784D-9DA8-42716B827479}" dt="2020-06-17T04:38:07.504" v="3457"/>
          <ac:graphicFrameMkLst>
            <pc:docMk/>
            <pc:sldMk cId="293792105" sldId="2134806426"/>
            <ac:graphicFrameMk id="120" creationId="{46B3097F-18EC-754C-A5C3-9DD86225FBF7}"/>
          </ac:graphicFrameMkLst>
        </pc:graphicFrameChg>
        <pc:picChg chg="add mod">
          <ac:chgData name="Cornago, Fernando" userId="048a41c0-cb7a-447c-b2ac-f7c7348706e9" providerId="ADAL" clId="{937591CA-C1D7-784D-9DA8-42716B827479}" dt="2020-06-17T04:53:02.800" v="3730" actId="1076"/>
          <ac:picMkLst>
            <pc:docMk/>
            <pc:sldMk cId="293792105" sldId="2134806426"/>
            <ac:picMk id="6" creationId="{22DBB154-B903-7441-BA0E-B3ED1BEC1AFB}"/>
          </ac:picMkLst>
        </pc:picChg>
        <pc:picChg chg="del">
          <ac:chgData name="Cornago, Fernando" userId="048a41c0-cb7a-447c-b2ac-f7c7348706e9" providerId="ADAL" clId="{937591CA-C1D7-784D-9DA8-42716B827479}" dt="2020-06-17T04:15:47.890" v="3283" actId="478"/>
          <ac:picMkLst>
            <pc:docMk/>
            <pc:sldMk cId="293792105" sldId="2134806426"/>
            <ac:picMk id="7" creationId="{58786160-8413-D243-BAF2-FB9232196B8E}"/>
          </ac:picMkLst>
        </pc:picChg>
        <pc:picChg chg="del">
          <ac:chgData name="Cornago, Fernando" userId="048a41c0-cb7a-447c-b2ac-f7c7348706e9" providerId="ADAL" clId="{937591CA-C1D7-784D-9DA8-42716B827479}" dt="2020-06-17T04:19:54.273" v="3455" actId="478"/>
          <ac:picMkLst>
            <pc:docMk/>
            <pc:sldMk cId="293792105" sldId="2134806426"/>
            <ac:picMk id="8" creationId="{A67800C4-08F6-DD46-9729-4F104BC1EF08}"/>
          </ac:picMkLst>
        </pc:picChg>
        <pc:picChg chg="del">
          <ac:chgData name="Cornago, Fernando" userId="048a41c0-cb7a-447c-b2ac-f7c7348706e9" providerId="ADAL" clId="{937591CA-C1D7-784D-9DA8-42716B827479}" dt="2020-06-17T04:38:08.901" v="3459" actId="478"/>
          <ac:picMkLst>
            <pc:docMk/>
            <pc:sldMk cId="293792105" sldId="2134806426"/>
            <ac:picMk id="9" creationId="{3A7CF99C-5B76-9E4A-8C3C-7C1946080072}"/>
          </ac:picMkLst>
        </pc:picChg>
        <pc:picChg chg="del">
          <ac:chgData name="Cornago, Fernando" userId="048a41c0-cb7a-447c-b2ac-f7c7348706e9" providerId="ADAL" clId="{937591CA-C1D7-784D-9DA8-42716B827479}" dt="2020-06-17T04:17:37.088" v="3333" actId="478"/>
          <ac:picMkLst>
            <pc:docMk/>
            <pc:sldMk cId="293792105" sldId="2134806426"/>
            <ac:picMk id="10" creationId="{F1AC9544-BAEE-AA4C-BE86-AB5A0A447FF0}"/>
          </ac:picMkLst>
        </pc:picChg>
        <pc:picChg chg="del">
          <ac:chgData name="Cornago, Fernando" userId="048a41c0-cb7a-447c-b2ac-f7c7348706e9" providerId="ADAL" clId="{937591CA-C1D7-784D-9DA8-42716B827479}" dt="2020-06-17T04:38:11.112" v="3460" actId="478"/>
          <ac:picMkLst>
            <pc:docMk/>
            <pc:sldMk cId="293792105" sldId="2134806426"/>
            <ac:picMk id="11" creationId="{7EED3EA3-C08E-F246-9190-FC3B5C15102E}"/>
          </ac:picMkLst>
        </pc:picChg>
        <pc:picChg chg="add mod">
          <ac:chgData name="Cornago, Fernando" userId="048a41c0-cb7a-447c-b2ac-f7c7348706e9" providerId="ADAL" clId="{937591CA-C1D7-784D-9DA8-42716B827479}" dt="2020-06-17T04:55:07.861" v="3738" actId="1076"/>
          <ac:picMkLst>
            <pc:docMk/>
            <pc:sldMk cId="293792105" sldId="2134806426"/>
            <ac:picMk id="133" creationId="{CC58DC4F-0EB8-214C-A776-FA42DFF82C42}"/>
          </ac:picMkLst>
        </pc:picChg>
        <pc:picChg chg="add mod">
          <ac:chgData name="Cornago, Fernando" userId="048a41c0-cb7a-447c-b2ac-f7c7348706e9" providerId="ADAL" clId="{937591CA-C1D7-784D-9DA8-42716B827479}" dt="2020-06-17T04:53:31.434" v="3735" actId="1076"/>
          <ac:picMkLst>
            <pc:docMk/>
            <pc:sldMk cId="293792105" sldId="2134806426"/>
            <ac:picMk id="136" creationId="{CD9517C5-55F6-EC4F-AF98-62E98AB8AE9C}"/>
          </ac:picMkLst>
        </pc:picChg>
        <pc:picChg chg="add del mod">
          <ac:chgData name="Cornago, Fernando" userId="048a41c0-cb7a-447c-b2ac-f7c7348706e9" providerId="ADAL" clId="{937591CA-C1D7-784D-9DA8-42716B827479}" dt="2020-06-17T04:59:41.382" v="3937" actId="478"/>
          <ac:picMkLst>
            <pc:docMk/>
            <pc:sldMk cId="293792105" sldId="2134806426"/>
            <ac:picMk id="137" creationId="{752EF2B7-C069-1246-B591-746EA49098A6}"/>
          </ac:picMkLst>
        </pc:picChg>
        <pc:picChg chg="add mod">
          <ac:chgData name="Cornago, Fernando" userId="048a41c0-cb7a-447c-b2ac-f7c7348706e9" providerId="ADAL" clId="{937591CA-C1D7-784D-9DA8-42716B827479}" dt="2020-06-17T04:59:52.489" v="3940" actId="1076"/>
          <ac:picMkLst>
            <pc:docMk/>
            <pc:sldMk cId="293792105" sldId="2134806426"/>
            <ac:picMk id="140" creationId="{60967693-1E94-3B47-B020-43EFCCF71E8E}"/>
          </ac:picMkLst>
        </pc:picChg>
        <pc:inkChg chg="add del mod">
          <ac:chgData name="Cornago, Fernando" userId="048a41c0-cb7a-447c-b2ac-f7c7348706e9" providerId="ADAL" clId="{937591CA-C1D7-784D-9DA8-42716B827479}" dt="2020-06-17T04:38:07.504" v="3457"/>
          <ac:inkMkLst>
            <pc:docMk/>
            <pc:sldMk cId="293792105" sldId="2134806426"/>
            <ac:inkMk id="127" creationId="{1327FDDF-0468-364E-93CC-D6628698F3D7}"/>
          </ac:inkMkLst>
        </pc:inkChg>
        <pc:inkChg chg="add del mod">
          <ac:chgData name="Cornago, Fernando" userId="048a41c0-cb7a-447c-b2ac-f7c7348706e9" providerId="ADAL" clId="{937591CA-C1D7-784D-9DA8-42716B827479}" dt="2020-06-17T04:38:07.504" v="3457"/>
          <ac:inkMkLst>
            <pc:docMk/>
            <pc:sldMk cId="293792105" sldId="2134806426"/>
            <ac:inkMk id="128" creationId="{B43AFA50-7BF8-CE42-B0AE-E84D38B79824}"/>
          </ac:inkMkLst>
        </pc:inkChg>
        <pc:inkChg chg="add del mod">
          <ac:chgData name="Cornago, Fernando" userId="048a41c0-cb7a-447c-b2ac-f7c7348706e9" providerId="ADAL" clId="{937591CA-C1D7-784D-9DA8-42716B827479}" dt="2020-06-17T04:38:07.504" v="3457"/>
          <ac:inkMkLst>
            <pc:docMk/>
            <pc:sldMk cId="293792105" sldId="2134806426"/>
            <ac:inkMk id="129" creationId="{BF5E26A0-D268-B842-86EB-EF559C5587E8}"/>
          </ac:inkMkLst>
        </pc:inkChg>
        <pc:inkChg chg="add del mod">
          <ac:chgData name="Cornago, Fernando" userId="048a41c0-cb7a-447c-b2ac-f7c7348706e9" providerId="ADAL" clId="{937591CA-C1D7-784D-9DA8-42716B827479}" dt="2020-06-17T04:38:07.504" v="3457"/>
          <ac:inkMkLst>
            <pc:docMk/>
            <pc:sldMk cId="293792105" sldId="2134806426"/>
            <ac:inkMk id="130" creationId="{FE3FAABB-7FC3-504F-80DD-961C02FD00D1}"/>
          </ac:inkMkLst>
        </pc:inkChg>
        <pc:inkChg chg="add del mod">
          <ac:chgData name="Cornago, Fernando" userId="048a41c0-cb7a-447c-b2ac-f7c7348706e9" providerId="ADAL" clId="{937591CA-C1D7-784D-9DA8-42716B827479}" dt="2020-06-17T04:38:07.504" v="3457"/>
          <ac:inkMkLst>
            <pc:docMk/>
            <pc:sldMk cId="293792105" sldId="2134806426"/>
            <ac:inkMk id="131" creationId="{A66D7DCE-ED3C-BE4A-9E51-284FB265A1BA}"/>
          </ac:inkMkLst>
        </pc:inkChg>
        <pc:inkChg chg="add del mod">
          <ac:chgData name="Cornago, Fernando" userId="048a41c0-cb7a-447c-b2ac-f7c7348706e9" providerId="ADAL" clId="{937591CA-C1D7-784D-9DA8-42716B827479}" dt="2020-06-17T04:38:07.504" v="3457"/>
          <ac:inkMkLst>
            <pc:docMk/>
            <pc:sldMk cId="293792105" sldId="2134806426"/>
            <ac:inkMk id="132" creationId="{9B71DB42-59EB-664D-90A8-8D96681C8072}"/>
          </ac:inkMkLst>
        </pc:inkChg>
        <pc:cxnChg chg="add del mod">
          <ac:chgData name="Cornago, Fernando" userId="048a41c0-cb7a-447c-b2ac-f7c7348706e9" providerId="ADAL" clId="{937591CA-C1D7-784D-9DA8-42716B827479}" dt="2020-06-17T04:38:07.504" v="3457"/>
          <ac:cxnSpMkLst>
            <pc:docMk/>
            <pc:sldMk cId="293792105" sldId="2134806426"/>
            <ac:cxnSpMk id="19" creationId="{34D4F312-A187-4740-8C01-330A0E51640E}"/>
          </ac:cxnSpMkLst>
        </pc:cxnChg>
        <pc:cxnChg chg="add del mod">
          <ac:chgData name="Cornago, Fernando" userId="048a41c0-cb7a-447c-b2ac-f7c7348706e9" providerId="ADAL" clId="{937591CA-C1D7-784D-9DA8-42716B827479}" dt="2020-06-17T04:38:07.504" v="3457"/>
          <ac:cxnSpMkLst>
            <pc:docMk/>
            <pc:sldMk cId="293792105" sldId="2134806426"/>
            <ac:cxnSpMk id="20" creationId="{DAB5F3DB-B566-4444-8AC7-CD7EB78F76C6}"/>
          </ac:cxnSpMkLst>
        </pc:cxnChg>
        <pc:cxnChg chg="add del mod">
          <ac:chgData name="Cornago, Fernando" userId="048a41c0-cb7a-447c-b2ac-f7c7348706e9" providerId="ADAL" clId="{937591CA-C1D7-784D-9DA8-42716B827479}" dt="2020-06-17T04:38:07.504" v="3457"/>
          <ac:cxnSpMkLst>
            <pc:docMk/>
            <pc:sldMk cId="293792105" sldId="2134806426"/>
            <ac:cxnSpMk id="21" creationId="{D1BA5008-3147-0046-AECF-510AB60E3E11}"/>
          </ac:cxnSpMkLst>
        </pc:cxnChg>
        <pc:cxnChg chg="add del mod">
          <ac:chgData name="Cornago, Fernando" userId="048a41c0-cb7a-447c-b2ac-f7c7348706e9" providerId="ADAL" clId="{937591CA-C1D7-784D-9DA8-42716B827479}" dt="2020-06-17T04:38:07.504" v="3457"/>
          <ac:cxnSpMkLst>
            <pc:docMk/>
            <pc:sldMk cId="293792105" sldId="2134806426"/>
            <ac:cxnSpMk id="117" creationId="{EA892CD5-F0CE-9742-A255-11C6CB994B56}"/>
          </ac:cxnSpMkLst>
        </pc:cxnChg>
      </pc:sldChg>
      <pc:sldChg chg="addSp delSp modSp add modNotesTx">
        <pc:chgData name="Cornago, Fernando" userId="048a41c0-cb7a-447c-b2ac-f7c7348706e9" providerId="ADAL" clId="{937591CA-C1D7-784D-9DA8-42716B827479}" dt="2020-06-17T04:45:45.688" v="3726" actId="20577"/>
        <pc:sldMkLst>
          <pc:docMk/>
          <pc:sldMk cId="2567841848" sldId="2134806427"/>
        </pc:sldMkLst>
        <pc:spChg chg="del">
          <ac:chgData name="Cornago, Fernando" userId="048a41c0-cb7a-447c-b2ac-f7c7348706e9" providerId="ADAL" clId="{937591CA-C1D7-784D-9DA8-42716B827479}" dt="2020-06-17T04:45:16.958" v="3710" actId="478"/>
          <ac:spMkLst>
            <pc:docMk/>
            <pc:sldMk cId="2567841848" sldId="2134806427"/>
            <ac:spMk id="2" creationId="{9F19D598-6C64-D44B-B066-4BDE9D8B628D}"/>
          </ac:spMkLst>
        </pc:spChg>
        <pc:spChg chg="del">
          <ac:chgData name="Cornago, Fernando" userId="048a41c0-cb7a-447c-b2ac-f7c7348706e9" providerId="ADAL" clId="{937591CA-C1D7-784D-9DA8-42716B827479}" dt="2020-06-17T04:45:16.958" v="3710" actId="478"/>
          <ac:spMkLst>
            <pc:docMk/>
            <pc:sldMk cId="2567841848" sldId="2134806427"/>
            <ac:spMk id="3" creationId="{DC3B3861-458C-D249-A521-ECAE4FC41966}"/>
          </ac:spMkLst>
        </pc:spChg>
        <pc:spChg chg="del">
          <ac:chgData name="Cornago, Fernando" userId="048a41c0-cb7a-447c-b2ac-f7c7348706e9" providerId="ADAL" clId="{937591CA-C1D7-784D-9DA8-42716B827479}" dt="2020-06-17T04:45:16.958" v="3710" actId="478"/>
          <ac:spMkLst>
            <pc:docMk/>
            <pc:sldMk cId="2567841848" sldId="2134806427"/>
            <ac:spMk id="4" creationId="{74BE135A-648A-E34E-8BAA-1F37660F54D3}"/>
          </ac:spMkLst>
        </pc:spChg>
        <pc:spChg chg="del">
          <ac:chgData name="Cornago, Fernando" userId="048a41c0-cb7a-447c-b2ac-f7c7348706e9" providerId="ADAL" clId="{937591CA-C1D7-784D-9DA8-42716B827479}" dt="2020-06-17T04:45:16.958" v="3710" actId="478"/>
          <ac:spMkLst>
            <pc:docMk/>
            <pc:sldMk cId="2567841848" sldId="2134806427"/>
            <ac:spMk id="5" creationId="{93094C80-9CB6-1C42-8C13-FF7D0CC6C465}"/>
          </ac:spMkLst>
        </pc:spChg>
        <pc:spChg chg="add mod">
          <ac:chgData name="Cornago, Fernando" userId="048a41c0-cb7a-447c-b2ac-f7c7348706e9" providerId="ADAL" clId="{937591CA-C1D7-784D-9DA8-42716B827479}" dt="2020-06-17T04:45:16.958" v="3710" actId="478"/>
          <ac:spMkLst>
            <pc:docMk/>
            <pc:sldMk cId="2567841848" sldId="2134806427"/>
            <ac:spMk id="8" creationId="{4B558CC4-F4EF-DC49-9BF6-86E90997453A}"/>
          </ac:spMkLst>
        </pc:spChg>
        <pc:spChg chg="del">
          <ac:chgData name="Cornago, Fernando" userId="048a41c0-cb7a-447c-b2ac-f7c7348706e9" providerId="ADAL" clId="{937591CA-C1D7-784D-9DA8-42716B827479}" dt="2020-06-17T04:45:16.958" v="3710" actId="478"/>
          <ac:spMkLst>
            <pc:docMk/>
            <pc:sldMk cId="2567841848" sldId="2134806427"/>
            <ac:spMk id="12" creationId="{371523AE-CFCD-244A-9402-B20C580AF570}"/>
          </ac:spMkLst>
        </pc:spChg>
        <pc:spChg chg="del">
          <ac:chgData name="Cornago, Fernando" userId="048a41c0-cb7a-447c-b2ac-f7c7348706e9" providerId="ADAL" clId="{937591CA-C1D7-784D-9DA8-42716B827479}" dt="2020-06-17T04:45:16.958" v="3710" actId="478"/>
          <ac:spMkLst>
            <pc:docMk/>
            <pc:sldMk cId="2567841848" sldId="2134806427"/>
            <ac:spMk id="14" creationId="{A33519E7-3EB9-2E40-8AD5-77B4B0CA122F}"/>
          </ac:spMkLst>
        </pc:spChg>
        <pc:spChg chg="del">
          <ac:chgData name="Cornago, Fernando" userId="048a41c0-cb7a-447c-b2ac-f7c7348706e9" providerId="ADAL" clId="{937591CA-C1D7-784D-9DA8-42716B827479}" dt="2020-06-17T04:45:20.291" v="3711" actId="478"/>
          <ac:spMkLst>
            <pc:docMk/>
            <pc:sldMk cId="2567841848" sldId="2134806427"/>
            <ac:spMk id="134" creationId="{59390BEA-2389-F24F-831A-B1BF4BA2E1E7}"/>
          </ac:spMkLst>
        </pc:spChg>
        <pc:spChg chg="del">
          <ac:chgData name="Cornago, Fernando" userId="048a41c0-cb7a-447c-b2ac-f7c7348706e9" providerId="ADAL" clId="{937591CA-C1D7-784D-9DA8-42716B827479}" dt="2020-06-17T04:45:16.958" v="3710" actId="478"/>
          <ac:spMkLst>
            <pc:docMk/>
            <pc:sldMk cId="2567841848" sldId="2134806427"/>
            <ac:spMk id="135" creationId="{BE28D7ED-ACF1-0E4E-95D3-E2854E0998C8}"/>
          </ac:spMkLst>
        </pc:spChg>
        <pc:picChg chg="del">
          <ac:chgData name="Cornago, Fernando" userId="048a41c0-cb7a-447c-b2ac-f7c7348706e9" providerId="ADAL" clId="{937591CA-C1D7-784D-9DA8-42716B827479}" dt="2020-06-17T04:45:16.958" v="3710" actId="478"/>
          <ac:picMkLst>
            <pc:docMk/>
            <pc:sldMk cId="2567841848" sldId="2134806427"/>
            <ac:picMk id="6" creationId="{22DBB154-B903-7441-BA0E-B3ED1BEC1AFB}"/>
          </ac:picMkLst>
        </pc:picChg>
        <pc:picChg chg="add mod">
          <ac:chgData name="Cornago, Fernando" userId="048a41c0-cb7a-447c-b2ac-f7c7348706e9" providerId="ADAL" clId="{937591CA-C1D7-784D-9DA8-42716B827479}" dt="2020-06-17T04:45:26.920" v="3714" actId="14100"/>
          <ac:picMkLst>
            <pc:docMk/>
            <pc:sldMk cId="2567841848" sldId="2134806427"/>
            <ac:picMk id="9" creationId="{9540C29A-7CC1-0644-AFB7-EE0E5EE20CB1}"/>
          </ac:picMkLst>
        </pc:picChg>
        <pc:picChg chg="del">
          <ac:chgData name="Cornago, Fernando" userId="048a41c0-cb7a-447c-b2ac-f7c7348706e9" providerId="ADAL" clId="{937591CA-C1D7-784D-9DA8-42716B827479}" dt="2020-06-17T04:45:16.958" v="3710" actId="478"/>
          <ac:picMkLst>
            <pc:docMk/>
            <pc:sldMk cId="2567841848" sldId="2134806427"/>
            <ac:picMk id="133" creationId="{CC58DC4F-0EB8-214C-A776-FA42DFF82C42}"/>
          </ac:picMkLst>
        </pc:picChg>
        <pc:picChg chg="del">
          <ac:chgData name="Cornago, Fernando" userId="048a41c0-cb7a-447c-b2ac-f7c7348706e9" providerId="ADAL" clId="{937591CA-C1D7-784D-9DA8-42716B827479}" dt="2020-06-17T04:45:16.958" v="3710" actId="478"/>
          <ac:picMkLst>
            <pc:docMk/>
            <pc:sldMk cId="2567841848" sldId="2134806427"/>
            <ac:picMk id="136" creationId="{CD9517C5-55F6-EC4F-AF98-62E98AB8AE9C}"/>
          </ac:picMkLst>
        </pc:picChg>
      </pc:sldChg>
      <pc:sldChg chg="delSp modSp add mod modShow">
        <pc:chgData name="Cornago, Fernando" userId="048a41c0-cb7a-447c-b2ac-f7c7348706e9" providerId="ADAL" clId="{937591CA-C1D7-784D-9DA8-42716B827479}" dt="2020-06-17T06:27:41.255" v="14015" actId="20577"/>
        <pc:sldMkLst>
          <pc:docMk/>
          <pc:sldMk cId="1515118004" sldId="2134806428"/>
        </pc:sldMkLst>
        <pc:spChg chg="mod">
          <ac:chgData name="Cornago, Fernando" userId="048a41c0-cb7a-447c-b2ac-f7c7348706e9" providerId="ADAL" clId="{937591CA-C1D7-784D-9DA8-42716B827479}" dt="2020-06-17T06:27:41.255" v="14015" actId="20577"/>
          <ac:spMkLst>
            <pc:docMk/>
            <pc:sldMk cId="1515118004" sldId="2134806428"/>
            <ac:spMk id="2" creationId="{94A475C9-FD3A-48C1-A03D-BD33B7B8E6D6}"/>
          </ac:spMkLst>
        </pc:spChg>
        <pc:spChg chg="del">
          <ac:chgData name="Cornago, Fernando" userId="048a41c0-cb7a-447c-b2ac-f7c7348706e9" providerId="ADAL" clId="{937591CA-C1D7-784D-9DA8-42716B827479}" dt="2020-06-17T06:26:32.691" v="13995" actId="478"/>
          <ac:spMkLst>
            <pc:docMk/>
            <pc:sldMk cId="1515118004" sldId="2134806428"/>
            <ac:spMk id="106" creationId="{506ED5B5-2779-4F88-8810-83DABC23B33E}"/>
          </ac:spMkLst>
        </pc:spChg>
        <pc:spChg chg="mod">
          <ac:chgData name="Cornago, Fernando" userId="048a41c0-cb7a-447c-b2ac-f7c7348706e9" providerId="ADAL" clId="{937591CA-C1D7-784D-9DA8-42716B827479}" dt="2020-06-17T06:26:50.903" v="13999" actId="403"/>
          <ac:spMkLst>
            <pc:docMk/>
            <pc:sldMk cId="1515118004" sldId="2134806428"/>
            <ac:spMk id="107" creationId="{B72D6374-F117-4C96-A5D2-381A66F8A1DE}"/>
          </ac:spMkLst>
        </pc:spChg>
        <pc:spChg chg="del">
          <ac:chgData name="Cornago, Fernando" userId="048a41c0-cb7a-447c-b2ac-f7c7348706e9" providerId="ADAL" clId="{937591CA-C1D7-784D-9DA8-42716B827479}" dt="2020-06-17T06:26:32.691" v="13995" actId="478"/>
          <ac:spMkLst>
            <pc:docMk/>
            <pc:sldMk cId="1515118004" sldId="2134806428"/>
            <ac:spMk id="108" creationId="{A87E1375-7DC9-4400-9727-A219F53E0BB8}"/>
          </ac:spMkLst>
        </pc:spChg>
        <pc:spChg chg="mod">
          <ac:chgData name="Cornago, Fernando" userId="048a41c0-cb7a-447c-b2ac-f7c7348706e9" providerId="ADAL" clId="{937591CA-C1D7-784D-9DA8-42716B827479}" dt="2020-06-17T06:27:09.152" v="14002" actId="1076"/>
          <ac:spMkLst>
            <pc:docMk/>
            <pc:sldMk cId="1515118004" sldId="2134806428"/>
            <ac:spMk id="109" creationId="{7746873B-702F-4D09-B12D-496A21426D09}"/>
          </ac:spMkLst>
        </pc:spChg>
        <pc:spChg chg="del">
          <ac:chgData name="Cornago, Fernando" userId="048a41c0-cb7a-447c-b2ac-f7c7348706e9" providerId="ADAL" clId="{937591CA-C1D7-784D-9DA8-42716B827479}" dt="2020-06-17T06:26:32.691" v="13995" actId="478"/>
          <ac:spMkLst>
            <pc:docMk/>
            <pc:sldMk cId="1515118004" sldId="2134806428"/>
            <ac:spMk id="110" creationId="{18E6CD33-0B38-4003-97C2-2498242A4A69}"/>
          </ac:spMkLst>
        </pc:spChg>
        <pc:spChg chg="mod">
          <ac:chgData name="Cornago, Fernando" userId="048a41c0-cb7a-447c-b2ac-f7c7348706e9" providerId="ADAL" clId="{937591CA-C1D7-784D-9DA8-42716B827479}" dt="2020-06-17T06:27:17.669" v="14004" actId="1076"/>
          <ac:spMkLst>
            <pc:docMk/>
            <pc:sldMk cId="1515118004" sldId="2134806428"/>
            <ac:spMk id="111" creationId="{6E693736-0971-48F8-B384-25325CBFC388}"/>
          </ac:spMkLst>
        </pc:spChg>
        <pc:spChg chg="del">
          <ac:chgData name="Cornago, Fernando" userId="048a41c0-cb7a-447c-b2ac-f7c7348706e9" providerId="ADAL" clId="{937591CA-C1D7-784D-9DA8-42716B827479}" dt="2020-06-17T06:26:32.691" v="13995" actId="478"/>
          <ac:spMkLst>
            <pc:docMk/>
            <pc:sldMk cId="1515118004" sldId="2134806428"/>
            <ac:spMk id="112" creationId="{24422079-F5B9-4B2B-858C-7811ADA8569D}"/>
          </ac:spMkLst>
        </pc:spChg>
        <pc:spChg chg="mod">
          <ac:chgData name="Cornago, Fernando" userId="048a41c0-cb7a-447c-b2ac-f7c7348706e9" providerId="ADAL" clId="{937591CA-C1D7-784D-9DA8-42716B827479}" dt="2020-06-17T06:27:23.304" v="14006" actId="1076"/>
          <ac:spMkLst>
            <pc:docMk/>
            <pc:sldMk cId="1515118004" sldId="2134806428"/>
            <ac:spMk id="113" creationId="{81D3F2EA-9CAA-4CFD-A19F-2D75205848A0}"/>
          </ac:spMkLst>
        </pc:spChg>
      </pc:sldChg>
      <pc:sldChg chg="addSp modSp new">
        <pc:chgData name="Cornago, Fernando" userId="048a41c0-cb7a-447c-b2ac-f7c7348706e9" providerId="ADAL" clId="{937591CA-C1D7-784D-9DA8-42716B827479}" dt="2020-06-17T13:29:22.697" v="15176" actId="207"/>
        <pc:sldMkLst>
          <pc:docMk/>
          <pc:sldMk cId="2355482426" sldId="2134806429"/>
        </pc:sldMkLst>
        <pc:spChg chg="add mod">
          <ac:chgData name="Cornago, Fernando" userId="048a41c0-cb7a-447c-b2ac-f7c7348706e9" providerId="ADAL" clId="{937591CA-C1D7-784D-9DA8-42716B827479}" dt="2020-06-17T13:29:22.697" v="15176" actId="207"/>
          <ac:spMkLst>
            <pc:docMk/>
            <pc:sldMk cId="2355482426" sldId="2134806429"/>
            <ac:spMk id="4" creationId="{B6CC689B-3F64-1047-AE67-C2636F18137C}"/>
          </ac:spMkLst>
        </pc:spChg>
      </pc:sldChg>
      <pc:sldChg chg="addSp modSp new">
        <pc:chgData name="Cornago, Fernando" userId="048a41c0-cb7a-447c-b2ac-f7c7348706e9" providerId="ADAL" clId="{937591CA-C1D7-784D-9DA8-42716B827479}" dt="2020-06-17T14:20:30.978" v="15183" actId="1076"/>
        <pc:sldMkLst>
          <pc:docMk/>
          <pc:sldMk cId="1070377807" sldId="2134806430"/>
        </pc:sldMkLst>
        <pc:picChg chg="add mod">
          <ac:chgData name="Cornago, Fernando" userId="048a41c0-cb7a-447c-b2ac-f7c7348706e9" providerId="ADAL" clId="{937591CA-C1D7-784D-9DA8-42716B827479}" dt="2020-06-17T14:20:30.978" v="15183" actId="1076"/>
          <ac:picMkLst>
            <pc:docMk/>
            <pc:sldMk cId="1070377807" sldId="2134806430"/>
            <ac:picMk id="7" creationId="{072F45B5-E9C9-2643-A945-186B6347ACBD}"/>
          </ac:picMkLst>
        </pc:picChg>
      </pc:sldChg>
      <pc:sldMasterChg chg="delSldLayout">
        <pc:chgData name="Cornago, Fernando" userId="048a41c0-cb7a-447c-b2ac-f7c7348706e9" providerId="ADAL" clId="{937591CA-C1D7-784D-9DA8-42716B827479}" dt="2020-06-16T05:37:53.580" v="2001" actId="2696"/>
        <pc:sldMasterMkLst>
          <pc:docMk/>
          <pc:sldMasterMk cId="3117829906" sldId="2147483648"/>
        </pc:sldMasterMkLst>
        <pc:sldLayoutChg chg="del">
          <pc:chgData name="Cornago, Fernando" userId="048a41c0-cb7a-447c-b2ac-f7c7348706e9" providerId="ADAL" clId="{937591CA-C1D7-784D-9DA8-42716B827479}" dt="2020-06-16T05:37:53.580" v="2001" actId="2696"/>
          <pc:sldLayoutMkLst>
            <pc:docMk/>
            <pc:sldMasterMk cId="3117829906" sldId="2147483648"/>
            <pc:sldLayoutMk cId="366433772" sldId="2147483710"/>
          </pc:sldLayoutMkLst>
        </pc:sldLayoutChg>
      </pc:sldMasterChg>
      <pc:sldMasterChg chg="delSldLayout">
        <pc:chgData name="Cornago, Fernando" userId="048a41c0-cb7a-447c-b2ac-f7c7348706e9" providerId="ADAL" clId="{937591CA-C1D7-784D-9DA8-42716B827479}" dt="2020-06-16T05:37:53.557" v="1999" actId="2696"/>
        <pc:sldMasterMkLst>
          <pc:docMk/>
          <pc:sldMasterMk cId="1691957808" sldId="2147483700"/>
        </pc:sldMasterMkLst>
        <pc:sldLayoutChg chg="del">
          <pc:chgData name="Cornago, Fernando" userId="048a41c0-cb7a-447c-b2ac-f7c7348706e9" providerId="ADAL" clId="{937591CA-C1D7-784D-9DA8-42716B827479}" dt="2020-06-16T05:37:53.557" v="1999" actId="2696"/>
          <pc:sldLayoutMkLst>
            <pc:docMk/>
            <pc:sldMasterMk cId="1691957808" sldId="2147483700"/>
            <pc:sldLayoutMk cId="2908419765" sldId="2147483705"/>
          </pc:sldLayoutMkLst>
        </pc:sldLayoutChg>
      </pc:sldMasterChg>
      <pc:sldMasterChg chg="delSldLayout">
        <pc:chgData name="Cornago, Fernando" userId="048a41c0-cb7a-447c-b2ac-f7c7348706e9" providerId="ADAL" clId="{937591CA-C1D7-784D-9DA8-42716B827479}" dt="2020-06-16T05:37:54.102" v="2023" actId="2696"/>
        <pc:sldMasterMkLst>
          <pc:docMk/>
          <pc:sldMasterMk cId="1031125456" sldId="2147483711"/>
        </pc:sldMasterMkLst>
        <pc:sldLayoutChg chg="del">
          <pc:chgData name="Cornago, Fernando" userId="048a41c0-cb7a-447c-b2ac-f7c7348706e9" providerId="ADAL" clId="{937591CA-C1D7-784D-9DA8-42716B827479}" dt="2020-06-16T05:37:54.102" v="2023" actId="2696"/>
          <pc:sldLayoutMkLst>
            <pc:docMk/>
            <pc:sldMasterMk cId="1031125456" sldId="2147483711"/>
            <pc:sldLayoutMk cId="2887960624" sldId="2147483715"/>
          </pc:sldLayoutMkLst>
        </pc:sldLayoutChg>
      </pc:sldMasterChg>
      <pc:sldMasterChg chg="delSldLayout">
        <pc:chgData name="Cornago, Fernando" userId="048a41c0-cb7a-447c-b2ac-f7c7348706e9" providerId="ADAL" clId="{937591CA-C1D7-784D-9DA8-42716B827479}" dt="2020-06-16T05:37:54.247" v="2031" actId="2696"/>
        <pc:sldMasterMkLst>
          <pc:docMk/>
          <pc:sldMasterMk cId="2118154443" sldId="2147483722"/>
        </pc:sldMasterMkLst>
        <pc:sldLayoutChg chg="del">
          <pc:chgData name="Cornago, Fernando" userId="048a41c0-cb7a-447c-b2ac-f7c7348706e9" providerId="ADAL" clId="{937591CA-C1D7-784D-9DA8-42716B827479}" dt="2020-06-16T05:37:54.247" v="2031" actId="2696"/>
          <pc:sldLayoutMkLst>
            <pc:docMk/>
            <pc:sldMasterMk cId="2118154443" sldId="2147483722"/>
            <pc:sldLayoutMk cId="453996907" sldId="2147483870"/>
          </pc:sldLayoutMkLst>
        </pc:sldLayoutChg>
      </pc:sldMasterChg>
      <pc:sldMasterChg chg="del delSldLayout">
        <pc:chgData name="Cornago, Fernando" userId="048a41c0-cb7a-447c-b2ac-f7c7348706e9" providerId="ADAL" clId="{937591CA-C1D7-784D-9DA8-42716B827479}" dt="2020-06-16T05:37:54.361" v="2068" actId="2696"/>
        <pc:sldMasterMkLst>
          <pc:docMk/>
          <pc:sldMasterMk cId="3284117835" sldId="2147483798"/>
        </pc:sldMasterMkLst>
        <pc:sldLayoutChg chg="del">
          <pc:chgData name="Cornago, Fernando" userId="048a41c0-cb7a-447c-b2ac-f7c7348706e9" providerId="ADAL" clId="{937591CA-C1D7-784D-9DA8-42716B827479}" dt="2020-06-16T05:37:54.262" v="2033" actId="2696"/>
          <pc:sldLayoutMkLst>
            <pc:docMk/>
            <pc:sldMasterMk cId="3284117835" sldId="2147483798"/>
            <pc:sldLayoutMk cId="2278362" sldId="2147483799"/>
          </pc:sldLayoutMkLst>
        </pc:sldLayoutChg>
        <pc:sldLayoutChg chg="del">
          <pc:chgData name="Cornago, Fernando" userId="048a41c0-cb7a-447c-b2ac-f7c7348706e9" providerId="ADAL" clId="{937591CA-C1D7-784D-9DA8-42716B827479}" dt="2020-06-16T05:37:54.265" v="2034" actId="2696"/>
          <pc:sldLayoutMkLst>
            <pc:docMk/>
            <pc:sldMasterMk cId="3284117835" sldId="2147483798"/>
            <pc:sldLayoutMk cId="3709168353" sldId="2147483800"/>
          </pc:sldLayoutMkLst>
        </pc:sldLayoutChg>
        <pc:sldLayoutChg chg="del">
          <pc:chgData name="Cornago, Fernando" userId="048a41c0-cb7a-447c-b2ac-f7c7348706e9" providerId="ADAL" clId="{937591CA-C1D7-784D-9DA8-42716B827479}" dt="2020-06-16T05:37:54.267" v="2035" actId="2696"/>
          <pc:sldLayoutMkLst>
            <pc:docMk/>
            <pc:sldMasterMk cId="3284117835" sldId="2147483798"/>
            <pc:sldLayoutMk cId="3590135722" sldId="2147483801"/>
          </pc:sldLayoutMkLst>
        </pc:sldLayoutChg>
        <pc:sldLayoutChg chg="del">
          <pc:chgData name="Cornago, Fernando" userId="048a41c0-cb7a-447c-b2ac-f7c7348706e9" providerId="ADAL" clId="{937591CA-C1D7-784D-9DA8-42716B827479}" dt="2020-06-16T05:37:54.270" v="2036" actId="2696"/>
          <pc:sldLayoutMkLst>
            <pc:docMk/>
            <pc:sldMasterMk cId="3284117835" sldId="2147483798"/>
            <pc:sldLayoutMk cId="929501781" sldId="2147483802"/>
          </pc:sldLayoutMkLst>
        </pc:sldLayoutChg>
        <pc:sldLayoutChg chg="del">
          <pc:chgData name="Cornago, Fernando" userId="048a41c0-cb7a-447c-b2ac-f7c7348706e9" providerId="ADAL" clId="{937591CA-C1D7-784D-9DA8-42716B827479}" dt="2020-06-16T05:37:54.272" v="2037" actId="2696"/>
          <pc:sldLayoutMkLst>
            <pc:docMk/>
            <pc:sldMasterMk cId="3284117835" sldId="2147483798"/>
            <pc:sldLayoutMk cId="1557490023" sldId="2147483803"/>
          </pc:sldLayoutMkLst>
        </pc:sldLayoutChg>
        <pc:sldLayoutChg chg="del">
          <pc:chgData name="Cornago, Fernando" userId="048a41c0-cb7a-447c-b2ac-f7c7348706e9" providerId="ADAL" clId="{937591CA-C1D7-784D-9DA8-42716B827479}" dt="2020-06-16T05:37:54.274" v="2038" actId="2696"/>
          <pc:sldLayoutMkLst>
            <pc:docMk/>
            <pc:sldMasterMk cId="3284117835" sldId="2147483798"/>
            <pc:sldLayoutMk cId="3560252752" sldId="2147483804"/>
          </pc:sldLayoutMkLst>
        </pc:sldLayoutChg>
        <pc:sldLayoutChg chg="del">
          <pc:chgData name="Cornago, Fernando" userId="048a41c0-cb7a-447c-b2ac-f7c7348706e9" providerId="ADAL" clId="{937591CA-C1D7-784D-9DA8-42716B827479}" dt="2020-06-16T05:37:54.277" v="2039" actId="2696"/>
          <pc:sldLayoutMkLst>
            <pc:docMk/>
            <pc:sldMasterMk cId="3284117835" sldId="2147483798"/>
            <pc:sldLayoutMk cId="2466908753" sldId="2147483805"/>
          </pc:sldLayoutMkLst>
        </pc:sldLayoutChg>
        <pc:sldLayoutChg chg="del">
          <pc:chgData name="Cornago, Fernando" userId="048a41c0-cb7a-447c-b2ac-f7c7348706e9" providerId="ADAL" clId="{937591CA-C1D7-784D-9DA8-42716B827479}" dt="2020-06-16T05:37:54.279" v="2040" actId="2696"/>
          <pc:sldLayoutMkLst>
            <pc:docMk/>
            <pc:sldMasterMk cId="3284117835" sldId="2147483798"/>
            <pc:sldLayoutMk cId="996662690" sldId="2147483806"/>
          </pc:sldLayoutMkLst>
        </pc:sldLayoutChg>
        <pc:sldLayoutChg chg="del">
          <pc:chgData name="Cornago, Fernando" userId="048a41c0-cb7a-447c-b2ac-f7c7348706e9" providerId="ADAL" clId="{937591CA-C1D7-784D-9DA8-42716B827479}" dt="2020-06-16T05:37:54.284" v="2041" actId="2696"/>
          <pc:sldLayoutMkLst>
            <pc:docMk/>
            <pc:sldMasterMk cId="3284117835" sldId="2147483798"/>
            <pc:sldLayoutMk cId="2548930550" sldId="2147483807"/>
          </pc:sldLayoutMkLst>
        </pc:sldLayoutChg>
        <pc:sldLayoutChg chg="del">
          <pc:chgData name="Cornago, Fernando" userId="048a41c0-cb7a-447c-b2ac-f7c7348706e9" providerId="ADAL" clId="{937591CA-C1D7-784D-9DA8-42716B827479}" dt="2020-06-16T05:37:54.287" v="2042" actId="2696"/>
          <pc:sldLayoutMkLst>
            <pc:docMk/>
            <pc:sldMasterMk cId="3284117835" sldId="2147483798"/>
            <pc:sldLayoutMk cId="3905745780" sldId="2147483808"/>
          </pc:sldLayoutMkLst>
        </pc:sldLayoutChg>
        <pc:sldLayoutChg chg="del">
          <pc:chgData name="Cornago, Fernando" userId="048a41c0-cb7a-447c-b2ac-f7c7348706e9" providerId="ADAL" clId="{937591CA-C1D7-784D-9DA8-42716B827479}" dt="2020-06-16T05:37:54.290" v="2043" actId="2696"/>
          <pc:sldLayoutMkLst>
            <pc:docMk/>
            <pc:sldMasterMk cId="3284117835" sldId="2147483798"/>
            <pc:sldLayoutMk cId="2679465394" sldId="2147483809"/>
          </pc:sldLayoutMkLst>
        </pc:sldLayoutChg>
        <pc:sldLayoutChg chg="del">
          <pc:chgData name="Cornago, Fernando" userId="048a41c0-cb7a-447c-b2ac-f7c7348706e9" providerId="ADAL" clId="{937591CA-C1D7-784D-9DA8-42716B827479}" dt="2020-06-16T05:37:54.293" v="2044" actId="2696"/>
          <pc:sldLayoutMkLst>
            <pc:docMk/>
            <pc:sldMasterMk cId="3284117835" sldId="2147483798"/>
            <pc:sldLayoutMk cId="1421201677" sldId="2147483810"/>
          </pc:sldLayoutMkLst>
        </pc:sldLayoutChg>
        <pc:sldLayoutChg chg="del">
          <pc:chgData name="Cornago, Fernando" userId="048a41c0-cb7a-447c-b2ac-f7c7348706e9" providerId="ADAL" clId="{937591CA-C1D7-784D-9DA8-42716B827479}" dt="2020-06-16T05:37:54.296" v="2045" actId="2696"/>
          <pc:sldLayoutMkLst>
            <pc:docMk/>
            <pc:sldMasterMk cId="3284117835" sldId="2147483798"/>
            <pc:sldLayoutMk cId="1262003429" sldId="2147483811"/>
          </pc:sldLayoutMkLst>
        </pc:sldLayoutChg>
        <pc:sldLayoutChg chg="del">
          <pc:chgData name="Cornago, Fernando" userId="048a41c0-cb7a-447c-b2ac-f7c7348706e9" providerId="ADAL" clId="{937591CA-C1D7-784D-9DA8-42716B827479}" dt="2020-06-16T05:37:54.298" v="2046" actId="2696"/>
          <pc:sldLayoutMkLst>
            <pc:docMk/>
            <pc:sldMasterMk cId="3284117835" sldId="2147483798"/>
            <pc:sldLayoutMk cId="861302018" sldId="2147483812"/>
          </pc:sldLayoutMkLst>
        </pc:sldLayoutChg>
        <pc:sldLayoutChg chg="del">
          <pc:chgData name="Cornago, Fernando" userId="048a41c0-cb7a-447c-b2ac-f7c7348706e9" providerId="ADAL" clId="{937591CA-C1D7-784D-9DA8-42716B827479}" dt="2020-06-16T05:37:54.301" v="2047" actId="2696"/>
          <pc:sldLayoutMkLst>
            <pc:docMk/>
            <pc:sldMasterMk cId="3284117835" sldId="2147483798"/>
            <pc:sldLayoutMk cId="1657761150" sldId="2147483813"/>
          </pc:sldLayoutMkLst>
        </pc:sldLayoutChg>
        <pc:sldLayoutChg chg="del">
          <pc:chgData name="Cornago, Fernando" userId="048a41c0-cb7a-447c-b2ac-f7c7348706e9" providerId="ADAL" clId="{937591CA-C1D7-784D-9DA8-42716B827479}" dt="2020-06-16T05:37:54.303" v="2048" actId="2696"/>
          <pc:sldLayoutMkLst>
            <pc:docMk/>
            <pc:sldMasterMk cId="3284117835" sldId="2147483798"/>
            <pc:sldLayoutMk cId="1097877192" sldId="2147483814"/>
          </pc:sldLayoutMkLst>
        </pc:sldLayoutChg>
        <pc:sldLayoutChg chg="del">
          <pc:chgData name="Cornago, Fernando" userId="048a41c0-cb7a-447c-b2ac-f7c7348706e9" providerId="ADAL" clId="{937591CA-C1D7-784D-9DA8-42716B827479}" dt="2020-06-16T05:37:54.306" v="2049" actId="2696"/>
          <pc:sldLayoutMkLst>
            <pc:docMk/>
            <pc:sldMasterMk cId="3284117835" sldId="2147483798"/>
            <pc:sldLayoutMk cId="979710042" sldId="2147483815"/>
          </pc:sldLayoutMkLst>
        </pc:sldLayoutChg>
        <pc:sldLayoutChg chg="del">
          <pc:chgData name="Cornago, Fernando" userId="048a41c0-cb7a-447c-b2ac-f7c7348706e9" providerId="ADAL" clId="{937591CA-C1D7-784D-9DA8-42716B827479}" dt="2020-06-16T05:37:54.309" v="2050" actId="2696"/>
          <pc:sldLayoutMkLst>
            <pc:docMk/>
            <pc:sldMasterMk cId="3284117835" sldId="2147483798"/>
            <pc:sldLayoutMk cId="1380119" sldId="2147483816"/>
          </pc:sldLayoutMkLst>
        </pc:sldLayoutChg>
        <pc:sldLayoutChg chg="del">
          <pc:chgData name="Cornago, Fernando" userId="048a41c0-cb7a-447c-b2ac-f7c7348706e9" providerId="ADAL" clId="{937591CA-C1D7-784D-9DA8-42716B827479}" dt="2020-06-16T05:37:54.313" v="2051" actId="2696"/>
          <pc:sldLayoutMkLst>
            <pc:docMk/>
            <pc:sldMasterMk cId="3284117835" sldId="2147483798"/>
            <pc:sldLayoutMk cId="3890594047" sldId="2147483817"/>
          </pc:sldLayoutMkLst>
        </pc:sldLayoutChg>
        <pc:sldLayoutChg chg="del">
          <pc:chgData name="Cornago, Fernando" userId="048a41c0-cb7a-447c-b2ac-f7c7348706e9" providerId="ADAL" clId="{937591CA-C1D7-784D-9DA8-42716B827479}" dt="2020-06-16T05:37:54.316" v="2052" actId="2696"/>
          <pc:sldLayoutMkLst>
            <pc:docMk/>
            <pc:sldMasterMk cId="3284117835" sldId="2147483798"/>
            <pc:sldLayoutMk cId="2001842707" sldId="2147483818"/>
          </pc:sldLayoutMkLst>
        </pc:sldLayoutChg>
        <pc:sldLayoutChg chg="del">
          <pc:chgData name="Cornago, Fernando" userId="048a41c0-cb7a-447c-b2ac-f7c7348706e9" providerId="ADAL" clId="{937591CA-C1D7-784D-9DA8-42716B827479}" dt="2020-06-16T05:37:54.318" v="2053" actId="2696"/>
          <pc:sldLayoutMkLst>
            <pc:docMk/>
            <pc:sldMasterMk cId="3284117835" sldId="2147483798"/>
            <pc:sldLayoutMk cId="1927781583" sldId="2147483819"/>
          </pc:sldLayoutMkLst>
        </pc:sldLayoutChg>
        <pc:sldLayoutChg chg="del">
          <pc:chgData name="Cornago, Fernando" userId="048a41c0-cb7a-447c-b2ac-f7c7348706e9" providerId="ADAL" clId="{937591CA-C1D7-784D-9DA8-42716B827479}" dt="2020-06-16T05:37:54.321" v="2054" actId="2696"/>
          <pc:sldLayoutMkLst>
            <pc:docMk/>
            <pc:sldMasterMk cId="3284117835" sldId="2147483798"/>
            <pc:sldLayoutMk cId="3959892524" sldId="2147483820"/>
          </pc:sldLayoutMkLst>
        </pc:sldLayoutChg>
        <pc:sldLayoutChg chg="del">
          <pc:chgData name="Cornago, Fernando" userId="048a41c0-cb7a-447c-b2ac-f7c7348706e9" providerId="ADAL" clId="{937591CA-C1D7-784D-9DA8-42716B827479}" dt="2020-06-16T05:37:54.323" v="2055" actId="2696"/>
          <pc:sldLayoutMkLst>
            <pc:docMk/>
            <pc:sldMasterMk cId="3284117835" sldId="2147483798"/>
            <pc:sldLayoutMk cId="3493490546" sldId="2147483821"/>
          </pc:sldLayoutMkLst>
        </pc:sldLayoutChg>
        <pc:sldLayoutChg chg="del">
          <pc:chgData name="Cornago, Fernando" userId="048a41c0-cb7a-447c-b2ac-f7c7348706e9" providerId="ADAL" clId="{937591CA-C1D7-784D-9DA8-42716B827479}" dt="2020-06-16T05:37:54.325" v="2056" actId="2696"/>
          <pc:sldLayoutMkLst>
            <pc:docMk/>
            <pc:sldMasterMk cId="3284117835" sldId="2147483798"/>
            <pc:sldLayoutMk cId="1400235296" sldId="2147483822"/>
          </pc:sldLayoutMkLst>
        </pc:sldLayoutChg>
        <pc:sldLayoutChg chg="del">
          <pc:chgData name="Cornago, Fernando" userId="048a41c0-cb7a-447c-b2ac-f7c7348706e9" providerId="ADAL" clId="{937591CA-C1D7-784D-9DA8-42716B827479}" dt="2020-06-16T05:37:54.328" v="2057" actId="2696"/>
          <pc:sldLayoutMkLst>
            <pc:docMk/>
            <pc:sldMasterMk cId="3284117835" sldId="2147483798"/>
            <pc:sldLayoutMk cId="3846481589" sldId="2147483823"/>
          </pc:sldLayoutMkLst>
        </pc:sldLayoutChg>
        <pc:sldLayoutChg chg="del">
          <pc:chgData name="Cornago, Fernando" userId="048a41c0-cb7a-447c-b2ac-f7c7348706e9" providerId="ADAL" clId="{937591CA-C1D7-784D-9DA8-42716B827479}" dt="2020-06-16T05:37:54.330" v="2058" actId="2696"/>
          <pc:sldLayoutMkLst>
            <pc:docMk/>
            <pc:sldMasterMk cId="3284117835" sldId="2147483798"/>
            <pc:sldLayoutMk cId="1077950544" sldId="2147483824"/>
          </pc:sldLayoutMkLst>
        </pc:sldLayoutChg>
        <pc:sldLayoutChg chg="del">
          <pc:chgData name="Cornago, Fernando" userId="048a41c0-cb7a-447c-b2ac-f7c7348706e9" providerId="ADAL" clId="{937591CA-C1D7-784D-9DA8-42716B827479}" dt="2020-06-16T05:37:54.333" v="2059" actId="2696"/>
          <pc:sldLayoutMkLst>
            <pc:docMk/>
            <pc:sldMasterMk cId="3284117835" sldId="2147483798"/>
            <pc:sldLayoutMk cId="1436663025" sldId="2147483825"/>
          </pc:sldLayoutMkLst>
        </pc:sldLayoutChg>
        <pc:sldLayoutChg chg="del">
          <pc:chgData name="Cornago, Fernando" userId="048a41c0-cb7a-447c-b2ac-f7c7348706e9" providerId="ADAL" clId="{937591CA-C1D7-784D-9DA8-42716B827479}" dt="2020-06-16T05:37:54.335" v="2060" actId="2696"/>
          <pc:sldLayoutMkLst>
            <pc:docMk/>
            <pc:sldMasterMk cId="3284117835" sldId="2147483798"/>
            <pc:sldLayoutMk cId="2141087060" sldId="2147483826"/>
          </pc:sldLayoutMkLst>
        </pc:sldLayoutChg>
        <pc:sldLayoutChg chg="del">
          <pc:chgData name="Cornago, Fernando" userId="048a41c0-cb7a-447c-b2ac-f7c7348706e9" providerId="ADAL" clId="{937591CA-C1D7-784D-9DA8-42716B827479}" dt="2020-06-16T05:37:54.338" v="2061" actId="2696"/>
          <pc:sldLayoutMkLst>
            <pc:docMk/>
            <pc:sldMasterMk cId="3284117835" sldId="2147483798"/>
            <pc:sldLayoutMk cId="1880508309" sldId="2147483827"/>
          </pc:sldLayoutMkLst>
        </pc:sldLayoutChg>
        <pc:sldLayoutChg chg="del">
          <pc:chgData name="Cornago, Fernando" userId="048a41c0-cb7a-447c-b2ac-f7c7348706e9" providerId="ADAL" clId="{937591CA-C1D7-784D-9DA8-42716B827479}" dt="2020-06-16T05:37:54.341" v="2062" actId="2696"/>
          <pc:sldLayoutMkLst>
            <pc:docMk/>
            <pc:sldMasterMk cId="3284117835" sldId="2147483798"/>
            <pc:sldLayoutMk cId="1230423973" sldId="2147483828"/>
          </pc:sldLayoutMkLst>
        </pc:sldLayoutChg>
        <pc:sldLayoutChg chg="del">
          <pc:chgData name="Cornago, Fernando" userId="048a41c0-cb7a-447c-b2ac-f7c7348706e9" providerId="ADAL" clId="{937591CA-C1D7-784D-9DA8-42716B827479}" dt="2020-06-16T05:37:54.346" v="2063" actId="2696"/>
          <pc:sldLayoutMkLst>
            <pc:docMk/>
            <pc:sldMasterMk cId="3284117835" sldId="2147483798"/>
            <pc:sldLayoutMk cId="3167444893" sldId="2147483829"/>
          </pc:sldLayoutMkLst>
        </pc:sldLayoutChg>
        <pc:sldLayoutChg chg="del">
          <pc:chgData name="Cornago, Fernando" userId="048a41c0-cb7a-447c-b2ac-f7c7348706e9" providerId="ADAL" clId="{937591CA-C1D7-784D-9DA8-42716B827479}" dt="2020-06-16T05:37:54.349" v="2064" actId="2696"/>
          <pc:sldLayoutMkLst>
            <pc:docMk/>
            <pc:sldMasterMk cId="3284117835" sldId="2147483798"/>
            <pc:sldLayoutMk cId="1019702591" sldId="2147483830"/>
          </pc:sldLayoutMkLst>
        </pc:sldLayoutChg>
        <pc:sldLayoutChg chg="del">
          <pc:chgData name="Cornago, Fernando" userId="048a41c0-cb7a-447c-b2ac-f7c7348706e9" providerId="ADAL" clId="{937591CA-C1D7-784D-9DA8-42716B827479}" dt="2020-06-16T05:37:54.353" v="2065" actId="2696"/>
          <pc:sldLayoutMkLst>
            <pc:docMk/>
            <pc:sldMasterMk cId="3284117835" sldId="2147483798"/>
            <pc:sldLayoutMk cId="713100530" sldId="2147483831"/>
          </pc:sldLayoutMkLst>
        </pc:sldLayoutChg>
        <pc:sldLayoutChg chg="del">
          <pc:chgData name="Cornago, Fernando" userId="048a41c0-cb7a-447c-b2ac-f7c7348706e9" providerId="ADAL" clId="{937591CA-C1D7-784D-9DA8-42716B827479}" dt="2020-06-16T05:37:54.355" v="2066" actId="2696"/>
          <pc:sldLayoutMkLst>
            <pc:docMk/>
            <pc:sldMasterMk cId="3284117835" sldId="2147483798"/>
            <pc:sldLayoutMk cId="1745497571" sldId="2147483832"/>
          </pc:sldLayoutMkLst>
        </pc:sldLayoutChg>
        <pc:sldLayoutChg chg="del">
          <pc:chgData name="Cornago, Fernando" userId="048a41c0-cb7a-447c-b2ac-f7c7348706e9" providerId="ADAL" clId="{937591CA-C1D7-784D-9DA8-42716B827479}" dt="2020-06-16T05:37:54.358" v="2067" actId="2696"/>
          <pc:sldLayoutMkLst>
            <pc:docMk/>
            <pc:sldMasterMk cId="3284117835" sldId="2147483798"/>
            <pc:sldLayoutMk cId="2923450869" sldId="2147483833"/>
          </pc:sldLayoutMkLst>
        </pc:sldLayoutChg>
      </pc:sldMasterChg>
    </pc:docChg>
  </pc:docChgLst>
  <pc:docChgLst>
    <pc:chgData name="Otto, Andreia" userId="c59abb7c-42df-4831-a270-b3b8df04e709" providerId="ADAL" clId="{11B013F3-8B66-5342-917B-C481304E5DF8}"/>
    <pc:docChg chg="undo custSel addSld delSld modSld">
      <pc:chgData name="Otto, Andreia" userId="c59abb7c-42df-4831-a270-b3b8df04e709" providerId="ADAL" clId="{11B013F3-8B66-5342-917B-C481304E5DF8}" dt="2021-05-04T09:47:31.038" v="869" actId="20577"/>
      <pc:docMkLst>
        <pc:docMk/>
      </pc:docMkLst>
      <pc:sldChg chg="delSp modSp mod">
        <pc:chgData name="Otto, Andreia" userId="c59abb7c-42df-4831-a270-b3b8df04e709" providerId="ADAL" clId="{11B013F3-8B66-5342-917B-C481304E5DF8}" dt="2021-05-03T15:55:44.421" v="683" actId="478"/>
        <pc:sldMkLst>
          <pc:docMk/>
          <pc:sldMk cId="1737949822" sldId="4212"/>
        </pc:sldMkLst>
        <pc:spChg chg="del">
          <ac:chgData name="Otto, Andreia" userId="c59abb7c-42df-4831-a270-b3b8df04e709" providerId="ADAL" clId="{11B013F3-8B66-5342-917B-C481304E5DF8}" dt="2021-05-03T15:55:44.421" v="683" actId="478"/>
          <ac:spMkLst>
            <pc:docMk/>
            <pc:sldMk cId="1737949822" sldId="4212"/>
            <ac:spMk id="24" creationId="{D2EA1AC6-FBCD-F248-BDDE-0C889AFE810D}"/>
          </ac:spMkLst>
        </pc:spChg>
        <pc:picChg chg="mod">
          <ac:chgData name="Otto, Andreia" userId="c59abb7c-42df-4831-a270-b3b8df04e709" providerId="ADAL" clId="{11B013F3-8B66-5342-917B-C481304E5DF8}" dt="2021-05-03T05:42:52.809" v="204" actId="14826"/>
          <ac:picMkLst>
            <pc:docMk/>
            <pc:sldMk cId="1737949822" sldId="4212"/>
            <ac:picMk id="20" creationId="{BEA39222-4325-7545-BE04-184D82E42AFE}"/>
          </ac:picMkLst>
        </pc:picChg>
      </pc:sldChg>
      <pc:sldChg chg="modSp add mod modNotesTx">
        <pc:chgData name="Otto, Andreia" userId="c59abb7c-42df-4831-a270-b3b8df04e709" providerId="ADAL" clId="{11B013F3-8B66-5342-917B-C481304E5DF8}" dt="2021-05-03T07:00:12.202" v="682" actId="5793"/>
        <pc:sldMkLst>
          <pc:docMk/>
          <pc:sldMk cId="2951075608" sldId="2134807471"/>
        </pc:sldMkLst>
        <pc:spChg chg="mod">
          <ac:chgData name="Otto, Andreia" userId="c59abb7c-42df-4831-a270-b3b8df04e709" providerId="ADAL" clId="{11B013F3-8B66-5342-917B-C481304E5DF8}" dt="2021-05-03T05:38:27.055" v="87" actId="1076"/>
          <ac:spMkLst>
            <pc:docMk/>
            <pc:sldMk cId="2951075608" sldId="2134807471"/>
            <ac:spMk id="29" creationId="{1033F0B7-0752-42C2-BB05-33D222913042}"/>
          </ac:spMkLst>
        </pc:spChg>
      </pc:sldChg>
      <pc:sldChg chg="addSp modSp add mod modAnim chgLayout modNotesTx">
        <pc:chgData name="Otto, Andreia" userId="c59abb7c-42df-4831-a270-b3b8df04e709" providerId="ADAL" clId="{11B013F3-8B66-5342-917B-C481304E5DF8}" dt="2021-05-04T09:47:31.038" v="869" actId="20577"/>
        <pc:sldMkLst>
          <pc:docMk/>
          <pc:sldMk cId="3701821883" sldId="2134807472"/>
        </pc:sldMkLst>
        <pc:spChg chg="add mod ord">
          <ac:chgData name="Otto, Andreia" userId="c59abb7c-42df-4831-a270-b3b8df04e709" providerId="ADAL" clId="{11B013F3-8B66-5342-917B-C481304E5DF8}" dt="2021-05-03T05:34:50.420" v="3" actId="700"/>
          <ac:spMkLst>
            <pc:docMk/>
            <pc:sldMk cId="3701821883" sldId="2134807472"/>
            <ac:spMk id="2" creationId="{D3B7EDF3-D833-8B41-8FE9-820AEAE1FE3C}"/>
          </ac:spMkLst>
        </pc:spChg>
        <pc:spChg chg="mod ord">
          <ac:chgData name="Otto, Andreia" userId="c59abb7c-42df-4831-a270-b3b8df04e709" providerId="ADAL" clId="{11B013F3-8B66-5342-917B-C481304E5DF8}" dt="2021-05-03T05:34:50.420" v="3" actId="700"/>
          <ac:spMkLst>
            <pc:docMk/>
            <pc:sldMk cId="3701821883" sldId="2134807472"/>
            <ac:spMk id="3" creationId="{B1DC7399-0D57-374D-83CC-58A87A01D170}"/>
          </ac:spMkLst>
        </pc:spChg>
        <pc:spChg chg="mod ord">
          <ac:chgData name="Otto, Andreia" userId="c59abb7c-42df-4831-a270-b3b8df04e709" providerId="ADAL" clId="{11B013F3-8B66-5342-917B-C481304E5DF8}" dt="2021-05-03T05:34:50.420" v="3" actId="700"/>
          <ac:spMkLst>
            <pc:docMk/>
            <pc:sldMk cId="3701821883" sldId="2134807472"/>
            <ac:spMk id="6" creationId="{FC34E604-AACD-8242-B27E-4B38C3C63C45}"/>
          </ac:spMkLst>
        </pc:spChg>
        <pc:spChg chg="mod ord">
          <ac:chgData name="Otto, Andreia" userId="c59abb7c-42df-4831-a270-b3b8df04e709" providerId="ADAL" clId="{11B013F3-8B66-5342-917B-C481304E5DF8}" dt="2021-05-03T05:34:50.420" v="3" actId="700"/>
          <ac:spMkLst>
            <pc:docMk/>
            <pc:sldMk cId="3701821883" sldId="2134807472"/>
            <ac:spMk id="7" creationId="{2D0229C8-996B-1741-9A0C-AA3F965FE513}"/>
          </ac:spMkLst>
        </pc:spChg>
        <pc:spChg chg="mod ord">
          <ac:chgData name="Otto, Andreia" userId="c59abb7c-42df-4831-a270-b3b8df04e709" providerId="ADAL" clId="{11B013F3-8B66-5342-917B-C481304E5DF8}" dt="2021-05-04T07:01:13.766" v="790" actId="2711"/>
          <ac:spMkLst>
            <pc:docMk/>
            <pc:sldMk cId="3701821883" sldId="2134807472"/>
            <ac:spMk id="8" creationId="{B493609C-1CE2-A747-B3F1-3121F0888294}"/>
          </ac:spMkLst>
        </pc:spChg>
        <pc:spChg chg="mod ord">
          <ac:chgData name="Otto, Andreia" userId="c59abb7c-42df-4831-a270-b3b8df04e709" providerId="ADAL" clId="{11B013F3-8B66-5342-917B-C481304E5DF8}" dt="2021-05-04T09:47:31.038" v="869" actId="20577"/>
          <ac:spMkLst>
            <pc:docMk/>
            <pc:sldMk cId="3701821883" sldId="2134807472"/>
            <ac:spMk id="9" creationId="{E74DE74A-EB55-4846-8605-231348ABE4DB}"/>
          </ac:spMkLst>
        </pc:spChg>
        <pc:spChg chg="mod ord">
          <ac:chgData name="Otto, Andreia" userId="c59abb7c-42df-4831-a270-b3b8df04e709" providerId="ADAL" clId="{11B013F3-8B66-5342-917B-C481304E5DF8}" dt="2021-05-04T07:01:20.399" v="792" actId="27636"/>
          <ac:spMkLst>
            <pc:docMk/>
            <pc:sldMk cId="3701821883" sldId="2134807472"/>
            <ac:spMk id="10" creationId="{5CE29D85-B479-7B40-9AEA-33C35CAAE91E}"/>
          </ac:spMkLst>
        </pc:spChg>
      </pc:sldChg>
      <pc:sldChg chg="add del">
        <pc:chgData name="Otto, Andreia" userId="c59abb7c-42df-4831-a270-b3b8df04e709" providerId="ADAL" clId="{11B013F3-8B66-5342-917B-C481304E5DF8}" dt="2021-05-03T05:34:19.620" v="1" actId="2696"/>
        <pc:sldMkLst>
          <pc:docMk/>
          <pc:sldMk cId="248173078" sldId="2134807475"/>
        </pc:sldMkLst>
      </pc:sldChg>
      <pc:sldChg chg="modSp add mod modAnim chgLayout modNotesTx">
        <pc:chgData name="Otto, Andreia" userId="c59abb7c-42df-4831-a270-b3b8df04e709" providerId="ADAL" clId="{11B013F3-8B66-5342-917B-C481304E5DF8}" dt="2021-05-04T07:02:04.183" v="797" actId="27636"/>
        <pc:sldMkLst>
          <pc:docMk/>
          <pc:sldMk cId="3265625990" sldId="2134807476"/>
        </pc:sldMkLst>
        <pc:spChg chg="mod ord">
          <ac:chgData name="Otto, Andreia" userId="c59abb7c-42df-4831-a270-b3b8df04e709" providerId="ADAL" clId="{11B013F3-8B66-5342-917B-C481304E5DF8}" dt="2021-05-04T06:58:31.978" v="766" actId="700"/>
          <ac:spMkLst>
            <pc:docMk/>
            <pc:sldMk cId="3265625990" sldId="2134807476"/>
            <ac:spMk id="4" creationId="{1195BB42-014B-7449-8A03-12CC74F61F58}"/>
          </ac:spMkLst>
        </pc:spChg>
        <pc:spChg chg="mod ord">
          <ac:chgData name="Otto, Andreia" userId="c59abb7c-42df-4831-a270-b3b8df04e709" providerId="ADAL" clId="{11B013F3-8B66-5342-917B-C481304E5DF8}" dt="2021-05-04T06:58:31.978" v="766" actId="700"/>
          <ac:spMkLst>
            <pc:docMk/>
            <pc:sldMk cId="3265625990" sldId="2134807476"/>
            <ac:spMk id="5" creationId="{86142ADF-140D-6D40-9720-57E464EDE4AB}"/>
          </ac:spMkLst>
        </pc:spChg>
        <pc:spChg chg="mod ord">
          <ac:chgData name="Otto, Andreia" userId="c59abb7c-42df-4831-a270-b3b8df04e709" providerId="ADAL" clId="{11B013F3-8B66-5342-917B-C481304E5DF8}" dt="2021-05-04T06:58:31.978" v="766" actId="700"/>
          <ac:spMkLst>
            <pc:docMk/>
            <pc:sldMk cId="3265625990" sldId="2134807476"/>
            <ac:spMk id="6" creationId="{1EAB41AD-6EC3-F441-8439-59619EB712A3}"/>
          </ac:spMkLst>
        </pc:spChg>
        <pc:spChg chg="mod ord">
          <ac:chgData name="Otto, Andreia" userId="c59abb7c-42df-4831-a270-b3b8df04e709" providerId="ADAL" clId="{11B013F3-8B66-5342-917B-C481304E5DF8}" dt="2021-05-04T06:58:31.978" v="766" actId="700"/>
          <ac:spMkLst>
            <pc:docMk/>
            <pc:sldMk cId="3265625990" sldId="2134807476"/>
            <ac:spMk id="7" creationId="{AB376D37-EA11-C348-9EE0-F513CE4EEC19}"/>
          </ac:spMkLst>
        </pc:spChg>
        <pc:spChg chg="mod ord">
          <ac:chgData name="Otto, Andreia" userId="c59abb7c-42df-4831-a270-b3b8df04e709" providerId="ADAL" clId="{11B013F3-8B66-5342-917B-C481304E5DF8}" dt="2021-05-04T07:02:04.183" v="797" actId="27636"/>
          <ac:spMkLst>
            <pc:docMk/>
            <pc:sldMk cId="3265625990" sldId="2134807476"/>
            <ac:spMk id="9" creationId="{3CC5D1C7-2081-2145-B4DC-E0454E175760}"/>
          </ac:spMkLst>
        </pc:spChg>
        <pc:spChg chg="mod ord">
          <ac:chgData name="Otto, Andreia" userId="c59abb7c-42df-4831-a270-b3b8df04e709" providerId="ADAL" clId="{11B013F3-8B66-5342-917B-C481304E5DF8}" dt="2021-05-04T06:59:15.350" v="771" actId="2711"/>
          <ac:spMkLst>
            <pc:docMk/>
            <pc:sldMk cId="3265625990" sldId="2134807476"/>
            <ac:spMk id="11" creationId="{84E7A706-E6AA-BD47-9BEE-CE9B9AE60078}"/>
          </ac:spMkLst>
        </pc:spChg>
        <pc:picChg chg="mod ord modCrop">
          <ac:chgData name="Otto, Andreia" userId="c59abb7c-42df-4831-a270-b3b8df04e709" providerId="ADAL" clId="{11B013F3-8B66-5342-917B-C481304E5DF8}" dt="2021-05-04T06:58:31.978" v="766" actId="700"/>
          <ac:picMkLst>
            <pc:docMk/>
            <pc:sldMk cId="3265625990" sldId="2134807476"/>
            <ac:picMk id="13" creationId="{4857B2B0-37F8-9444-939B-F8CC271D390D}"/>
          </ac:picMkLst>
        </pc:picChg>
        <pc:picChg chg="mod ord modCrop">
          <ac:chgData name="Otto, Andreia" userId="c59abb7c-42df-4831-a270-b3b8df04e709" providerId="ADAL" clId="{11B013F3-8B66-5342-917B-C481304E5DF8}" dt="2021-05-04T06:58:31.978" v="766" actId="700"/>
          <ac:picMkLst>
            <pc:docMk/>
            <pc:sldMk cId="3265625990" sldId="2134807476"/>
            <ac:picMk id="19" creationId="{360F2A45-EB35-7C48-A6E9-C5BA97987077}"/>
          </ac:picMkLst>
        </pc:picChg>
      </pc:sldChg>
      <pc:sldChg chg="add del">
        <pc:chgData name="Otto, Andreia" userId="c59abb7c-42df-4831-a270-b3b8df04e709" providerId="ADAL" clId="{11B013F3-8B66-5342-917B-C481304E5DF8}" dt="2021-05-03T05:34:29.778" v="2" actId="2696"/>
        <pc:sldMkLst>
          <pc:docMk/>
          <pc:sldMk cId="4247641351" sldId="2134807477"/>
        </pc:sldMkLst>
      </pc:sldChg>
      <pc:sldChg chg="addSp delSp modSp new mod modClrScheme chgLayout">
        <pc:chgData name="Otto, Andreia" userId="c59abb7c-42df-4831-a270-b3b8df04e709" providerId="ADAL" clId="{11B013F3-8B66-5342-917B-C481304E5DF8}" dt="2021-05-04T09:38:13.495" v="812" actId="20577"/>
        <pc:sldMkLst>
          <pc:docMk/>
          <pc:sldMk cId="2581086171" sldId="2147138069"/>
        </pc:sldMkLst>
        <pc:spChg chg="del">
          <ac:chgData name="Otto, Andreia" userId="c59abb7c-42df-4831-a270-b3b8df04e709" providerId="ADAL" clId="{11B013F3-8B66-5342-917B-C481304E5DF8}" dt="2021-05-03T06:47:59.070" v="549" actId="700"/>
          <ac:spMkLst>
            <pc:docMk/>
            <pc:sldMk cId="2581086171" sldId="2147138069"/>
            <ac:spMk id="2" creationId="{99CD207E-ECDC-FD40-A391-D36B6BB0F3AD}"/>
          </ac:spMkLst>
        </pc:spChg>
        <pc:spChg chg="del">
          <ac:chgData name="Otto, Andreia" userId="c59abb7c-42df-4831-a270-b3b8df04e709" providerId="ADAL" clId="{11B013F3-8B66-5342-917B-C481304E5DF8}" dt="2021-05-03T06:47:59.070" v="549" actId="700"/>
          <ac:spMkLst>
            <pc:docMk/>
            <pc:sldMk cId="2581086171" sldId="2147138069"/>
            <ac:spMk id="3" creationId="{B7E2484F-0630-A646-8945-E5D9F23544EC}"/>
          </ac:spMkLst>
        </pc:spChg>
        <pc:spChg chg="add del">
          <ac:chgData name="Otto, Andreia" userId="c59abb7c-42df-4831-a270-b3b8df04e709" providerId="ADAL" clId="{11B013F3-8B66-5342-917B-C481304E5DF8}" dt="2021-05-03T15:57:35.612" v="754" actId="11529"/>
          <ac:spMkLst>
            <pc:docMk/>
            <pc:sldMk cId="2581086171" sldId="2147138069"/>
            <ac:spMk id="4" creationId="{5AD29179-2148-0045-810D-538FBD790DBC}"/>
          </ac:spMkLst>
        </pc:spChg>
        <pc:spChg chg="del mod ord">
          <ac:chgData name="Otto, Andreia" userId="c59abb7c-42df-4831-a270-b3b8df04e709" providerId="ADAL" clId="{11B013F3-8B66-5342-917B-C481304E5DF8}" dt="2021-05-03T06:47:59.070" v="549" actId="700"/>
          <ac:spMkLst>
            <pc:docMk/>
            <pc:sldMk cId="2581086171" sldId="2147138069"/>
            <ac:spMk id="4" creationId="{B9E5A6B2-9525-DE43-B87E-43DAD7595799}"/>
          </ac:spMkLst>
        </pc:spChg>
        <pc:spChg chg="add mod ord">
          <ac:chgData name="Otto, Andreia" userId="c59abb7c-42df-4831-a270-b3b8df04e709" providerId="ADAL" clId="{11B013F3-8B66-5342-917B-C481304E5DF8}" dt="2021-05-04T09:38:13.495" v="812" actId="20577"/>
          <ac:spMkLst>
            <pc:docMk/>
            <pc:sldMk cId="2581086171" sldId="2147138069"/>
            <ac:spMk id="5" creationId="{20A71F77-13B3-8244-8A8E-BB6DCF2CFD90}"/>
          </ac:spMkLst>
        </pc:spChg>
        <pc:spChg chg="add mod">
          <ac:chgData name="Otto, Andreia" userId="c59abb7c-42df-4831-a270-b3b8df04e709" providerId="ADAL" clId="{11B013F3-8B66-5342-917B-C481304E5DF8}" dt="2021-05-03T15:58:47.219" v="758" actId="207"/>
          <ac:spMkLst>
            <pc:docMk/>
            <pc:sldMk cId="2581086171" sldId="2147138069"/>
            <ac:spMk id="6" creationId="{44193D24-BBAF-974C-9CE6-E5E455399A13}"/>
          </ac:spMkLst>
        </pc:spChg>
        <pc:picChg chg="add mod">
          <ac:chgData name="Otto, Andreia" userId="c59abb7c-42df-4831-a270-b3b8df04e709" providerId="ADAL" clId="{11B013F3-8B66-5342-917B-C481304E5DF8}" dt="2021-05-03T15:57:08.394" v="752" actId="14100"/>
          <ac:picMkLst>
            <pc:docMk/>
            <pc:sldMk cId="2581086171" sldId="2147138069"/>
            <ac:picMk id="3" creationId="{7063B4C6-85C0-BB4F-A32C-362A6B0E57D3}"/>
          </ac:picMkLst>
        </pc:picChg>
      </pc:sldChg>
      <pc:sldMasterChg chg="delSldLayout">
        <pc:chgData name="Otto, Andreia" userId="c59abb7c-42df-4831-a270-b3b8df04e709" providerId="ADAL" clId="{11B013F3-8B66-5342-917B-C481304E5DF8}" dt="2021-05-03T05:34:19.620" v="1" actId="2696"/>
        <pc:sldMasterMkLst>
          <pc:docMk/>
          <pc:sldMasterMk cId="3117829906" sldId="2147483648"/>
        </pc:sldMasterMkLst>
        <pc:sldLayoutChg chg="del">
          <pc:chgData name="Otto, Andreia" userId="c59abb7c-42df-4831-a270-b3b8df04e709" providerId="ADAL" clId="{11B013F3-8B66-5342-917B-C481304E5DF8}" dt="2021-05-03T05:34:19.620" v="1" actId="2696"/>
          <pc:sldLayoutMkLst>
            <pc:docMk/>
            <pc:sldMasterMk cId="3117829906" sldId="2147483648"/>
            <pc:sldLayoutMk cId="743700401" sldId="214748399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645B8F-81F7-4510-AC74-3A69222996D6}" type="datetimeFigureOut">
              <a:rPr lang="en-US" smtClean="0"/>
              <a:t>10/6/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25F666-12C3-4DC1-94F4-9928DB7E1120}" type="slidenum">
              <a:rPr lang="en-US" smtClean="0"/>
              <a:t>‹#›</a:t>
            </a:fld>
            <a:endParaRPr lang="en-US"/>
          </a:p>
        </p:txBody>
      </p:sp>
    </p:spTree>
    <p:extLst>
      <p:ext uri="{BB962C8B-B14F-4D97-AF65-F5344CB8AC3E}">
        <p14:creationId xmlns:p14="http://schemas.microsoft.com/office/powerpoint/2010/main" val="475364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738" y="434975"/>
            <a:ext cx="6176962" cy="34750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aseline="0" dirty="0" err="1"/>
              <a:t>My</a:t>
            </a:r>
            <a:r>
              <a:rPr lang="es-ES" baseline="0" dirty="0"/>
              <a:t> </a:t>
            </a:r>
            <a:r>
              <a:rPr lang="es-ES" baseline="0" dirty="0" err="1"/>
              <a:t>name</a:t>
            </a:r>
            <a:r>
              <a:rPr lang="es-ES" baseline="0" dirty="0"/>
              <a:t>, </a:t>
            </a:r>
            <a:r>
              <a:rPr lang="es-ES" baseline="0" dirty="0" err="1"/>
              <a:t>for</a:t>
            </a:r>
            <a:r>
              <a:rPr lang="es-ES" baseline="0" dirty="0"/>
              <a:t> </a:t>
            </a:r>
            <a:r>
              <a:rPr lang="es-ES" baseline="0" dirty="0" err="1"/>
              <a:t>the</a:t>
            </a:r>
            <a:r>
              <a:rPr lang="es-ES" baseline="0" dirty="0"/>
              <a:t> </a:t>
            </a:r>
            <a:r>
              <a:rPr lang="es-ES" baseline="0" dirty="0" err="1"/>
              <a:t>ones</a:t>
            </a:r>
            <a:r>
              <a:rPr lang="es-ES" baseline="0" dirty="0"/>
              <a:t> </a:t>
            </a:r>
            <a:r>
              <a:rPr lang="es-ES" baseline="0" dirty="0" err="1"/>
              <a:t>connecting</a:t>
            </a:r>
            <a:r>
              <a:rPr lang="es-ES" baseline="0" dirty="0"/>
              <a:t> </a:t>
            </a:r>
            <a:r>
              <a:rPr lang="es-ES" baseline="0" dirty="0" err="1"/>
              <a:t>this</a:t>
            </a:r>
            <a:r>
              <a:rPr lang="es-ES" baseline="0" dirty="0"/>
              <a:t> </a:t>
            </a:r>
            <a:r>
              <a:rPr lang="es-ES" baseline="0" dirty="0" err="1"/>
              <a:t>year</a:t>
            </a:r>
            <a:r>
              <a:rPr lang="es-ES" baseline="0" dirty="0"/>
              <a:t> </a:t>
            </a:r>
            <a:r>
              <a:rPr lang="es-ES" baseline="0" dirty="0" err="1"/>
              <a:t>for</a:t>
            </a:r>
            <a:r>
              <a:rPr lang="es-ES" baseline="0" dirty="0"/>
              <a:t> </a:t>
            </a:r>
            <a:r>
              <a:rPr lang="es-ES" baseline="0" dirty="0" err="1"/>
              <a:t>the</a:t>
            </a:r>
            <a:r>
              <a:rPr lang="es-ES" baseline="0" dirty="0"/>
              <a:t> </a:t>
            </a:r>
            <a:r>
              <a:rPr lang="es-ES" baseline="0" dirty="0" err="1"/>
              <a:t>first</a:t>
            </a:r>
            <a:r>
              <a:rPr lang="es-ES" baseline="0" dirty="0"/>
              <a:t> time, </a:t>
            </a:r>
            <a:r>
              <a:rPr lang="es-ES" baseline="0" dirty="0" err="1"/>
              <a:t>is</a:t>
            </a:r>
            <a:r>
              <a:rPr lang="es-ES" baseline="0" dirty="0"/>
              <a:t> Fernando </a:t>
            </a:r>
            <a:r>
              <a:rPr lang="es-ES" baseline="0" dirty="0" err="1"/>
              <a:t>Cornago</a:t>
            </a:r>
            <a:r>
              <a:rPr lang="es-ES" baseline="0" dirty="0"/>
              <a:t> and </a:t>
            </a:r>
            <a:r>
              <a:rPr lang="es-ES" baseline="0" dirty="0" err="1"/>
              <a:t>I’m</a:t>
            </a:r>
            <a:r>
              <a:rPr lang="es-ES" baseline="0" dirty="0"/>
              <a:t> </a:t>
            </a:r>
            <a:r>
              <a:rPr lang="es-ES" baseline="0" dirty="0" err="1"/>
              <a:t>since</a:t>
            </a:r>
            <a:r>
              <a:rPr lang="es-ES" baseline="0" dirty="0"/>
              <a:t> </a:t>
            </a:r>
            <a:r>
              <a:rPr lang="es-ES" baseline="0" dirty="0" err="1"/>
              <a:t>this</a:t>
            </a:r>
            <a:r>
              <a:rPr lang="es-ES" baseline="0" dirty="0"/>
              <a:t> </a:t>
            </a:r>
            <a:r>
              <a:rPr lang="es-ES" baseline="0" dirty="0" err="1"/>
              <a:t>month</a:t>
            </a:r>
            <a:r>
              <a:rPr lang="es-ES" baseline="0" dirty="0"/>
              <a:t> </a:t>
            </a:r>
            <a:r>
              <a:rPr lang="es-ES" baseline="0" dirty="0" err="1"/>
              <a:t>heading</a:t>
            </a:r>
            <a:r>
              <a:rPr lang="es-ES" baseline="0" dirty="0"/>
              <a:t>-up Digital </a:t>
            </a:r>
            <a:r>
              <a:rPr lang="es-ES" baseline="0" dirty="0" err="1"/>
              <a:t>Technology</a:t>
            </a:r>
            <a:r>
              <a:rPr lang="es-ES" baseline="0" dirty="0"/>
              <a:t> </a:t>
            </a:r>
            <a:r>
              <a:rPr lang="es-ES" baseline="0" dirty="0" err="1"/>
              <a:t>for</a:t>
            </a:r>
            <a:r>
              <a:rPr lang="es-ES" baseline="0" dirty="0"/>
              <a:t> </a:t>
            </a:r>
            <a:r>
              <a:rPr lang="es-ES" baseline="0" dirty="0" err="1"/>
              <a:t>adidas</a:t>
            </a:r>
            <a:r>
              <a:rPr lang="es-ES" baseline="0" dirty="0"/>
              <a:t> </a:t>
            </a:r>
            <a:r>
              <a:rPr lang="es-ES" baseline="0" dirty="0" err="1"/>
              <a:t>after</a:t>
            </a:r>
            <a:r>
              <a:rPr lang="es-ES" baseline="0" dirty="0"/>
              <a:t> 6 </a:t>
            </a:r>
            <a:r>
              <a:rPr lang="es-ES" baseline="0" dirty="0" err="1"/>
              <a:t>years</a:t>
            </a:r>
            <a:r>
              <a:rPr lang="es-ES" baseline="0" dirty="0"/>
              <a:t> in </a:t>
            </a:r>
            <a:r>
              <a:rPr lang="es-ES" baseline="0" dirty="0" err="1"/>
              <a:t>the</a:t>
            </a:r>
            <a:r>
              <a:rPr lang="es-ES" baseline="0" dirty="0"/>
              <a:t> Company </a:t>
            </a:r>
            <a:r>
              <a:rPr lang="es-ES" baseline="0" dirty="0" err="1"/>
              <a:t>working</a:t>
            </a:r>
            <a:r>
              <a:rPr lang="es-ES" baseline="0" dirty="0"/>
              <a:t> in </a:t>
            </a:r>
            <a:r>
              <a:rPr lang="es-ES" baseline="0" dirty="0" err="1"/>
              <a:t>the</a:t>
            </a:r>
            <a:r>
              <a:rPr lang="es-ES" baseline="0" dirty="0"/>
              <a:t> </a:t>
            </a:r>
            <a:r>
              <a:rPr lang="es-ES" baseline="0" dirty="0" err="1"/>
              <a:t>foundations</a:t>
            </a:r>
            <a:r>
              <a:rPr lang="es-ES" baseline="0" dirty="0"/>
              <a:t>, </a:t>
            </a:r>
            <a:r>
              <a:rPr lang="es-ES" baseline="0" dirty="0" err="1"/>
              <a:t>Platform</a:t>
            </a:r>
            <a:r>
              <a:rPr lang="es-ES" baseline="0" dirty="0"/>
              <a:t> </a:t>
            </a:r>
            <a:r>
              <a:rPr lang="es-ES" baseline="0" dirty="0" err="1"/>
              <a:t>Engineering</a:t>
            </a:r>
            <a:r>
              <a:rPr lang="es-ES" baseline="0" dirty="0"/>
              <a:t> and </a:t>
            </a:r>
            <a:r>
              <a:rPr lang="es-ES" baseline="0" dirty="0" err="1"/>
              <a:t>the</a:t>
            </a:r>
            <a:r>
              <a:rPr lang="es-ES" baseline="0" dirty="0"/>
              <a:t> </a:t>
            </a:r>
            <a:r>
              <a:rPr lang="es-ES" baseline="0" dirty="0" err="1"/>
              <a:t>Engineering</a:t>
            </a:r>
            <a:r>
              <a:rPr lang="es-ES" baseline="0" dirty="0"/>
              <a:t> expansión </a:t>
            </a:r>
            <a:r>
              <a:rPr lang="es-ES" baseline="0" dirty="0" err="1"/>
              <a:t>across</a:t>
            </a:r>
            <a:r>
              <a:rPr lang="es-ES" baseline="0" dirty="0"/>
              <a:t> </a:t>
            </a:r>
            <a:r>
              <a:rPr lang="es-ES" baseline="0" dirty="0" err="1"/>
              <a:t>our</a:t>
            </a:r>
            <a:r>
              <a:rPr lang="es-ES" baseline="0" dirty="0"/>
              <a:t> </a:t>
            </a:r>
            <a:r>
              <a:rPr lang="es-ES" baseline="0" dirty="0" err="1"/>
              <a:t>Tech</a:t>
            </a:r>
            <a:r>
              <a:rPr lang="es-ES" baseline="0" dirty="0"/>
              <a:t> </a:t>
            </a:r>
            <a:r>
              <a:rPr lang="es-ES" baseline="0" dirty="0" err="1"/>
              <a:t>Hubs</a:t>
            </a:r>
            <a:r>
              <a:rPr lang="es-ES"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baseline="0" dirty="0" err="1"/>
              <a:t>This</a:t>
            </a:r>
            <a:r>
              <a:rPr lang="es-ES" baseline="0" dirty="0"/>
              <a:t> </a:t>
            </a:r>
            <a:r>
              <a:rPr lang="es-ES" baseline="0" dirty="0" err="1"/>
              <a:t>year</a:t>
            </a:r>
            <a:r>
              <a:rPr lang="es-ES" baseline="0" dirty="0"/>
              <a:t>, as I </a:t>
            </a:r>
            <a:r>
              <a:rPr lang="es-ES" baseline="0" dirty="0" err="1"/>
              <a:t>said</a:t>
            </a:r>
            <a:r>
              <a:rPr lang="es-ES" baseline="0" dirty="0"/>
              <a:t>, </a:t>
            </a:r>
            <a:r>
              <a:rPr lang="es-ES" baseline="0" dirty="0" err="1"/>
              <a:t>we</a:t>
            </a:r>
            <a:r>
              <a:rPr lang="es-ES" baseline="0" dirty="0"/>
              <a:t> Deep </a:t>
            </a:r>
            <a:r>
              <a:rPr lang="es-ES" baseline="0" dirty="0" err="1"/>
              <a:t>dive</a:t>
            </a:r>
            <a:r>
              <a:rPr lang="es-ES" baseline="0" dirty="0"/>
              <a:t> in </a:t>
            </a:r>
            <a:r>
              <a:rPr lang="es-ES" baseline="0" dirty="0" err="1"/>
              <a:t>Operations</a:t>
            </a:r>
            <a:r>
              <a:rPr lang="es-ES" baseline="0" dirty="0"/>
              <a:t> at </a:t>
            </a:r>
            <a:r>
              <a:rPr lang="es-ES" baseline="0" dirty="0" err="1"/>
              <a:t>Scale</a:t>
            </a:r>
            <a:r>
              <a:rPr lang="es-ES" baseline="0" dirty="0"/>
              <a:t>, </a:t>
            </a:r>
            <a:r>
              <a:rPr lang="es-ES" baseline="0" dirty="0" err="1"/>
              <a:t>for</a:t>
            </a:r>
            <a:r>
              <a:rPr lang="es-ES" baseline="0" dirty="0"/>
              <a:t> </a:t>
            </a:r>
            <a:r>
              <a:rPr lang="es-ES" baseline="0" dirty="0" err="1"/>
              <a:t>this</a:t>
            </a:r>
            <a:r>
              <a:rPr lang="es-ES" baseline="0" dirty="0"/>
              <a:t>, I </a:t>
            </a:r>
            <a:r>
              <a:rPr lang="es-ES" baseline="0" dirty="0" err="1"/>
              <a:t>brought</a:t>
            </a:r>
            <a:r>
              <a:rPr lang="es-ES" baseline="0" dirty="0"/>
              <a:t> </a:t>
            </a:r>
            <a:r>
              <a:rPr lang="es-ES" baseline="0" dirty="0" err="1"/>
              <a:t>with</a:t>
            </a:r>
            <a:r>
              <a:rPr lang="es-ES" baseline="0" dirty="0"/>
              <a:t> me </a:t>
            </a:r>
            <a:r>
              <a:rPr lang="es-ES" baseline="0" dirty="0" err="1"/>
              <a:t>Vikalp</a:t>
            </a:r>
            <a:r>
              <a:rPr lang="es-ES" baseline="0" dirty="0"/>
              <a:t>, </a:t>
            </a:r>
            <a:r>
              <a:rPr lang="es-ES" baseline="0" dirty="0" err="1"/>
              <a:t>the</a:t>
            </a:r>
            <a:r>
              <a:rPr lang="es-ES" baseline="0" dirty="0"/>
              <a:t> head of Digital </a:t>
            </a:r>
            <a:r>
              <a:rPr lang="es-ES" baseline="0" dirty="0" err="1"/>
              <a:t>Operations</a:t>
            </a:r>
            <a:r>
              <a:rPr lang="es-ES" baseline="0" dirty="0"/>
              <a:t> and </a:t>
            </a:r>
            <a:r>
              <a:rPr lang="es-ES" baseline="0" dirty="0" err="1"/>
              <a:t>Andreia</a:t>
            </a:r>
            <a:r>
              <a:rPr lang="es-ES" baseline="0" dirty="0"/>
              <a:t>, </a:t>
            </a:r>
            <a:r>
              <a:rPr lang="es-ES" baseline="0" dirty="0" err="1"/>
              <a:t>one</a:t>
            </a:r>
            <a:r>
              <a:rPr lang="es-ES" baseline="0" dirty="0"/>
              <a:t> of </a:t>
            </a:r>
            <a:r>
              <a:rPr lang="es-ES" baseline="0" dirty="0" err="1"/>
              <a:t>our</a:t>
            </a:r>
            <a:r>
              <a:rPr lang="es-ES" baseline="0" dirty="0"/>
              <a:t> </a:t>
            </a:r>
            <a:r>
              <a:rPr lang="es-ES" baseline="0" dirty="0" err="1"/>
              <a:t>super-talents</a:t>
            </a:r>
            <a:r>
              <a:rPr lang="es-ES" baseline="0" dirty="0"/>
              <a:t> and </a:t>
            </a:r>
            <a:r>
              <a:rPr lang="es-ES" baseline="0" dirty="0" err="1"/>
              <a:t>currently</a:t>
            </a:r>
            <a:r>
              <a:rPr lang="es-ES" baseline="0" dirty="0"/>
              <a:t> in </a:t>
            </a:r>
            <a:r>
              <a:rPr lang="es-ES" baseline="0" dirty="0" err="1"/>
              <a:t>charge</a:t>
            </a:r>
            <a:r>
              <a:rPr lang="es-ES" baseline="0" dirty="0"/>
              <a:t> of </a:t>
            </a:r>
            <a:r>
              <a:rPr lang="es-ES" baseline="0" dirty="0" err="1"/>
              <a:t>the</a:t>
            </a:r>
            <a:r>
              <a:rPr lang="es-ES" baseline="0" dirty="0"/>
              <a:t> SER </a:t>
            </a:r>
            <a:r>
              <a:rPr lang="es-ES" baseline="0" dirty="0" err="1"/>
              <a:t>team</a:t>
            </a:r>
            <a:r>
              <a:rPr lang="es-ES" baseline="0" dirty="0"/>
              <a:t> of </a:t>
            </a:r>
            <a:r>
              <a:rPr lang="es-ES" baseline="0" dirty="0" err="1"/>
              <a:t>one</a:t>
            </a:r>
            <a:r>
              <a:rPr lang="es-ES" baseline="0" dirty="0"/>
              <a:t> of </a:t>
            </a:r>
            <a:r>
              <a:rPr lang="es-ES" baseline="0" dirty="0" err="1"/>
              <a:t>our</a:t>
            </a:r>
            <a:r>
              <a:rPr lang="es-ES" baseline="0" dirty="0"/>
              <a:t> </a:t>
            </a:r>
            <a:r>
              <a:rPr lang="es-ES" baseline="0" dirty="0" err="1"/>
              <a:t>most</a:t>
            </a:r>
            <a:r>
              <a:rPr lang="es-ES" baseline="0" dirty="0"/>
              <a:t> </a:t>
            </a:r>
            <a:r>
              <a:rPr lang="es-ES" baseline="0" dirty="0" err="1"/>
              <a:t>critical</a:t>
            </a:r>
            <a:r>
              <a:rPr lang="es-ES" baseline="0" dirty="0"/>
              <a:t> áreas, Web and Mobile </a:t>
            </a:r>
            <a:r>
              <a:rPr lang="es-ES" baseline="0" dirty="0" err="1"/>
              <a:t>Services</a:t>
            </a:r>
            <a:r>
              <a:rPr lang="es-ES" baseline="0" dirty="0"/>
              <a:t>, </a:t>
            </a:r>
            <a:r>
              <a:rPr lang="es-ES" baseline="0" dirty="0" err="1"/>
              <a:t>that</a:t>
            </a:r>
            <a:r>
              <a:rPr lang="es-ES" baseline="0" dirty="0"/>
              <a:t> </a:t>
            </a:r>
            <a:r>
              <a:rPr lang="es-ES" baseline="0" dirty="0" err="1"/>
              <a:t>contains</a:t>
            </a:r>
            <a:r>
              <a:rPr lang="es-ES" baseline="0" dirty="0"/>
              <a:t> </a:t>
            </a:r>
            <a:r>
              <a:rPr lang="es-ES" baseline="0" dirty="0" err="1"/>
              <a:t>topics</a:t>
            </a:r>
            <a:r>
              <a:rPr lang="es-ES" baseline="0" dirty="0"/>
              <a:t> </a:t>
            </a:r>
            <a:r>
              <a:rPr lang="es-ES" baseline="0" dirty="0" err="1"/>
              <a:t>such</a:t>
            </a:r>
            <a:r>
              <a:rPr lang="es-ES" baseline="0" dirty="0"/>
              <a:t> as (Content and </a:t>
            </a:r>
            <a:r>
              <a:rPr lang="es-ES" baseline="0" dirty="0" err="1"/>
              <a:t>Product</a:t>
            </a:r>
            <a:r>
              <a:rPr lang="es-ES" baseline="0" dirty="0"/>
              <a:t> Data Management </a:t>
            </a:r>
            <a:r>
              <a:rPr lang="es-ES" baseline="0" dirty="0" err="1"/>
              <a:t>our</a:t>
            </a:r>
            <a:r>
              <a:rPr lang="es-ES" baseline="0" dirty="0"/>
              <a:t> </a:t>
            </a:r>
            <a:r>
              <a:rPr lang="es-ES" baseline="0" dirty="0" err="1"/>
              <a:t>Checkout</a:t>
            </a:r>
            <a:r>
              <a:rPr lang="es-ES" baseline="0" dirty="0"/>
              <a:t> API)</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baseline="0" dirty="0"/>
          </a:p>
        </p:txBody>
      </p:sp>
    </p:spTree>
    <p:extLst>
      <p:ext uri="{BB962C8B-B14F-4D97-AF65-F5344CB8AC3E}">
        <p14:creationId xmlns:p14="http://schemas.microsoft.com/office/powerpoint/2010/main" val="1874068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But Jesse could have never run 400m in less than 40 seconds by himself, for that he needed a team, and 3 sincronyzed relays or handovers.  </a:t>
            </a:r>
          </a:p>
          <a:p>
            <a:endParaRPr lang="en-DE" dirty="0"/>
          </a:p>
          <a:p>
            <a:r>
              <a:rPr lang="en-DE" dirty="0"/>
              <a:t>You can see this as a scale-up, or the adidas digital ecosystem growing free during the last 5 ye</a:t>
            </a:r>
            <a:r>
              <a:rPr lang="en-GB" dirty="0" err="1"/>
              <a:t>ar</a:t>
            </a:r>
            <a:r>
              <a:rPr lang="en-DE" dirty="0"/>
              <a: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5F666-12C3-4DC1-94F4-9928DB7E11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968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But… growth can kill you…. Imagine all these people crossing the bridge during the NYC marathon.</a:t>
            </a:r>
          </a:p>
          <a:p>
            <a:endParaRPr lang="en-DE" dirty="0"/>
          </a:p>
          <a:p>
            <a:r>
              <a:rPr lang="en-DE" dirty="0"/>
              <a:t>If one accelerates, jumps or stops, 10 others might fall on the floor.</a:t>
            </a:r>
          </a:p>
          <a:p>
            <a:endParaRPr lang="en-DE" dirty="0"/>
          </a:p>
          <a:p>
            <a:r>
              <a:rPr lang="en-DE" dirty="0"/>
              <a:t>This is basically what happened to us in November 20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5F666-12C3-4DC1-94F4-9928DB7E11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141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360363"/>
            <a:ext cx="6657975" cy="3746500"/>
          </a:xfrm>
        </p:spPr>
      </p:sp>
      <p:sp>
        <p:nvSpPr>
          <p:cNvPr id="3" name="Notes Placeholder 2"/>
          <p:cNvSpPr>
            <a:spLocks noGrp="1"/>
          </p:cNvSpPr>
          <p:nvPr>
            <p:ph type="body" idx="1"/>
          </p:nvPr>
        </p:nvSpPr>
        <p:spPr/>
        <p:txBody>
          <a:bodyPr/>
          <a:lstStyle/>
          <a:p>
            <a:r>
              <a:rPr lang="en-US" dirty="0"/>
              <a:t>We call our volume growth 10X.  </a:t>
            </a:r>
          </a:p>
          <a:p>
            <a:endParaRPr lang="en-US" dirty="0"/>
          </a:p>
          <a:p>
            <a:r>
              <a:rPr lang="en-US" dirty="0"/>
              <a:t>10X is our growth rate over the last years,  typically 50% digital business growth is bringing 2.5 more visitors to our channels and this creates 10 times more technical traffic in our different platforms.</a:t>
            </a:r>
          </a:p>
          <a:p>
            <a:endParaRPr lang="en-US" dirty="0"/>
          </a:p>
          <a:p>
            <a:r>
              <a:rPr lang="en-US" dirty="0"/>
              <a:t>But it’s not only that, our teams grow, as well as the dependencies and connections among them per brooks law.</a:t>
            </a:r>
          </a:p>
        </p:txBody>
      </p:sp>
      <p:sp>
        <p:nvSpPr>
          <p:cNvPr id="4" name="Date Placeholder 3">
            <a:extLst>
              <a:ext uri="{FF2B5EF4-FFF2-40B4-BE49-F238E27FC236}">
                <a16:creationId xmlns:a16="http://schemas.microsoft.com/office/drawing/2014/main" id="{F4819407-9297-45F8-9DA3-394FF3440057}"/>
              </a:ext>
            </a:extLst>
          </p:cNvPr>
          <p:cNvSpPr>
            <a:spLocks noGrp="1"/>
          </p:cNvSpPr>
          <p:nvPr>
            <p:ph type="dt" idx="1"/>
          </p:nvPr>
        </p:nvSpPr>
        <p:spPr/>
        <p:txBody>
          <a:bodyPr/>
          <a:lstStyle/>
          <a:p>
            <a:pPr marL="0" marR="0" lvl="0" indent="0" algn="r" defTabSz="919842" rtl="0" eaLnBrk="1" fontAlgn="base" latinLnBrk="0" hangingPunct="1">
              <a:lnSpc>
                <a:spcPct val="100000"/>
              </a:lnSpc>
              <a:spcBef>
                <a:spcPct val="0"/>
              </a:spcBef>
              <a:spcAft>
                <a:spcPct val="0"/>
              </a:spcAft>
              <a:buClrTx/>
              <a:buSzTx/>
              <a:buFontTx/>
              <a:buNone/>
              <a:tabLst/>
              <a:defRPr/>
            </a:pPr>
            <a:fld id="{A5B3FFA3-0FF9-4A16-B416-F1266F0A93AF}" type="datetime1">
              <a:rPr kumimoji="0" lang="en-US" sz="800" b="0" i="0" u="none" strike="noStrike" kern="1200" cap="all" spc="30" normalizeH="0" baseline="0" noProof="0" smtClean="0">
                <a:ln>
                  <a:noFill/>
                </a:ln>
                <a:solidFill>
                  <a:prstClr val="black">
                    <a:alpha val="0"/>
                  </a:prstClr>
                </a:solidFill>
                <a:effectLst/>
                <a:uLnTx/>
                <a:uFillTx/>
                <a:latin typeface="adineue PRO Cond"/>
                <a:ea typeface="+mn-ea"/>
                <a:cs typeface="Arial" charset="0"/>
              </a:rPr>
              <a:pPr marL="0" marR="0" lvl="0" indent="0" algn="r" defTabSz="919842" rtl="0" eaLnBrk="1" fontAlgn="base" latinLnBrk="0" hangingPunct="1">
                <a:lnSpc>
                  <a:spcPct val="100000"/>
                </a:lnSpc>
                <a:spcBef>
                  <a:spcPct val="0"/>
                </a:spcBef>
                <a:spcAft>
                  <a:spcPct val="0"/>
                </a:spcAft>
                <a:buClrTx/>
                <a:buSzTx/>
                <a:buFontTx/>
                <a:buNone/>
                <a:tabLst/>
                <a:defRPr/>
              </a:pPr>
              <a:t>10/6/21</a:t>
            </a:fld>
            <a:endParaRPr kumimoji="0" lang="en-US" sz="800" b="0" i="0" u="none" strike="noStrike" kern="1200" cap="all" spc="30" normalizeH="0" baseline="0" noProof="0">
              <a:ln>
                <a:noFill/>
              </a:ln>
              <a:solidFill>
                <a:prstClr val="black">
                  <a:alpha val="0"/>
                </a:prstClr>
              </a:solidFill>
              <a:effectLst/>
              <a:uLnTx/>
              <a:uFillTx/>
              <a:latin typeface="adineue PRO Cond"/>
              <a:ea typeface="+mn-ea"/>
              <a:cs typeface="Arial" charset="0"/>
            </a:endParaRPr>
          </a:p>
        </p:txBody>
      </p:sp>
      <p:sp>
        <p:nvSpPr>
          <p:cNvPr id="5" name="Footer Placeholder 4">
            <a:extLst>
              <a:ext uri="{FF2B5EF4-FFF2-40B4-BE49-F238E27FC236}">
                <a16:creationId xmlns:a16="http://schemas.microsoft.com/office/drawing/2014/main" id="{FC6B41F2-F007-45CF-9847-26656752EEB5}"/>
              </a:ext>
            </a:extLst>
          </p:cNvPr>
          <p:cNvSpPr>
            <a:spLocks noGrp="1"/>
          </p:cNvSpPr>
          <p:nvPr>
            <p:ph type="ftr" sz="quarter" idx="4"/>
          </p:nvPr>
        </p:nvSpPr>
        <p:spPr/>
        <p:txBody>
          <a:bodyPr/>
          <a:lstStyle/>
          <a:p>
            <a:pPr marL="0" marR="0" lvl="0" indent="0" algn="l" defTabSz="919842" rtl="0" eaLnBrk="1" fontAlgn="base" latinLnBrk="0" hangingPunct="1">
              <a:lnSpc>
                <a:spcPct val="100000"/>
              </a:lnSpc>
              <a:spcBef>
                <a:spcPct val="0"/>
              </a:spcBef>
              <a:spcAft>
                <a:spcPct val="0"/>
              </a:spcAft>
              <a:buClrTx/>
              <a:buSzTx/>
              <a:buFontTx/>
              <a:buNone/>
              <a:tabLst/>
              <a:defRPr/>
            </a:pPr>
            <a:r>
              <a:rPr kumimoji="0" lang="en-US" sz="800" b="0" i="0" u="none" strike="noStrike" kern="1200" cap="all" spc="30" normalizeH="0" baseline="0" noProof="0">
                <a:ln>
                  <a:noFill/>
                </a:ln>
                <a:solidFill>
                  <a:prstClr val="black"/>
                </a:solidFill>
                <a:effectLst/>
                <a:uLnTx/>
                <a:uFillTx/>
                <a:latin typeface="adineue PRO Cond"/>
                <a:ea typeface="+mn-ea"/>
                <a:cs typeface="Arial" charset="0"/>
              </a:rPr>
              <a:t>2021 ADIDAS AG</a:t>
            </a:r>
          </a:p>
        </p:txBody>
      </p:sp>
      <p:sp>
        <p:nvSpPr>
          <p:cNvPr id="6" name="Slide Number Placeholder 5">
            <a:extLst>
              <a:ext uri="{FF2B5EF4-FFF2-40B4-BE49-F238E27FC236}">
                <a16:creationId xmlns:a16="http://schemas.microsoft.com/office/drawing/2014/main" id="{64AE8537-6024-4AD2-852D-EF80A945D5A7}"/>
              </a:ext>
            </a:extLst>
          </p:cNvPr>
          <p:cNvSpPr>
            <a:spLocks noGrp="1"/>
          </p:cNvSpPr>
          <p:nvPr>
            <p:ph type="sldNum" sz="quarter" idx="5"/>
          </p:nvPr>
        </p:nvSpPr>
        <p:spPr/>
        <p:txBody>
          <a:bodyPr/>
          <a:lstStyle/>
          <a:p>
            <a:pPr marL="0" marR="0" lvl="0" indent="0" algn="r" defTabSz="919842" rtl="0" eaLnBrk="1" fontAlgn="base" latinLnBrk="0" hangingPunct="1">
              <a:lnSpc>
                <a:spcPct val="100000"/>
              </a:lnSpc>
              <a:spcBef>
                <a:spcPct val="0"/>
              </a:spcBef>
              <a:spcAft>
                <a:spcPct val="0"/>
              </a:spcAft>
              <a:buClrTx/>
              <a:buSzTx/>
              <a:buFontTx/>
              <a:buNone/>
              <a:tabLst/>
              <a:defRPr/>
            </a:pPr>
            <a:fld id="{0E76785A-95C7-44FE-A156-91193B40163D}" type="slidenum">
              <a:rPr kumimoji="0" lang="en-US" sz="800" b="0" i="0" u="none" strike="noStrike" kern="1200" cap="all" spc="30" normalizeH="0" baseline="0" noProof="0" smtClean="0">
                <a:ln>
                  <a:noFill/>
                </a:ln>
                <a:solidFill>
                  <a:prstClr val="black">
                    <a:alpha val="0"/>
                  </a:prstClr>
                </a:solidFill>
                <a:effectLst/>
                <a:uLnTx/>
                <a:uFillTx/>
                <a:latin typeface="adineue PRO Cond"/>
                <a:ea typeface="+mn-ea"/>
                <a:cs typeface="Arial" charset="0"/>
              </a:rPr>
              <a:pPr marL="0" marR="0" lvl="0" indent="0" algn="r" defTabSz="919842" rtl="0" eaLnBrk="1" fontAlgn="base" latinLnBrk="0" hangingPunct="1">
                <a:lnSpc>
                  <a:spcPct val="100000"/>
                </a:lnSpc>
                <a:spcBef>
                  <a:spcPct val="0"/>
                </a:spcBef>
                <a:spcAft>
                  <a:spcPct val="0"/>
                </a:spcAft>
                <a:buClrTx/>
                <a:buSzTx/>
                <a:buFontTx/>
                <a:buNone/>
                <a:tabLst/>
                <a:defRPr/>
              </a:pPr>
              <a:t>12</a:t>
            </a:fld>
            <a:endParaRPr kumimoji="0" lang="en-US" sz="800" b="0" i="0" u="none" strike="noStrike" kern="1200" cap="all" spc="30" normalizeH="0" baseline="0" noProof="0">
              <a:ln>
                <a:noFill/>
              </a:ln>
              <a:solidFill>
                <a:prstClr val="black">
                  <a:alpha val="0"/>
                </a:prstClr>
              </a:solidFill>
              <a:effectLst/>
              <a:uLnTx/>
              <a:uFillTx/>
              <a:latin typeface="adineue PRO Cond"/>
              <a:ea typeface="+mn-ea"/>
              <a:cs typeface="Arial" charset="0"/>
            </a:endParaRPr>
          </a:p>
        </p:txBody>
      </p:sp>
      <p:sp>
        <p:nvSpPr>
          <p:cNvPr id="7" name="Header Placeholder 6">
            <a:extLst>
              <a:ext uri="{FF2B5EF4-FFF2-40B4-BE49-F238E27FC236}">
                <a16:creationId xmlns:a16="http://schemas.microsoft.com/office/drawing/2014/main" id="{DBC07A03-7F08-4AD7-B6E0-8D09A43C2093}"/>
              </a:ext>
            </a:extLst>
          </p:cNvPr>
          <p:cNvSpPr>
            <a:spLocks noGrp="1"/>
          </p:cNvSpPr>
          <p:nvPr>
            <p:ph type="hdr" sz="quarter"/>
          </p:nvPr>
        </p:nvSpPr>
        <p:spPr/>
        <p:txBody>
          <a:bodyPr/>
          <a:lstStyle/>
          <a:p>
            <a:pPr marL="0" marR="0" lvl="0" indent="0" algn="l" defTabSz="919842" rtl="0" eaLnBrk="1" fontAlgn="base" latinLnBrk="0" hangingPunct="1">
              <a:lnSpc>
                <a:spcPct val="100000"/>
              </a:lnSpc>
              <a:spcBef>
                <a:spcPct val="0"/>
              </a:spcBef>
              <a:spcAft>
                <a:spcPct val="0"/>
              </a:spcAft>
              <a:buClrTx/>
              <a:buSzTx/>
              <a:buFontTx/>
              <a:buNone/>
              <a:tabLst/>
              <a:defRPr/>
            </a:pPr>
            <a:endParaRPr kumimoji="0" lang="en-US" sz="800" b="0" i="0" u="none" strike="noStrike" kern="1200" cap="all" spc="30" normalizeH="0" baseline="0" noProof="0">
              <a:ln>
                <a:noFill/>
              </a:ln>
              <a:solidFill>
                <a:prstClr val="black">
                  <a:alpha val="0"/>
                </a:prstClr>
              </a:solidFill>
              <a:effectLst/>
              <a:uLnTx/>
              <a:uFillTx/>
              <a:latin typeface="adineue PRO Cond"/>
              <a:ea typeface="+mn-ea"/>
              <a:cs typeface="Arial" charset="0"/>
            </a:endParaRPr>
          </a:p>
        </p:txBody>
      </p:sp>
    </p:spTree>
    <p:extLst>
      <p:ext uri="{BB962C8B-B14F-4D97-AF65-F5344CB8AC3E}">
        <p14:creationId xmlns:p14="http://schemas.microsoft.com/office/powerpoint/2010/main" val="1105191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is, </a:t>
            </a:r>
            <a:r>
              <a:rPr lang="de-DE" dirty="0" err="1"/>
              <a:t>took</a:t>
            </a:r>
            <a:r>
              <a:rPr lang="de-DE" dirty="0"/>
              <a:t> </a:t>
            </a:r>
            <a:r>
              <a:rPr lang="de-DE" dirty="0" err="1"/>
              <a:t>as</a:t>
            </a:r>
            <a:r>
              <a:rPr lang="de-DE" dirty="0"/>
              <a:t> </a:t>
            </a:r>
            <a:r>
              <a:rPr lang="de-DE" dirty="0" err="1"/>
              <a:t>to</a:t>
            </a:r>
            <a:r>
              <a:rPr lang="de-DE" dirty="0"/>
              <a:t> a </a:t>
            </a:r>
            <a:r>
              <a:rPr lang="de-DE" dirty="0" err="1"/>
              <a:t>point</a:t>
            </a:r>
            <a:r>
              <a:rPr lang="de-DE" dirty="0"/>
              <a:t> last </a:t>
            </a:r>
            <a:r>
              <a:rPr lang="de-DE" dirty="0" err="1"/>
              <a:t>november</a:t>
            </a:r>
            <a:r>
              <a:rPr lang="de-DE" dirty="0"/>
              <a:t> </a:t>
            </a:r>
            <a:r>
              <a:rPr lang="de-DE" dirty="0" err="1"/>
              <a:t>where</a:t>
            </a:r>
            <a:r>
              <a:rPr lang="de-DE" dirty="0"/>
              <a:t>, after </a:t>
            </a:r>
            <a:r>
              <a:rPr lang="de-DE" dirty="0" err="1"/>
              <a:t>years</a:t>
            </a:r>
            <a:r>
              <a:rPr lang="de-DE" dirty="0"/>
              <a:t> </a:t>
            </a:r>
            <a:r>
              <a:rPr lang="de-DE" dirty="0" err="1"/>
              <a:t>of</a:t>
            </a:r>
            <a:r>
              <a:rPr lang="de-DE" dirty="0"/>
              <a:t> </a:t>
            </a:r>
            <a:r>
              <a:rPr lang="de-DE" dirty="0" err="1"/>
              <a:t>stability</a:t>
            </a:r>
            <a:r>
              <a:rPr lang="de-DE" dirty="0"/>
              <a:t> </a:t>
            </a:r>
            <a:r>
              <a:rPr lang="de-DE" dirty="0" err="1"/>
              <a:t>we</a:t>
            </a:r>
            <a:r>
              <a:rPr lang="de-DE" dirty="0"/>
              <a:t> </a:t>
            </a:r>
            <a:r>
              <a:rPr lang="de-DE" dirty="0" err="1"/>
              <a:t>got</a:t>
            </a:r>
            <a:r>
              <a:rPr lang="de-DE" dirty="0"/>
              <a:t> </a:t>
            </a:r>
            <a:r>
              <a:rPr lang="de-DE" dirty="0" err="1"/>
              <a:t>into</a:t>
            </a:r>
            <a:r>
              <a:rPr lang="de-DE" dirty="0"/>
              <a:t> a </a:t>
            </a:r>
            <a:r>
              <a:rPr lang="de-DE" dirty="0" err="1"/>
              <a:t>crisis</a:t>
            </a:r>
            <a:r>
              <a:rPr lang="de-DE" dirty="0"/>
              <a:t> </a:t>
            </a:r>
            <a:r>
              <a:rPr lang="de-DE" dirty="0" err="1"/>
              <a:t>mode</a:t>
            </a:r>
            <a:r>
              <a:rPr lang="de-DE" dirty="0"/>
              <a:t> after 4 / 5 </a:t>
            </a:r>
            <a:r>
              <a:rPr lang="de-DE" dirty="0" err="1"/>
              <a:t>outages</a:t>
            </a:r>
            <a:r>
              <a:rPr lang="de-DE" dirty="0"/>
              <a:t> </a:t>
            </a:r>
            <a:r>
              <a:rPr lang="de-DE" dirty="0" err="1"/>
              <a:t>telling</a:t>
            </a:r>
            <a:r>
              <a:rPr lang="de-DE" dirty="0"/>
              <a:t> </a:t>
            </a:r>
            <a:r>
              <a:rPr lang="de-DE" dirty="0" err="1"/>
              <a:t>us</a:t>
            </a:r>
            <a:r>
              <a:rPr lang="de-DE" dirty="0"/>
              <a:t> </a:t>
            </a:r>
            <a:r>
              <a:rPr lang="de-DE" dirty="0" err="1"/>
              <a:t>we</a:t>
            </a:r>
            <a:r>
              <a:rPr lang="de-DE" dirty="0"/>
              <a:t> </a:t>
            </a:r>
            <a:r>
              <a:rPr lang="de-DE" dirty="0" err="1"/>
              <a:t>had</a:t>
            </a:r>
            <a:r>
              <a:rPr lang="de-DE" dirty="0"/>
              <a:t> </a:t>
            </a:r>
            <a:r>
              <a:rPr lang="de-DE" dirty="0" err="1"/>
              <a:t>reached</a:t>
            </a:r>
            <a:r>
              <a:rPr lang="de-DE" dirty="0"/>
              <a:t> </a:t>
            </a:r>
            <a:r>
              <a:rPr lang="de-DE" dirty="0" err="1"/>
              <a:t>our</a:t>
            </a:r>
            <a:r>
              <a:rPr lang="de-DE" dirty="0"/>
              <a:t> </a:t>
            </a:r>
            <a:r>
              <a:rPr lang="de-DE" dirty="0" err="1"/>
              <a:t>limits</a:t>
            </a:r>
            <a:r>
              <a:rPr lang="de-DE" dirty="0"/>
              <a:t> in </a:t>
            </a:r>
            <a:r>
              <a:rPr lang="de-DE" dirty="0" err="1"/>
              <a:t>the</a:t>
            </a:r>
            <a:r>
              <a:rPr lang="de-DE" dirty="0"/>
              <a:t> </a:t>
            </a:r>
            <a:r>
              <a:rPr lang="de-DE" dirty="0" err="1"/>
              <a:t>worst</a:t>
            </a:r>
            <a:r>
              <a:rPr lang="de-DE" dirty="0"/>
              <a:t> time </a:t>
            </a:r>
            <a:r>
              <a:rPr lang="de-DE" dirty="0" err="1"/>
              <a:t>ever</a:t>
            </a:r>
            <a:r>
              <a:rPr lang="de-DE" dirty="0"/>
              <a:t>.  Just </a:t>
            </a:r>
            <a:r>
              <a:rPr lang="de-DE" dirty="0" err="1"/>
              <a:t>before</a:t>
            </a:r>
            <a:r>
              <a:rPr lang="de-DE" dirty="0"/>
              <a:t> </a:t>
            </a:r>
            <a:r>
              <a:rPr lang="de-DE" dirty="0" err="1"/>
              <a:t>our</a:t>
            </a:r>
            <a:r>
              <a:rPr lang="de-DE" dirty="0"/>
              <a:t> </a:t>
            </a:r>
            <a:r>
              <a:rPr lang="de-DE" dirty="0" err="1"/>
              <a:t>peak</a:t>
            </a:r>
            <a:r>
              <a:rPr lang="de-DE" dirty="0"/>
              <a:t> </a:t>
            </a:r>
            <a:r>
              <a:rPr lang="de-DE" dirty="0" err="1"/>
              <a:t>sales</a:t>
            </a:r>
            <a:r>
              <a:rPr lang="de-DE" dirty="0"/>
              <a:t> </a:t>
            </a:r>
            <a:r>
              <a:rPr lang="de-DE" dirty="0" err="1"/>
              <a:t>period</a:t>
            </a:r>
            <a:r>
              <a:rPr lang="de-DE" dirty="0"/>
              <a:t>, </a:t>
            </a:r>
            <a:r>
              <a:rPr lang="de-DE" dirty="0" err="1"/>
              <a:t>Cyberweek</a:t>
            </a:r>
            <a:r>
              <a:rPr lang="de-DE" dirty="0"/>
              <a:t>, Black </a:t>
            </a:r>
            <a:r>
              <a:rPr lang="de-DE" dirty="0" err="1"/>
              <a:t>Friday</a:t>
            </a:r>
            <a:r>
              <a:rPr lang="de-DE" dirty="0"/>
              <a:t>, </a:t>
            </a:r>
            <a:r>
              <a:rPr lang="de-DE" dirty="0" err="1"/>
              <a:t>Cyber</a:t>
            </a:r>
            <a:r>
              <a:rPr lang="de-DE" dirty="0"/>
              <a:t> </a:t>
            </a:r>
            <a:r>
              <a:rPr lang="de-DE" dirty="0" err="1"/>
              <a:t>Monday</a:t>
            </a:r>
            <a:r>
              <a:rPr lang="de-DE" dirty="0"/>
              <a:t>, 11.11 </a:t>
            </a:r>
            <a:r>
              <a:rPr lang="de-DE" dirty="0" err="1"/>
              <a:t>or</a:t>
            </a:r>
            <a:r>
              <a:rPr lang="de-DE" dirty="0"/>
              <a:t> 12.12 in China.  </a:t>
            </a:r>
            <a:r>
              <a:rPr lang="de-DE" dirty="0" err="1"/>
              <a:t>Where</a:t>
            </a:r>
            <a:r>
              <a:rPr lang="de-DE" dirty="0"/>
              <a:t> </a:t>
            </a:r>
            <a:r>
              <a:rPr lang="de-DE" dirty="0" err="1"/>
              <a:t>we</a:t>
            </a:r>
            <a:r>
              <a:rPr lang="de-DE" dirty="0"/>
              <a:t> do </a:t>
            </a:r>
            <a:r>
              <a:rPr lang="de-DE" dirty="0" err="1"/>
              <a:t>almost</a:t>
            </a:r>
            <a:r>
              <a:rPr lang="de-DE" dirty="0"/>
              <a:t> half </a:t>
            </a:r>
            <a:r>
              <a:rPr lang="de-DE" dirty="0" err="1"/>
              <a:t>of</a:t>
            </a:r>
            <a:r>
              <a:rPr lang="de-DE" dirty="0"/>
              <a:t> </a:t>
            </a:r>
            <a:r>
              <a:rPr lang="de-DE" dirty="0" err="1"/>
              <a:t>our</a:t>
            </a:r>
            <a:r>
              <a:rPr lang="de-DE" dirty="0"/>
              <a:t> </a:t>
            </a:r>
            <a:r>
              <a:rPr lang="de-DE" dirty="0" err="1"/>
              <a:t>yearly</a:t>
            </a:r>
            <a:r>
              <a:rPr lang="de-DE" dirty="0"/>
              <a:t> digital </a:t>
            </a:r>
            <a:r>
              <a:rPr lang="de-DE" dirty="0" err="1"/>
              <a:t>revenues</a:t>
            </a:r>
            <a:r>
              <a:rPr lang="de-DE" dirty="0"/>
              <a:t>.</a:t>
            </a:r>
          </a:p>
          <a:p>
            <a:endParaRPr lang="de-DE" dirty="0"/>
          </a:p>
          <a:p>
            <a:r>
              <a:rPr lang="de-DE" dirty="0" err="1"/>
              <a:t>We</a:t>
            </a:r>
            <a:r>
              <a:rPr lang="de-DE" dirty="0"/>
              <a:t> </a:t>
            </a:r>
            <a:r>
              <a:rPr lang="de-DE" dirty="0" err="1"/>
              <a:t>had</a:t>
            </a:r>
            <a:r>
              <a:rPr lang="de-DE" dirty="0"/>
              <a:t>, </a:t>
            </a:r>
            <a:r>
              <a:rPr lang="de-DE" dirty="0" err="1"/>
              <a:t>with</a:t>
            </a:r>
            <a:r>
              <a:rPr lang="de-DE" dirty="0"/>
              <a:t> all </a:t>
            </a:r>
            <a:r>
              <a:rPr lang="de-DE" dirty="0" err="1"/>
              <a:t>the</a:t>
            </a:r>
            <a:r>
              <a:rPr lang="de-DE" dirty="0"/>
              <a:t> </a:t>
            </a:r>
            <a:r>
              <a:rPr lang="de-DE" dirty="0" err="1"/>
              <a:t>pain</a:t>
            </a:r>
            <a:r>
              <a:rPr lang="de-DE" dirty="0"/>
              <a:t> </a:t>
            </a:r>
            <a:r>
              <a:rPr lang="de-DE" dirty="0" err="1"/>
              <a:t>of</a:t>
            </a:r>
            <a:r>
              <a:rPr lang="de-DE" dirty="0"/>
              <a:t> </a:t>
            </a:r>
            <a:r>
              <a:rPr lang="de-DE" dirty="0" err="1"/>
              <a:t>my</a:t>
            </a:r>
            <a:r>
              <a:rPr lang="de-DE" dirty="0"/>
              <a:t> </a:t>
            </a:r>
            <a:r>
              <a:rPr lang="de-DE" dirty="0" err="1"/>
              <a:t>heart</a:t>
            </a:r>
            <a:r>
              <a:rPr lang="de-DE" dirty="0"/>
              <a:t>, </a:t>
            </a:r>
            <a:r>
              <a:rPr lang="de-DE" dirty="0" err="1"/>
              <a:t>to</a:t>
            </a:r>
            <a:r>
              <a:rPr lang="de-DE" dirty="0"/>
              <a:t> bring 3 VPs </a:t>
            </a:r>
            <a:r>
              <a:rPr lang="de-DE" dirty="0" err="1"/>
              <a:t>into</a:t>
            </a:r>
            <a:r>
              <a:rPr lang="de-DE" dirty="0"/>
              <a:t> a </a:t>
            </a:r>
            <a:r>
              <a:rPr lang="de-DE" dirty="0" err="1"/>
              <a:t>room</a:t>
            </a:r>
            <a:r>
              <a:rPr lang="de-DE" dirty="0"/>
              <a:t> </a:t>
            </a:r>
            <a:r>
              <a:rPr lang="de-DE" dirty="0" err="1"/>
              <a:t>for</a:t>
            </a:r>
            <a:r>
              <a:rPr lang="de-DE" dirty="0"/>
              <a:t> </a:t>
            </a:r>
            <a:r>
              <a:rPr lang="de-DE" dirty="0" err="1"/>
              <a:t>every</a:t>
            </a:r>
            <a:r>
              <a:rPr lang="de-DE" dirty="0"/>
              <a:t> </a:t>
            </a:r>
            <a:r>
              <a:rPr lang="de-DE" dirty="0" err="1"/>
              <a:t>change</a:t>
            </a:r>
            <a:r>
              <a:rPr lang="de-DE" dirty="0"/>
              <a:t> </a:t>
            </a:r>
            <a:r>
              <a:rPr lang="de-DE" dirty="0" err="1"/>
              <a:t>or</a:t>
            </a:r>
            <a:r>
              <a:rPr lang="de-DE" dirty="0"/>
              <a:t> </a:t>
            </a:r>
            <a:r>
              <a:rPr lang="de-DE" dirty="0" err="1"/>
              <a:t>release</a:t>
            </a:r>
            <a:r>
              <a:rPr lang="de-DE" dirty="0"/>
              <a:t> </a:t>
            </a:r>
            <a:r>
              <a:rPr lang="de-DE" dirty="0" err="1"/>
              <a:t>during</a:t>
            </a:r>
            <a:r>
              <a:rPr lang="de-DE" dirty="0"/>
              <a:t> 2 </a:t>
            </a:r>
            <a:r>
              <a:rPr lang="de-DE" dirty="0" err="1"/>
              <a:t>months</a:t>
            </a:r>
            <a:r>
              <a:rPr lang="de-DE" dirty="0"/>
              <a:t>.  </a:t>
            </a:r>
            <a:r>
              <a:rPr lang="de-DE" dirty="0" err="1"/>
              <a:t>Definitely</a:t>
            </a:r>
            <a:r>
              <a:rPr lang="de-DE" dirty="0"/>
              <a:t> not </a:t>
            </a:r>
            <a:r>
              <a:rPr lang="de-DE" dirty="0" err="1"/>
              <a:t>the</a:t>
            </a:r>
            <a:r>
              <a:rPr lang="de-DE" dirty="0"/>
              <a:t> </a:t>
            </a:r>
            <a:r>
              <a:rPr lang="de-DE" dirty="0" err="1"/>
              <a:t>best</a:t>
            </a:r>
            <a:r>
              <a:rPr lang="de-DE" dirty="0"/>
              <a:t> </a:t>
            </a:r>
            <a:r>
              <a:rPr lang="de-DE" dirty="0" err="1"/>
              <a:t>option</a:t>
            </a:r>
            <a:r>
              <a:rPr lang="de-DE" dirty="0"/>
              <a:t> </a:t>
            </a:r>
            <a:r>
              <a:rPr lang="de-DE" dirty="0" err="1"/>
              <a:t>by</a:t>
            </a:r>
            <a:r>
              <a:rPr lang="de-DE" dirty="0"/>
              <a:t> </a:t>
            </a:r>
            <a:r>
              <a:rPr lang="de-DE" dirty="0" err="1"/>
              <a:t>the</a:t>
            </a:r>
            <a:r>
              <a:rPr lang="de-DE" dirty="0"/>
              <a:t> </a:t>
            </a:r>
            <a:r>
              <a:rPr lang="de-DE" dirty="0" err="1"/>
              <a:t>book</a:t>
            </a:r>
            <a:r>
              <a:rPr lang="de-DE" dirty="0"/>
              <a:t>.  </a:t>
            </a:r>
          </a:p>
          <a:p>
            <a:endParaRPr lang="de-DE" dirty="0"/>
          </a:p>
          <a:p>
            <a:r>
              <a:rPr lang="de-DE" dirty="0"/>
              <a:t>I was </a:t>
            </a:r>
            <a:r>
              <a:rPr lang="de-DE" dirty="0" err="1"/>
              <a:t>one</a:t>
            </a:r>
            <a:r>
              <a:rPr lang="de-DE" dirty="0"/>
              <a:t> </a:t>
            </a:r>
            <a:r>
              <a:rPr lang="de-DE" dirty="0" err="1"/>
              <a:t>of</a:t>
            </a:r>
            <a:r>
              <a:rPr lang="de-DE" dirty="0"/>
              <a:t> </a:t>
            </a:r>
            <a:r>
              <a:rPr lang="de-DE" dirty="0" err="1"/>
              <a:t>them</a:t>
            </a:r>
            <a:r>
              <a:rPr lang="de-DE" dirty="0"/>
              <a:t>, </a:t>
            </a:r>
            <a:r>
              <a:rPr lang="de-DE" dirty="0" err="1"/>
              <a:t>and</a:t>
            </a:r>
            <a:r>
              <a:rPr lang="de-DE" dirty="0"/>
              <a:t> I </a:t>
            </a:r>
            <a:r>
              <a:rPr lang="de-DE" dirty="0" err="1"/>
              <a:t>can</a:t>
            </a:r>
            <a:r>
              <a:rPr lang="de-DE" dirty="0"/>
              <a:t> </a:t>
            </a:r>
            <a:r>
              <a:rPr lang="de-DE" dirty="0" err="1"/>
              <a:t>tell</a:t>
            </a:r>
            <a:r>
              <a:rPr lang="de-DE" dirty="0"/>
              <a:t> </a:t>
            </a:r>
            <a:r>
              <a:rPr lang="de-DE" dirty="0" err="1"/>
              <a:t>you</a:t>
            </a:r>
            <a:r>
              <a:rPr lang="de-DE" dirty="0"/>
              <a:t> </a:t>
            </a:r>
            <a:r>
              <a:rPr lang="de-DE" dirty="0" err="1"/>
              <a:t>how</a:t>
            </a:r>
            <a:r>
              <a:rPr lang="de-DE" dirty="0"/>
              <a:t> </a:t>
            </a:r>
            <a:r>
              <a:rPr lang="de-DE" dirty="0" err="1"/>
              <a:t>clueless</a:t>
            </a:r>
            <a:r>
              <a:rPr lang="de-DE" dirty="0"/>
              <a:t> </a:t>
            </a:r>
            <a:r>
              <a:rPr lang="de-DE" dirty="0" err="1"/>
              <a:t>we</a:t>
            </a:r>
            <a:r>
              <a:rPr lang="de-DE" dirty="0"/>
              <a:t> </a:t>
            </a:r>
            <a:r>
              <a:rPr lang="de-DE" dirty="0" err="1"/>
              <a:t>could</a:t>
            </a:r>
            <a:r>
              <a:rPr lang="de-DE" dirty="0"/>
              <a:t> </a:t>
            </a:r>
            <a:r>
              <a:rPr lang="de-DE" dirty="0" err="1"/>
              <a:t>be</a:t>
            </a:r>
            <a:r>
              <a:rPr lang="de-DE" dirty="0"/>
              <a:t> on </a:t>
            </a:r>
            <a:r>
              <a:rPr lang="de-DE" dirty="0" err="1"/>
              <a:t>some</a:t>
            </a:r>
            <a:r>
              <a:rPr lang="de-DE" dirty="0"/>
              <a:t> </a:t>
            </a:r>
            <a:r>
              <a:rPr lang="de-DE" dirty="0" err="1"/>
              <a:t>of</a:t>
            </a:r>
            <a:r>
              <a:rPr lang="de-DE" dirty="0"/>
              <a:t> </a:t>
            </a:r>
            <a:r>
              <a:rPr lang="de-DE" dirty="0" err="1"/>
              <a:t>the</a:t>
            </a:r>
            <a:r>
              <a:rPr lang="de-DE" dirty="0"/>
              <a:t> </a:t>
            </a:r>
            <a:r>
              <a:rPr lang="de-DE" dirty="0" err="1"/>
              <a:t>details</a:t>
            </a:r>
            <a:r>
              <a:rPr lang="de-DE" dirty="0"/>
              <a:t>…</a:t>
            </a:r>
          </a:p>
          <a:p>
            <a:endParaRPr lang="de-DE" dirty="0"/>
          </a:p>
          <a:p>
            <a:r>
              <a:rPr lang="de-DE" dirty="0"/>
              <a:t>But at </a:t>
            </a:r>
            <a:r>
              <a:rPr lang="de-DE" dirty="0" err="1"/>
              <a:t>the</a:t>
            </a:r>
            <a:r>
              <a:rPr lang="de-DE" dirty="0"/>
              <a:t> end… </a:t>
            </a:r>
            <a:r>
              <a:rPr lang="de-DE" dirty="0" err="1"/>
              <a:t>the</a:t>
            </a:r>
            <a:r>
              <a:rPr lang="de-DE" dirty="0"/>
              <a:t> </a:t>
            </a:r>
            <a:r>
              <a:rPr lang="de-DE" dirty="0" err="1"/>
              <a:t>peak</a:t>
            </a:r>
            <a:r>
              <a:rPr lang="de-DE" dirty="0"/>
              <a:t> </a:t>
            </a:r>
            <a:r>
              <a:rPr lang="de-DE" dirty="0" err="1"/>
              <a:t>period</a:t>
            </a:r>
            <a:r>
              <a:rPr lang="de-DE" dirty="0"/>
              <a:t> was a </a:t>
            </a:r>
            <a:r>
              <a:rPr lang="de-DE" dirty="0" err="1"/>
              <a:t>success</a:t>
            </a:r>
            <a:r>
              <a:rPr lang="de-DE" dirty="0"/>
              <a:t> </a:t>
            </a:r>
            <a:r>
              <a:rPr lang="de-DE" dirty="0" err="1"/>
              <a:t>and</a:t>
            </a:r>
            <a:r>
              <a:rPr lang="de-DE" dirty="0"/>
              <a:t> </a:t>
            </a:r>
            <a:r>
              <a:rPr lang="de-DE" dirty="0" err="1"/>
              <a:t>the</a:t>
            </a:r>
            <a:r>
              <a:rPr lang="de-DE" dirty="0"/>
              <a:t> </a:t>
            </a:r>
            <a:r>
              <a:rPr lang="de-DE" dirty="0" err="1"/>
              <a:t>beginning</a:t>
            </a:r>
            <a:r>
              <a:rPr lang="de-DE" dirty="0"/>
              <a:t> </a:t>
            </a:r>
            <a:r>
              <a:rPr lang="de-DE" dirty="0" err="1"/>
              <a:t>of</a:t>
            </a:r>
            <a:r>
              <a:rPr lang="de-DE" dirty="0"/>
              <a:t> a </a:t>
            </a:r>
            <a:r>
              <a:rPr lang="de-DE" dirty="0" err="1"/>
              <a:t>new</a:t>
            </a:r>
            <a:r>
              <a:rPr lang="de-DE" dirty="0"/>
              <a:t> </a:t>
            </a:r>
            <a:r>
              <a:rPr lang="de-DE" dirty="0" err="1"/>
              <a:t>wave</a:t>
            </a:r>
            <a:r>
              <a:rPr lang="de-DE" dirty="0"/>
              <a:t> </a:t>
            </a:r>
            <a:r>
              <a:rPr lang="de-DE" dirty="0" err="1"/>
              <a:t>of</a:t>
            </a:r>
            <a:r>
              <a:rPr lang="de-DE" dirty="0"/>
              <a:t> </a:t>
            </a:r>
            <a:r>
              <a:rPr lang="de-DE" dirty="0" err="1"/>
              <a:t>operations</a:t>
            </a:r>
            <a:r>
              <a:rPr lang="de-DE" dirty="0"/>
              <a:t> </a:t>
            </a:r>
            <a:r>
              <a:rPr lang="de-DE" dirty="0" err="1"/>
              <a:t>and</a:t>
            </a:r>
            <a:r>
              <a:rPr lang="de-DE" dirty="0"/>
              <a:t> </a:t>
            </a:r>
            <a:r>
              <a:rPr lang="de-DE" dirty="0" err="1"/>
              <a:t>release</a:t>
            </a:r>
            <a:r>
              <a:rPr lang="de-DE" dirty="0"/>
              <a:t> </a:t>
            </a:r>
            <a:r>
              <a:rPr lang="de-DE" dirty="0" err="1"/>
              <a:t>management</a:t>
            </a:r>
            <a:r>
              <a:rPr lang="de-DE" dirty="0"/>
              <a:t> </a:t>
            </a:r>
            <a:r>
              <a:rPr lang="de-DE" dirty="0" err="1"/>
              <a:t>for</a:t>
            </a:r>
            <a:r>
              <a:rPr lang="de-DE" dirty="0"/>
              <a:t> adidas.</a:t>
            </a:r>
          </a:p>
          <a:p>
            <a:endParaRPr lang="de-DE" dirty="0"/>
          </a:p>
          <a:p>
            <a:r>
              <a:rPr lang="de-DE" dirty="0" err="1"/>
              <a:t>For</a:t>
            </a:r>
            <a:r>
              <a:rPr lang="de-DE" dirty="0"/>
              <a:t> </a:t>
            </a:r>
            <a:r>
              <a:rPr lang="de-DE" dirty="0" err="1"/>
              <a:t>that</a:t>
            </a:r>
            <a:r>
              <a:rPr lang="de-DE" dirty="0"/>
              <a:t>, </a:t>
            </a:r>
            <a:r>
              <a:rPr lang="de-DE" dirty="0" err="1"/>
              <a:t>Vikalp</a:t>
            </a:r>
            <a:r>
              <a:rPr lang="de-DE" dirty="0"/>
              <a:t> </a:t>
            </a:r>
            <a:r>
              <a:rPr lang="de-DE" dirty="0" err="1"/>
              <a:t>and</a:t>
            </a:r>
            <a:r>
              <a:rPr lang="de-DE" dirty="0"/>
              <a:t> </a:t>
            </a:r>
            <a:r>
              <a:rPr lang="de-DE" dirty="0" err="1"/>
              <a:t>Andreia</a:t>
            </a:r>
            <a:r>
              <a:rPr lang="de-DE" dirty="0"/>
              <a:t> will </a:t>
            </a:r>
            <a:r>
              <a:rPr lang="de-DE" dirty="0" err="1"/>
              <a:t>give</a:t>
            </a:r>
            <a:r>
              <a:rPr lang="de-DE" dirty="0"/>
              <a:t> </a:t>
            </a:r>
            <a:r>
              <a:rPr lang="de-DE" dirty="0" err="1"/>
              <a:t>you</a:t>
            </a:r>
            <a:r>
              <a:rPr lang="de-DE" dirty="0"/>
              <a:t> </a:t>
            </a:r>
            <a:r>
              <a:rPr lang="de-DE" dirty="0" err="1"/>
              <a:t>some</a:t>
            </a:r>
            <a:r>
              <a:rPr lang="de-DE" dirty="0"/>
              <a:t> </a:t>
            </a:r>
            <a:r>
              <a:rPr lang="de-DE" dirty="0" err="1"/>
              <a:t>details</a:t>
            </a:r>
            <a:r>
              <a:rPr lang="de-DE" dirty="0"/>
              <a:t>.</a:t>
            </a:r>
          </a:p>
          <a:p>
            <a:endParaRPr lang="de-DE" dirty="0"/>
          </a:p>
        </p:txBody>
      </p:sp>
    </p:spTree>
    <p:extLst>
      <p:ext uri="{BB962C8B-B14F-4D97-AF65-F5344CB8AC3E}">
        <p14:creationId xmlns:p14="http://schemas.microsoft.com/office/powerpoint/2010/main" val="21615058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ink to it’s not only my system, but all the environment message Fernando shared at </a:t>
            </a:r>
            <a:r>
              <a:rPr lang="en-US" sz="1200" kern="1200">
                <a:solidFill>
                  <a:schemeClr val="tx1"/>
                </a:solidFill>
                <a:effectLst/>
                <a:latin typeface="+mn-lt"/>
                <a:ea typeface="+mn-ea"/>
                <a:cs typeface="+mn-cs"/>
              </a:rPr>
              <a:t>the beginning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y now you all know how our ecosystem grew and release became complex, not because of the system themselves, but because of the environment. We have now many different systems that interconnect and in order to release something many checks need to be validated.</a:t>
            </a:r>
          </a:p>
          <a:p>
            <a:endParaRPr lang="en-US" dirty="0"/>
          </a:p>
          <a:p>
            <a:r>
              <a:rPr lang="en-US" dirty="0"/>
              <a:t>This is release fitness, where teams can buy freedom for the product through affordable governance and focus on value stream stability.</a:t>
            </a:r>
          </a:p>
        </p:txBody>
      </p:sp>
      <p:sp>
        <p:nvSpPr>
          <p:cNvPr id="4" name="Slide Number Placeholder 3"/>
          <p:cNvSpPr>
            <a:spLocks noGrp="1"/>
          </p:cNvSpPr>
          <p:nvPr>
            <p:ph type="sldNum" sz="quarter" idx="5"/>
          </p:nvPr>
        </p:nvSpPr>
        <p:spPr/>
        <p:txBody>
          <a:bodyPr/>
          <a:lstStyle/>
          <a:p>
            <a:fld id="{D425F666-12C3-4DC1-94F4-9928DB7E1120}" type="slidenum">
              <a:rPr lang="en-US" smtClean="0"/>
              <a:t>17</a:t>
            </a:fld>
            <a:endParaRPr lang="en-US"/>
          </a:p>
        </p:txBody>
      </p:sp>
    </p:spTree>
    <p:extLst>
      <p:ext uri="{BB962C8B-B14F-4D97-AF65-F5344CB8AC3E}">
        <p14:creationId xmlns:p14="http://schemas.microsoft.com/office/powerpoint/2010/main" val="19715857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ack in November, Imagine 3 VPs in a room, how expensive, time consuming and boring this process was?! </a:t>
            </a:r>
          </a:p>
          <a:p>
            <a:r>
              <a:rPr lang="en-US" sz="1200" kern="1200" dirty="0">
                <a:solidFill>
                  <a:schemeClr val="tx1"/>
                </a:solidFill>
                <a:effectLst/>
                <a:latin typeface="+mn-lt"/>
                <a:ea typeface="+mn-ea"/>
                <a:cs typeface="+mn-cs"/>
              </a:rPr>
              <a:t>Ok, then we worked on the process together with the product teams and then handed over an excel with them with all the checks they need to mark before release. Now imagine we have quite fast paced teams working to release daily, when they received the new process and from now on they have to manually check everything and update the excel. Of course nobody liked, but what if we can automate all the communication, most of the checks and have one single signal as a combination of all KPIs / factors?</a:t>
            </a:r>
          </a:p>
          <a:p>
            <a:r>
              <a:rPr lang="en-US" sz="1200" kern="1200" dirty="0">
                <a:solidFill>
                  <a:schemeClr val="tx1"/>
                </a:solidFill>
                <a:effectLst/>
                <a:latin typeface="+mn-lt"/>
                <a:ea typeface="+mn-ea"/>
                <a:cs typeface="+mn-cs"/>
              </a:rPr>
              <a:t>It’s release fitness</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One single signal, go or no go, created as a combination of all factors to be used automated in production release pipelines!</a:t>
            </a:r>
          </a:p>
          <a:p>
            <a:endParaRPr lang="en-US" dirty="0"/>
          </a:p>
        </p:txBody>
      </p:sp>
      <p:sp>
        <p:nvSpPr>
          <p:cNvPr id="4" name="Slide Number Placeholder 3"/>
          <p:cNvSpPr>
            <a:spLocks noGrp="1"/>
          </p:cNvSpPr>
          <p:nvPr>
            <p:ph type="sldNum" sz="quarter" idx="5"/>
          </p:nvPr>
        </p:nvSpPr>
        <p:spPr/>
        <p:txBody>
          <a:bodyPr/>
          <a:lstStyle/>
          <a:p>
            <a:fld id="{D425F666-12C3-4DC1-94F4-9928DB7E1120}" type="slidenum">
              <a:rPr lang="en-US" smtClean="0"/>
              <a:t>19</a:t>
            </a:fld>
            <a:endParaRPr lang="en-US"/>
          </a:p>
        </p:txBody>
      </p:sp>
    </p:spTree>
    <p:extLst>
      <p:ext uri="{BB962C8B-B14F-4D97-AF65-F5344CB8AC3E}">
        <p14:creationId xmlns:p14="http://schemas.microsoft.com/office/powerpoint/2010/main" val="36222028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 what can go wrong</a:t>
            </a:r>
          </a:p>
          <a:p>
            <a:r>
              <a:rPr lang="en-US" dirty="0"/>
              <a:t>Cognitive load – get reduced a lot</a:t>
            </a:r>
          </a:p>
          <a:p>
            <a:r>
              <a:rPr lang="en-US" dirty="0"/>
              <a:t>Link number to developers</a:t>
            </a:r>
          </a:p>
          <a:p>
            <a:endParaRPr lang="en-US" dirty="0"/>
          </a:p>
          <a:p>
            <a:r>
              <a:rPr lang="en-US" dirty="0" err="1"/>
              <a:t>Annalogy</a:t>
            </a:r>
            <a:r>
              <a:rPr lang="en-US" dirty="0"/>
              <a:t> – bonus – 3 dimensions / your / department / industry</a:t>
            </a:r>
          </a:p>
          <a:p>
            <a:r>
              <a:rPr lang="en-US" dirty="0"/>
              <a:t>My own product </a:t>
            </a:r>
          </a:p>
          <a:p>
            <a:r>
              <a:rPr lang="en-US" dirty="0"/>
              <a:t>Explain value stream at adidas – checkout value stream </a:t>
            </a:r>
          </a:p>
          <a:p>
            <a:r>
              <a:rPr lang="en-US" dirty="0"/>
              <a:t>Environment</a:t>
            </a:r>
          </a:p>
          <a:p>
            <a:endParaRPr lang="en-US" dirty="0"/>
          </a:p>
          <a:p>
            <a:r>
              <a:rPr lang="en-US" dirty="0"/>
              <a:t>Next steps -&gt; We are rolling out to other areas</a:t>
            </a:r>
          </a:p>
          <a:p>
            <a:endParaRPr lang="en-US" dirty="0"/>
          </a:p>
          <a:p>
            <a:r>
              <a:rPr lang="en-US" dirty="0"/>
              <a:t>Handover to Fernando</a:t>
            </a:r>
          </a:p>
          <a:p>
            <a:endParaRPr lang="en-US" dirty="0"/>
          </a:p>
        </p:txBody>
      </p:sp>
      <p:sp>
        <p:nvSpPr>
          <p:cNvPr id="4" name="Slide Number Placeholder 3"/>
          <p:cNvSpPr>
            <a:spLocks noGrp="1"/>
          </p:cNvSpPr>
          <p:nvPr>
            <p:ph type="sldNum" sz="quarter" idx="5"/>
          </p:nvPr>
        </p:nvSpPr>
        <p:spPr/>
        <p:txBody>
          <a:bodyPr/>
          <a:lstStyle/>
          <a:p>
            <a:fld id="{D425F666-12C3-4DC1-94F4-9928DB7E1120}" type="slidenum">
              <a:rPr lang="en-US" smtClean="0"/>
              <a:t>20</a:t>
            </a:fld>
            <a:endParaRPr lang="en-US"/>
          </a:p>
        </p:txBody>
      </p:sp>
    </p:spTree>
    <p:extLst>
      <p:ext uri="{BB962C8B-B14F-4D97-AF65-F5344CB8AC3E}">
        <p14:creationId xmlns:p14="http://schemas.microsoft.com/office/powerpoint/2010/main" val="2603572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anks a lot Vikalp and Andreia. This is fantastic and taking us to the next level definitely. </a:t>
            </a:r>
          </a:p>
          <a:p>
            <a:endParaRPr lang="en-DE" dirty="0"/>
          </a:p>
          <a:p>
            <a:r>
              <a:rPr lang="en-DE" dirty="0"/>
              <a:t>I personally love systems that self-adjust and regulate.  Like in this case:</a:t>
            </a:r>
          </a:p>
          <a:p>
            <a:pPr marL="171450" indent="-171450">
              <a:buFontTx/>
              <a:buChar char="-"/>
            </a:pPr>
            <a:r>
              <a:rPr lang="en-GB" dirty="0"/>
              <a:t>O</a:t>
            </a:r>
            <a:r>
              <a:rPr lang="en-DE" dirty="0"/>
              <a:t>n one hand having strict release guidelines </a:t>
            </a:r>
          </a:p>
          <a:p>
            <a:pPr marL="171450" indent="-171450">
              <a:buFontTx/>
              <a:buChar char="-"/>
            </a:pPr>
            <a:r>
              <a:rPr lang="en-DE" dirty="0"/>
              <a:t>On the other having automated fitness checks and error budgets telling every engineer when can or cannot deploy</a:t>
            </a:r>
          </a:p>
          <a:p>
            <a:endParaRPr lang="en-DE" dirty="0"/>
          </a:p>
          <a:p>
            <a:r>
              <a:rPr lang="en-DE" dirty="0"/>
              <a:t>I just want to close with a reflection than Gene asked me…. </a:t>
            </a:r>
            <a:r>
              <a:rPr lang="en-GB" dirty="0"/>
              <a:t>W</a:t>
            </a:r>
            <a:r>
              <a:rPr lang="en-DE" dirty="0"/>
              <a:t>hy adidas keeps coming every year to the DevOps Enterprise if we are at the forefront?</a:t>
            </a:r>
          </a:p>
          <a:p>
            <a:endParaRPr lang="en-DE" dirty="0"/>
          </a:p>
          <a:p>
            <a:r>
              <a:rPr lang="en-DE" dirty="0"/>
              <a:t>For me, it’s definitely:</a:t>
            </a:r>
          </a:p>
          <a:p>
            <a:pPr marL="171450" indent="-171450">
              <a:buFontTx/>
              <a:buChar char="-"/>
            </a:pPr>
            <a:r>
              <a:rPr lang="en-DE" dirty="0"/>
              <a:t>Reflecting the yearly progress, learning by teaching the things you do well</a:t>
            </a:r>
          </a:p>
          <a:p>
            <a:pPr marL="171450" indent="-171450">
              <a:buFontTx/>
              <a:buChar char="-"/>
            </a:pPr>
            <a:r>
              <a:rPr lang="en-DE" dirty="0"/>
              <a:t>Learning from others, things they do better</a:t>
            </a:r>
          </a:p>
          <a:p>
            <a:pPr marL="171450" indent="-171450">
              <a:buFontTx/>
              <a:buChar char="-"/>
            </a:pPr>
            <a:r>
              <a:rPr lang="en-DE" dirty="0"/>
              <a:t>Being close to the community, Jason Cox, Jon Smart, Matthew Skelton, Mik Kersten… our colleagues from Jaguar, BMW…</a:t>
            </a:r>
          </a:p>
          <a:p>
            <a:pPr marL="171450" indent="-171450">
              <a:buFontTx/>
              <a:buChar char="-"/>
            </a:pPr>
            <a:r>
              <a:rPr lang="en-DE" dirty="0"/>
              <a:t>And new people reaching us after each talk or Youtube visualization</a:t>
            </a:r>
          </a:p>
          <a:p>
            <a:pPr marL="171450" indent="-171450">
              <a:buFontTx/>
              <a:buChar char="-"/>
            </a:pPr>
            <a:r>
              <a:rPr lang="en-DE" dirty="0"/>
              <a:t>Last but not least, on top, I have the luxury of being an early reviewer of some of the most fantastic books on ITRevolution</a:t>
            </a:r>
          </a:p>
          <a:p>
            <a:pPr marL="171450" indent="-171450">
              <a:buFontTx/>
              <a:buChar char="-"/>
            </a:pPr>
            <a:endParaRPr lang="en-DE" dirty="0"/>
          </a:p>
          <a:p>
            <a:pPr marL="0" indent="0">
              <a:buFontTx/>
              <a:buNone/>
            </a:pPr>
            <a:r>
              <a:rPr lang="en-DE" dirty="0"/>
              <a:t>So, I have no doubt I’ll be back next year.  Hope you enjoyed as much as I did!</a:t>
            </a:r>
          </a:p>
        </p:txBody>
      </p:sp>
      <p:sp>
        <p:nvSpPr>
          <p:cNvPr id="4" name="Slide Number Placeholder 3"/>
          <p:cNvSpPr>
            <a:spLocks noGrp="1"/>
          </p:cNvSpPr>
          <p:nvPr>
            <p:ph type="sldNum" sz="quarter" idx="5"/>
          </p:nvPr>
        </p:nvSpPr>
        <p:spPr/>
        <p:txBody>
          <a:bodyPr/>
          <a:lstStyle/>
          <a:p>
            <a:fld id="{D425F666-12C3-4DC1-94F4-9928DB7E1120}" type="slidenum">
              <a:rPr lang="en-US" smtClean="0"/>
              <a:t>21</a:t>
            </a:fld>
            <a:endParaRPr lang="en-US"/>
          </a:p>
        </p:txBody>
      </p:sp>
    </p:spTree>
    <p:extLst>
      <p:ext uri="{BB962C8B-B14F-4D97-AF65-F5344CB8AC3E}">
        <p14:creationId xmlns:p14="http://schemas.microsoft.com/office/powerpoint/2010/main" val="1756618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sz="1800" dirty="0">
                <a:effectLst/>
                <a:latin typeface="Calibri" panose="020F0502020204030204" pitchFamily="34" charset="0"/>
                <a:ea typeface="SimSun" panose="02010600030101010101" pitchFamily="2" charset="-122"/>
                <a:cs typeface="Calibri" panose="020F0502020204030204" pitchFamily="34" charset="0"/>
              </a:rPr>
              <a:t>Well, let’s start from where we are coming from…</a:t>
            </a:r>
          </a:p>
          <a:p>
            <a:pPr>
              <a:lnSpc>
                <a:spcPct val="115000"/>
              </a:lnSpc>
              <a:spcAft>
                <a:spcPts val="1000"/>
              </a:spcAft>
            </a:pPr>
            <a:endParaRPr lang="en-US" sz="18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1000"/>
              </a:spcAft>
            </a:pPr>
            <a:r>
              <a:rPr lang="en-US" sz="1800" dirty="0">
                <a:effectLst/>
                <a:latin typeface="Calibri" panose="020F0502020204030204" pitchFamily="34" charset="0"/>
                <a:ea typeface="SimSun" panose="02010600030101010101" pitchFamily="2" charset="-122"/>
                <a:cs typeface="Calibri" panose="020F0502020204030204" pitchFamily="34" charset="0"/>
              </a:rPr>
              <a:t>We had 4 record years between 2016 and 2019: the relentless execution of Creating the New, our former strategy, delivered exceptional brand momentum and financial results. </a:t>
            </a:r>
            <a:endParaRPr lang="en-US" sz="1800" dirty="0">
              <a:effectLst/>
              <a:latin typeface="Calibri" panose="020F0502020204030204" pitchFamily="34" charset="0"/>
              <a:ea typeface="SimSun" panose="02010600030101010101" pitchFamily="2" charset="-122"/>
              <a:cs typeface="Times New Roman" panose="02020603050405020304" pitchFamily="18" charset="0"/>
            </a:endParaRPr>
          </a:p>
          <a:p>
            <a:pPr>
              <a:lnSpc>
                <a:spcPct val="115000"/>
              </a:lnSpc>
              <a:spcAft>
                <a:spcPts val="1000"/>
              </a:spcAft>
            </a:pPr>
            <a:endParaRPr lang="en-US" sz="18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1000"/>
              </a:spcAft>
            </a:pPr>
            <a:r>
              <a:rPr lang="en-US" sz="1800" dirty="0">
                <a:effectLst/>
                <a:latin typeface="Calibri" panose="020F0502020204030204" pitchFamily="34" charset="0"/>
                <a:ea typeface="SimSun" panose="02010600030101010101" pitchFamily="2" charset="-122"/>
                <a:cs typeface="Calibri" panose="020F0502020204030204" pitchFamily="34" charset="0"/>
              </a:rPr>
              <a:t>Then, 2020 allowed us to prove our resilience and prepare for the future -despite all the unprecedented challenges Covid-19 threw at us.</a:t>
            </a:r>
            <a:endParaRPr lang="en-US" sz="1800" dirty="0">
              <a:effectLst/>
              <a:latin typeface="Calibri" panose="020F0502020204030204" pitchFamily="34" charset="0"/>
              <a:ea typeface="SimSun" panose="02010600030101010101" pitchFamily="2" charset="-122"/>
              <a:cs typeface="Times New Roman" panose="02020603050405020304" pitchFamily="18" charset="0"/>
            </a:endParaRPr>
          </a:p>
          <a:p>
            <a:pPr>
              <a:lnSpc>
                <a:spcPct val="115000"/>
              </a:lnSpc>
              <a:spcAft>
                <a:spcPts val="1000"/>
              </a:spcAft>
            </a:pPr>
            <a:endParaRPr lang="en-US" sz="18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1000"/>
              </a:spcAft>
            </a:pPr>
            <a:r>
              <a:rPr lang="en-US" sz="1800" dirty="0">
                <a:effectLst/>
                <a:latin typeface="Calibri" panose="020F0502020204030204" pitchFamily="34" charset="0"/>
                <a:ea typeface="SimSun" panose="02010600030101010101" pitchFamily="2" charset="-122"/>
                <a:cs typeface="Calibri" panose="020F0502020204030204" pitchFamily="34" charset="0"/>
              </a:rPr>
              <a:t>It was also a year that accelerated structural trends in our industry, making the sporting goods market even more attractive.</a:t>
            </a:r>
          </a:p>
          <a:p>
            <a:pPr>
              <a:lnSpc>
                <a:spcPct val="115000"/>
              </a:lnSpc>
              <a:spcAft>
                <a:spcPts val="1000"/>
              </a:spcAft>
            </a:pPr>
            <a:endParaRPr lang="en-US" sz="18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1000"/>
              </a:spcAft>
            </a:pPr>
            <a:r>
              <a:rPr lang="en-US" sz="1800" dirty="0">
                <a:effectLst/>
                <a:latin typeface="Calibri" panose="020F0502020204030204" pitchFamily="34" charset="0"/>
                <a:ea typeface="SimSun" panose="02010600030101010101" pitchFamily="2" charset="-122"/>
                <a:cs typeface="Calibri" panose="020F0502020204030204" pitchFamily="34" charset="0"/>
              </a:rPr>
              <a:t>2020 also was especially tough for Technology, where we had to strip down our budget more than 20% while our most demanding area, all our Direct-To-Consumer Digital Touchpoints experienced the biggest growth in our history.  An area moving from 500M revenue in 2015 to more than 4Billion in 2021 and 9Billion target in 2025.</a:t>
            </a:r>
          </a:p>
          <a:p>
            <a:pPr>
              <a:lnSpc>
                <a:spcPct val="115000"/>
              </a:lnSpc>
              <a:spcAft>
                <a:spcPts val="1000"/>
              </a:spcAft>
            </a:pPr>
            <a:endParaRPr lang="en-US" sz="18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1000"/>
              </a:spcAft>
            </a:pPr>
            <a:r>
              <a:rPr lang="en-US" sz="1800" dirty="0">
                <a:effectLst/>
                <a:latin typeface="Calibri" panose="020F0502020204030204" pitchFamily="34" charset="0"/>
                <a:ea typeface="SimSun" panose="02010600030101010101" pitchFamily="2" charset="-122"/>
                <a:cs typeface="Calibri" panose="020F0502020204030204" pitchFamily="34" charset="0"/>
              </a:rPr>
              <a:t>It was also a year without a CIO.  That situation forced all the Tech Management team including myself to move towards Value Driven conversations with our Board Members.  The final result, as you will see, it’s 3 years progress in 1 single year.</a:t>
            </a:r>
          </a:p>
        </p:txBody>
      </p:sp>
    </p:spTree>
    <p:extLst>
      <p:ext uri="{BB962C8B-B14F-4D97-AF65-F5344CB8AC3E}">
        <p14:creationId xmlns:p14="http://schemas.microsoft.com/office/powerpoint/2010/main" val="23432640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As I showed last year, our Product Domain Map is the center of every decision we do.</a:t>
            </a:r>
          </a:p>
          <a:p>
            <a:endParaRPr lang="en-DE" dirty="0"/>
          </a:p>
          <a:p>
            <a:r>
              <a:rPr lang="en-DE" dirty="0"/>
              <a:t>Last year, it was more clear than ever the differentiation between:</a:t>
            </a:r>
          </a:p>
          <a:p>
            <a:pPr marL="171450" indent="-171450">
              <a:buFontTx/>
              <a:buChar char="-"/>
            </a:pPr>
            <a:r>
              <a:rPr lang="en-DE" dirty="0"/>
              <a:t>Red Areas where we Win and differentitate from our competitions, this is where our change budget goes and where we build unique solutions with our more than 1200 Internal Engineers + our big network of extended partners</a:t>
            </a:r>
          </a:p>
          <a:p>
            <a:pPr marL="171450" indent="-171450">
              <a:buFontTx/>
              <a:buChar char="-"/>
            </a:pPr>
            <a:r>
              <a:rPr lang="en-DE" dirty="0"/>
              <a:t>Blue Areas and Grey where we compete or maximize efficiencies, where our selections are typically Renting or Buying software that helps us with our TTM and operations</a:t>
            </a:r>
          </a:p>
          <a:p>
            <a:pPr marL="171450" indent="-171450">
              <a:buFontTx/>
              <a:buChar char="-"/>
            </a:pPr>
            <a:endParaRPr lang="en-DE" dirty="0"/>
          </a:p>
          <a:p>
            <a:pPr marL="171450" indent="-171450">
              <a:buFontTx/>
              <a:buChar char="-"/>
            </a:pPr>
            <a:r>
              <a:rPr lang="en-DE" dirty="0"/>
              <a:t>CLICK</a:t>
            </a:r>
          </a:p>
          <a:p>
            <a:pPr marL="171450" indent="-171450">
              <a:buFontTx/>
              <a:buChar char="-"/>
            </a:pPr>
            <a:endParaRPr lang="en-DE" dirty="0"/>
          </a:p>
          <a:p>
            <a:pPr marL="171450" indent="-171450">
              <a:buFontTx/>
              <a:buChar char="-"/>
            </a:pPr>
            <a:r>
              <a:rPr lang="en-DE" dirty="0"/>
              <a:t>This is, as I told you before, my personal journey.  Moving from the foundations to the execution and shaping the future or our Digital Touchpoints.  Definitely the area where we should win as a Company, in our .COM, Mobile and Hype Experiences, Membership programs, fueled of course by our Consumer Analytic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5F666-12C3-4DC1-94F4-9928DB7E11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793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So, let’s deep dive in our 5-year strategy: Own the Game.</a:t>
            </a: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endParaRPr lang="en-US" sz="1200" dirty="0">
              <a:effectLst/>
              <a:latin typeface="Calibri" panose="020F0502020204030204" pitchFamily="34" charset="0"/>
              <a:ea typeface="SimSun" panose="02010600030101010101" pitchFamily="2" charset="-122"/>
              <a:cs typeface="Calibri" panose="020F0502020204030204" pitchFamily="34" charset="0"/>
            </a:endParaRP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Own the game is rooted in sport – our past, present and future. </a:t>
            </a: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endParaRPr lang="en-US" sz="1200" dirty="0">
              <a:effectLst/>
              <a:latin typeface="Calibri" panose="020F0502020204030204" pitchFamily="34" charset="0"/>
              <a:ea typeface="SimSun" panose="02010600030101010101" pitchFamily="2" charset="-122"/>
              <a:cs typeface="Calibri" panose="020F0502020204030204" pitchFamily="34" charset="0"/>
            </a:endParaRP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We own the game because we have what it takes and control our destiny in a Growing Sporting Goods Market</a:t>
            </a: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 </a:t>
            </a: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We put the consumer at the heart of everything our people do. </a:t>
            </a: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endParaRPr lang="en-US" sz="1200" dirty="0">
              <a:effectLst/>
              <a:latin typeface="Calibri" panose="020F0502020204030204" pitchFamily="34" charset="0"/>
              <a:ea typeface="SimSun" panose="02010600030101010101" pitchFamily="2" charset="-122"/>
              <a:cs typeface="Calibri" panose="020F0502020204030204" pitchFamily="34" charset="0"/>
            </a:endParaRP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Our three strategic focus areas are </a:t>
            </a:r>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to-increase brand credibility</a:t>
            </a:r>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elevate the experience for our consumer </a:t>
            </a:r>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and push the boundaries on sustainability. </a:t>
            </a: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endParaRPr lang="en-US" sz="1200" dirty="0">
              <a:effectLst/>
              <a:latin typeface="Calibri" panose="020F0502020204030204" pitchFamily="34" charset="0"/>
              <a:ea typeface="SimSun" panose="02010600030101010101" pitchFamily="2" charset="-122"/>
              <a:cs typeface="Calibri" panose="020F0502020204030204" pitchFamily="34" charset="0"/>
            </a:endParaRPr>
          </a:p>
          <a:p>
            <a:pPr marL="0" marR="0" lvl="0" indent="0" algn="l" defTabSz="919842" rtl="0" eaLnBrk="0" fontAlgn="base" latinLnBrk="0" hangingPunct="0">
              <a:lnSpc>
                <a:spcPct val="80000"/>
              </a:lnSpc>
              <a:spcBef>
                <a:spcPts val="0"/>
              </a:spcBef>
              <a:spcAft>
                <a:spcPts val="600"/>
              </a:spcAft>
              <a:buClrTx/>
              <a:buSzPct val="90000"/>
              <a:buFont typeface="Wingdings" pitchFamily="2" charset="2"/>
              <a:buNone/>
              <a:tabLst/>
              <a:defRPr/>
            </a:pPr>
            <a:r>
              <a:rPr lang="en-US" sz="1200" dirty="0">
                <a:effectLst/>
                <a:latin typeface="Calibri" panose="020F0502020204030204" pitchFamily="34" charset="0"/>
                <a:ea typeface="SimSun" panose="02010600030101010101" pitchFamily="2" charset="-122"/>
                <a:cs typeface="Calibri" panose="020F0502020204030204" pitchFamily="34" charset="0"/>
              </a:rPr>
              <a:t>Two enablers will set us up for success: innovation across the entire company and the acceleration of our digital transformation throughout our entire value chain. </a:t>
            </a:r>
          </a:p>
          <a:p>
            <a:endParaRPr lang="de-DE" dirty="0"/>
          </a:p>
          <a:p>
            <a:r>
              <a:rPr lang="de-DE" dirty="0" err="1"/>
              <a:t>Let‘s</a:t>
            </a:r>
            <a:r>
              <a:rPr lang="de-DE" dirty="0"/>
              <a:t> </a:t>
            </a:r>
            <a:r>
              <a:rPr lang="de-DE" dirty="0" err="1"/>
              <a:t>focus</a:t>
            </a:r>
            <a:r>
              <a:rPr lang="de-DE" dirty="0"/>
              <a:t> on 2 </a:t>
            </a:r>
            <a:r>
              <a:rPr lang="de-DE" dirty="0" err="1"/>
              <a:t>things</a:t>
            </a:r>
            <a:r>
              <a:rPr lang="de-DE" dirty="0"/>
              <a:t> </a:t>
            </a:r>
            <a:r>
              <a:rPr lang="de-DE" dirty="0" err="1"/>
              <a:t>today</a:t>
            </a:r>
            <a:r>
              <a:rPr lang="de-DE" dirty="0"/>
              <a:t>:</a:t>
            </a:r>
          </a:p>
          <a:p>
            <a:pPr marL="171450" indent="-171450">
              <a:buFontTx/>
              <a:buChar char="-"/>
            </a:pPr>
            <a:r>
              <a:rPr lang="de-DE" dirty="0" err="1"/>
              <a:t>Our</a:t>
            </a:r>
            <a:r>
              <a:rPr lang="de-DE" dirty="0"/>
              <a:t> </a:t>
            </a:r>
            <a:r>
              <a:rPr lang="de-DE" dirty="0" err="1"/>
              <a:t>experiences</a:t>
            </a:r>
            <a:r>
              <a:rPr lang="de-DE" dirty="0"/>
              <a:t>, </a:t>
            </a:r>
            <a:r>
              <a:rPr lang="de-DE" b="1" dirty="0" err="1"/>
              <a:t>where</a:t>
            </a:r>
            <a:r>
              <a:rPr lang="de-DE" b="1" dirty="0"/>
              <a:t> </a:t>
            </a:r>
            <a:r>
              <a:rPr lang="de-DE" dirty="0" err="1"/>
              <a:t>we</a:t>
            </a:r>
            <a:r>
              <a:rPr lang="de-DE" dirty="0"/>
              <a:t> </a:t>
            </a:r>
            <a:r>
              <a:rPr lang="de-DE" dirty="0" err="1"/>
              <a:t>win</a:t>
            </a:r>
            <a:endParaRPr lang="de-DE" dirty="0"/>
          </a:p>
          <a:p>
            <a:pPr marL="171450" indent="-171450">
              <a:buFontTx/>
              <a:buChar char="-"/>
            </a:pPr>
            <a:r>
              <a:rPr lang="de-DE" dirty="0"/>
              <a:t>Digital, </a:t>
            </a:r>
            <a:r>
              <a:rPr lang="de-DE" b="1" dirty="0" err="1"/>
              <a:t>how</a:t>
            </a:r>
            <a:r>
              <a:rPr lang="de-DE" b="1" dirty="0"/>
              <a:t> </a:t>
            </a:r>
            <a:r>
              <a:rPr lang="de-DE" dirty="0" err="1"/>
              <a:t>we</a:t>
            </a:r>
            <a:r>
              <a:rPr lang="de-DE" dirty="0"/>
              <a:t> </a:t>
            </a:r>
            <a:r>
              <a:rPr lang="de-DE" dirty="0" err="1"/>
              <a:t>win</a:t>
            </a:r>
            <a:endParaRPr lang="de-DE" dirty="0"/>
          </a:p>
        </p:txBody>
      </p:sp>
    </p:spTree>
    <p:extLst>
      <p:ext uri="{BB962C8B-B14F-4D97-AF65-F5344CB8AC3E}">
        <p14:creationId xmlns:p14="http://schemas.microsoft.com/office/powerpoint/2010/main" val="976712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lnSpc>
                <a:spcPct val="115000"/>
              </a:lnSpc>
              <a:spcAft>
                <a:spcPts val="1000"/>
              </a:spcAft>
            </a:pP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r Experience by 2025 will no longer think in ‘channels’. </a:t>
            </a:r>
          </a:p>
          <a:p>
            <a:pPr fontAlgn="base">
              <a:lnSpc>
                <a:spcPct val="115000"/>
              </a:lnSpc>
              <a:spcAft>
                <a:spcPts val="1000"/>
              </a:spcAft>
            </a:pPr>
            <a:endPar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fontAlgn="base">
              <a:lnSpc>
                <a:spcPct val="115000"/>
              </a:lnSpc>
              <a:spcAft>
                <a:spcPts val="1000"/>
              </a:spcAft>
            </a:pP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 will move beyond online and offline to own the game by fully embracing and embedding consumer experience as our strategic focus area.  </a:t>
            </a:r>
            <a:endParaRPr lang="en-US" sz="1800" dirty="0">
              <a:effectLst/>
              <a:latin typeface="Calibri" panose="020F0502020204030204" pitchFamily="34" charset="0"/>
              <a:ea typeface="SimSun" panose="02010600030101010101" pitchFamily="2" charset="-122"/>
              <a:cs typeface="Times New Roman" panose="02020603050405020304" pitchFamily="18" charset="0"/>
            </a:endParaRPr>
          </a:p>
          <a:p>
            <a:pPr fontAlgn="base">
              <a:lnSpc>
                <a:spcPct val="115000"/>
              </a:lnSpc>
              <a:spcAft>
                <a:spcPts val="1000"/>
              </a:spcAft>
            </a:pP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p>
          <a:p>
            <a:pPr fontAlgn="base">
              <a:lnSpc>
                <a:spcPct val="115000"/>
              </a:lnSpc>
              <a:spcAft>
                <a:spcPts val="1000"/>
              </a:spcAft>
            </a:pP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irst, we will become a member-first brand: We will connect 500 million members through personalized experiences and amazing brand moments. </a:t>
            </a:r>
          </a:p>
          <a:p>
            <a:pPr fontAlgn="base">
              <a:lnSpc>
                <a:spcPct val="115000"/>
              </a:lnSpc>
              <a:spcAft>
                <a:spcPts val="1000"/>
              </a:spcAft>
            </a:pPr>
            <a:endParaRPr lang="en-US"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fontAlgn="base">
              <a:lnSpc>
                <a:spcPct val="115000"/>
              </a:lnSpc>
              <a:spcAft>
                <a:spcPts val="1000"/>
              </a:spcAft>
            </a:pPr>
            <a:r>
              <a:rPr lang="en-US"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00M </a:t>
            </a: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didas members, that means 1 of every 4 </a:t>
            </a:r>
            <a:r>
              <a:rPr lang="en-US" sz="18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hatsapp</a:t>
            </a: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users is an adidas member.</a:t>
            </a:r>
          </a:p>
          <a:p>
            <a:pPr fontAlgn="base">
              <a:lnSpc>
                <a:spcPct val="115000"/>
              </a:lnSpc>
              <a:spcAft>
                <a:spcPts val="1000"/>
              </a:spcAft>
            </a:pPr>
            <a:endParaRPr lang="en-US" sz="1800" dirty="0">
              <a:effectLst/>
              <a:latin typeface="Calibri" panose="020F0502020204030204" pitchFamily="34" charset="0"/>
              <a:ea typeface="SimSun" panose="02010600030101010101" pitchFamily="2" charset="-122"/>
              <a:cs typeface="Times New Roman" panose="02020603050405020304" pitchFamily="18" charset="0"/>
            </a:endParaRPr>
          </a:p>
          <a:p>
            <a:pPr fontAlgn="base">
              <a:lnSpc>
                <a:spcPct val="115000"/>
              </a:lnSpc>
              <a:spcAft>
                <a:spcPts val="1000"/>
              </a:spcAft>
            </a:pP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cond, we will evolve our operating model to address consumers more directly: We move to a 50% Direct-to-Consumer Business.</a:t>
            </a:r>
          </a:p>
          <a:p>
            <a:pPr fontAlgn="base">
              <a:lnSpc>
                <a:spcPct val="115000"/>
              </a:lnSpc>
              <a:spcAft>
                <a:spcPts val="1000"/>
              </a:spcAft>
            </a:pPr>
            <a:endPar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fontAlgn="base">
              <a:lnSpc>
                <a:spcPct val="115000"/>
              </a:lnSpc>
              <a:spcAft>
                <a:spcPts val="1000"/>
              </a:spcAft>
            </a:pP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s changes dramatically our Company Operating Model, from clear wholesale-based 2 year calendars from ideation to shelf, into taking real-time business decisions in Hype drop or special event.  </a:t>
            </a:r>
          </a:p>
          <a:p>
            <a:pPr fontAlgn="base">
              <a:lnSpc>
                <a:spcPct val="115000"/>
              </a:lnSpc>
              <a:spcAft>
                <a:spcPts val="1000"/>
              </a:spcAft>
            </a:pPr>
            <a:endParaRPr lang="en-US" sz="1800" dirty="0">
              <a:effectLst/>
              <a:latin typeface="Calibri" panose="020F0502020204030204" pitchFamily="34" charset="0"/>
              <a:ea typeface="SimSun" panose="02010600030101010101" pitchFamily="2" charset="-122"/>
              <a:cs typeface="Times New Roman" panose="02020603050405020304" pitchFamily="18" charset="0"/>
            </a:endParaRPr>
          </a:p>
          <a:p>
            <a:pPr fontAlgn="base">
              <a:lnSpc>
                <a:spcPct val="115000"/>
              </a:lnSpc>
              <a:spcAft>
                <a:spcPts val="1000"/>
              </a:spcAft>
            </a:pP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r Key Cities remain the global amplifiers of trends and therefore we will expand our portfolio from 6 to 12</a:t>
            </a:r>
            <a:endParaRPr lang="en-US" dirty="0"/>
          </a:p>
        </p:txBody>
      </p:sp>
    </p:spTree>
    <p:extLst>
      <p:ext uri="{BB962C8B-B14F-4D97-AF65-F5344CB8AC3E}">
        <p14:creationId xmlns:p14="http://schemas.microsoft.com/office/powerpoint/2010/main" val="3066029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lnSpc>
                <a:spcPct val="115000"/>
              </a:lnSpc>
            </a:pPr>
            <a:r>
              <a:rPr lang="en-US" sz="1000" dirty="0">
                <a:effectLst/>
                <a:latin typeface="Calibri" panose="020F0502020204030204" pitchFamily="34" charset="0"/>
                <a:ea typeface="Times New Roman" panose="02020603050405020304" pitchFamily="18" charset="0"/>
              </a:rPr>
              <a:t>This changes require a repositioning on the role of tech.  Moving from a service department into a core Competency and Value Driver.  This is a journey we started 5 years ago.  Thanks to this we are on the table of decision making.</a:t>
            </a:r>
          </a:p>
          <a:p>
            <a:pPr fontAlgn="base">
              <a:lnSpc>
                <a:spcPct val="115000"/>
              </a:lnSpc>
            </a:pPr>
            <a:r>
              <a:rPr lang="en-US" sz="1000" dirty="0">
                <a:effectLst/>
                <a:latin typeface="Calibri" panose="020F0502020204030204" pitchFamily="34" charset="0"/>
                <a:ea typeface="Times New Roman" panose="02020603050405020304" pitchFamily="18" charset="0"/>
              </a:rPr>
              <a:t> </a:t>
            </a:r>
          </a:p>
          <a:p>
            <a:pPr fontAlgn="base">
              <a:lnSpc>
                <a:spcPct val="115000"/>
              </a:lnSpc>
            </a:pPr>
            <a:r>
              <a:rPr lang="en-US" sz="1000" dirty="0">
                <a:effectLst/>
                <a:latin typeface="Calibri" panose="020F0502020204030204" pitchFamily="34" charset="0"/>
                <a:ea typeface="Times New Roman" panose="02020603050405020304" pitchFamily="18" charset="0"/>
              </a:rPr>
              <a:t>We’re significantly investing in building up our own internal Tech talent in seven Tech Hubs around the world, and already in 2021 we’ll hire over 750 people and increase our total Engineering team size by 50%.   To ensure we drive the greatest impact, Tech and Business will be integrated in a Product-led setup to drive end-to-end accountability.  </a:t>
            </a:r>
            <a:endParaRPr lang="en-US" sz="1000" dirty="0">
              <a:effectLst/>
              <a:latin typeface="Times New Roman" panose="02020603050405020304" pitchFamily="18" charset="0"/>
              <a:ea typeface="Times New Roman" panose="02020603050405020304" pitchFamily="18" charset="0"/>
            </a:endParaRPr>
          </a:p>
          <a:p>
            <a:pPr fontAlgn="base">
              <a:lnSpc>
                <a:spcPct val="115000"/>
              </a:lnSpc>
            </a:pPr>
            <a:r>
              <a:rPr lang="en-US" sz="1000" dirty="0">
                <a:effectLst/>
                <a:latin typeface="Calibri" panose="020F0502020204030204" pitchFamily="34" charset="0"/>
                <a:ea typeface="Times New Roman" panose="02020603050405020304" pitchFamily="18" charset="0"/>
              </a:rPr>
              <a:t> </a:t>
            </a:r>
            <a:endParaRPr lang="en-US" sz="1000" dirty="0">
              <a:effectLst/>
              <a:latin typeface="Times New Roman" panose="02020603050405020304" pitchFamily="18" charset="0"/>
              <a:ea typeface="Times New Roman" panose="02020603050405020304" pitchFamily="18" charset="0"/>
            </a:endParaRPr>
          </a:p>
          <a:p>
            <a:pPr fontAlgn="base">
              <a:lnSpc>
                <a:spcPct val="115000"/>
              </a:lnSpc>
            </a:pPr>
            <a:r>
              <a:rPr lang="en-US" sz="1000" dirty="0">
                <a:effectLst/>
                <a:latin typeface="Calibri" panose="020F0502020204030204" pitchFamily="34" charset="0"/>
                <a:ea typeface="Times New Roman" panose="02020603050405020304" pitchFamily="18" charset="0"/>
              </a:rPr>
              <a:t>We’re also investing in digitalizing the core processes</a:t>
            </a:r>
            <a:r>
              <a:rPr lang="en-US" sz="1000" dirty="0">
                <a:solidFill>
                  <a:srgbClr val="000000"/>
                </a:solidFill>
                <a:effectLst/>
                <a:latin typeface="Calibri" panose="020F0502020204030204" pitchFamily="34" charset="0"/>
                <a:ea typeface="Times New Roman" panose="02020603050405020304" pitchFamily="18" charset="0"/>
              </a:rPr>
              <a:t> of our company. </a:t>
            </a:r>
            <a:r>
              <a:rPr lang="en-US" sz="1000" dirty="0">
                <a:effectLst/>
                <a:latin typeface="Calibri" panose="020F0502020204030204" pitchFamily="34" charset="0"/>
                <a:ea typeface="Times New Roman" panose="02020603050405020304" pitchFamily="18" charset="0"/>
              </a:rPr>
              <a:t> </a:t>
            </a:r>
            <a:r>
              <a:rPr lang="en-US" sz="1000" dirty="0">
                <a:solidFill>
                  <a:schemeClr val="tx1"/>
                </a:solidFill>
                <a:effectLst/>
                <a:latin typeface="Times New Roman" panose="02020603050405020304" pitchFamily="18" charset="0"/>
                <a:ea typeface="Times New Roman" panose="02020603050405020304" pitchFamily="18" charset="0"/>
              </a:rPr>
              <a:t> </a:t>
            </a:r>
            <a:r>
              <a:rPr lang="en-US" sz="1000" dirty="0">
                <a:solidFill>
                  <a:srgbClr val="000000"/>
                </a:solidFill>
                <a:effectLst/>
                <a:latin typeface="Calibri" panose="020F0502020204030204" pitchFamily="34" charset="0"/>
                <a:ea typeface="Times New Roman" panose="02020603050405020304" pitchFamily="18" charset="0"/>
              </a:rPr>
              <a:t>By 2025, the vast majority of our Net Sales will come from products that are created and sold-in digitally.   For that, we’ve established a digital transformation program to build up capabilities including our 3D Creation Engine, the Digital Go-to-Market, where customers or wholesalers can plan their assortment digitally and our foundation, where we will implement a new ERP system, S/4HANA. </a:t>
            </a:r>
          </a:p>
          <a:p>
            <a:pPr fontAlgn="base">
              <a:lnSpc>
                <a:spcPct val="115000"/>
              </a:lnSpc>
            </a:pPr>
            <a:r>
              <a:rPr lang="en-US" sz="1000" dirty="0">
                <a:effectLst/>
                <a:latin typeface="Calibri" panose="020F0502020204030204" pitchFamily="34" charset="0"/>
                <a:ea typeface="Times New Roman" panose="02020603050405020304" pitchFamily="18" charset="0"/>
              </a:rPr>
              <a:t> </a:t>
            </a:r>
            <a:endParaRPr lang="en-US" sz="1000" dirty="0">
              <a:effectLst/>
              <a:latin typeface="Times New Roman" panose="02020603050405020304" pitchFamily="18" charset="0"/>
              <a:ea typeface="Times New Roman" panose="02020603050405020304" pitchFamily="18" charset="0"/>
            </a:endParaRPr>
          </a:p>
          <a:p>
            <a:pPr fontAlgn="base">
              <a:lnSpc>
                <a:spcPct val="115000"/>
              </a:lnSpc>
            </a:pPr>
            <a:r>
              <a:rPr lang="en-US" sz="1000" dirty="0">
                <a:effectLst/>
                <a:latin typeface="Calibri" panose="020F0502020204030204" pitchFamily="34" charset="0"/>
                <a:ea typeface="Times New Roman" panose="02020603050405020304" pitchFamily="18" charset="0"/>
              </a:rPr>
              <a:t>With a digital-first mindset, we cannot forget the use of Data. We move from leveraging our consumer insights through advanced analytics in our e-com business, to establish these capabilities fully end-to-end, from Creation, Manufacturing, Logistics and Sales.</a:t>
            </a:r>
            <a:endParaRPr lang="en-US" dirty="0"/>
          </a:p>
        </p:txBody>
      </p:sp>
    </p:spTree>
    <p:extLst>
      <p:ext uri="{BB962C8B-B14F-4D97-AF65-F5344CB8AC3E}">
        <p14:creationId xmlns:p14="http://schemas.microsoft.com/office/powerpoint/2010/main" val="2929168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360363"/>
            <a:ext cx="6657975" cy="3746500"/>
          </a:xfrm>
        </p:spPr>
      </p:sp>
      <p:sp>
        <p:nvSpPr>
          <p:cNvPr id="3" name="Notes Placeholder 2"/>
          <p:cNvSpPr>
            <a:spLocks noGrp="1"/>
          </p:cNvSpPr>
          <p:nvPr>
            <p:ph type="body" idx="1"/>
          </p:nvPr>
        </p:nvSpPr>
        <p:spPr/>
        <p:txBody>
          <a:bodyPr/>
          <a:lstStyle/>
          <a:p>
            <a:r>
              <a:rPr lang="en-US" dirty="0"/>
              <a:t>Let me deep-dive on the people… </a:t>
            </a:r>
          </a:p>
          <a:p>
            <a:r>
              <a:rPr lang="en-US" dirty="0"/>
              <a:t>- Onboarding 750 people in 7 different locations is not easy.  </a:t>
            </a:r>
          </a:p>
          <a:p>
            <a:r>
              <a:rPr lang="en-US" dirty="0"/>
              <a:t>- We make all the efforts for every single Engineer we’re hiring to fill a critical role for the Company’s success. </a:t>
            </a:r>
          </a:p>
          <a:p>
            <a:r>
              <a:rPr lang="en-US" dirty="0"/>
              <a:t>- They need to feel this duality between:</a:t>
            </a:r>
          </a:p>
          <a:p>
            <a:r>
              <a:rPr lang="en-US" dirty="0"/>
              <a:t>	- their product and the value that is driven for the Company</a:t>
            </a:r>
          </a:p>
          <a:p>
            <a:r>
              <a:rPr lang="en-US" dirty="0"/>
              <a:t>	- and their capability, their career, their craft</a:t>
            </a:r>
          </a:p>
          <a:p>
            <a:pPr marL="171450" indent="-171450">
              <a:buFontTx/>
              <a:buChar char="-"/>
            </a:pPr>
            <a:r>
              <a:rPr lang="en-US" dirty="0"/>
              <a:t>All of that, empowered by a Hub Strategy.  Hubs are not places where we throw people.  They have a motto, they have a vision, a global purpose.  This help with hiring, retention, belonging and innovation.  </a:t>
            </a:r>
          </a:p>
          <a:p>
            <a:pPr marL="628650" lvl="1" indent="-171450">
              <a:buFontTx/>
              <a:buChar char="-"/>
            </a:pPr>
            <a:r>
              <a:rPr lang="en-US" dirty="0"/>
              <a:t>For example, our Zaragoza Hub in Spain, the first one created is pivoting from pure development into platforms, services and SRE</a:t>
            </a:r>
          </a:p>
          <a:p>
            <a:pPr marL="628650" lvl="1" indent="-171450">
              <a:buFontTx/>
              <a:buChar char="-"/>
            </a:pPr>
            <a:r>
              <a:rPr lang="en-US" dirty="0"/>
              <a:t>While the new hub in India, is building our future capabilities in </a:t>
            </a:r>
            <a:r>
              <a:rPr lang="en-US" dirty="0" err="1"/>
              <a:t>eCom</a:t>
            </a:r>
            <a:r>
              <a:rPr lang="en-US" dirty="0"/>
              <a:t>, Retail or Planning.</a:t>
            </a:r>
          </a:p>
        </p:txBody>
      </p:sp>
      <p:sp>
        <p:nvSpPr>
          <p:cNvPr id="4" name="Date Placeholder 3">
            <a:extLst>
              <a:ext uri="{FF2B5EF4-FFF2-40B4-BE49-F238E27FC236}">
                <a16:creationId xmlns:a16="http://schemas.microsoft.com/office/drawing/2014/main" id="{F4819407-9297-45F8-9DA3-394FF3440057}"/>
              </a:ext>
            </a:extLst>
          </p:cNvPr>
          <p:cNvSpPr>
            <a:spLocks noGrp="1"/>
          </p:cNvSpPr>
          <p:nvPr>
            <p:ph type="dt" idx="1"/>
          </p:nvPr>
        </p:nvSpPr>
        <p:spPr/>
        <p:txBody>
          <a:bodyPr/>
          <a:lstStyle/>
          <a:p>
            <a:pPr marL="0" marR="0" lvl="0" indent="0" algn="r" defTabSz="919842" rtl="0" eaLnBrk="1" fontAlgn="base" latinLnBrk="0" hangingPunct="1">
              <a:lnSpc>
                <a:spcPct val="100000"/>
              </a:lnSpc>
              <a:spcBef>
                <a:spcPct val="0"/>
              </a:spcBef>
              <a:spcAft>
                <a:spcPct val="0"/>
              </a:spcAft>
              <a:buClrTx/>
              <a:buSzTx/>
              <a:buFontTx/>
              <a:buNone/>
              <a:tabLst/>
              <a:defRPr/>
            </a:pPr>
            <a:fld id="{A5B3FFA3-0FF9-4A16-B416-F1266F0A93AF}" type="datetime1">
              <a:rPr kumimoji="0" lang="en-US" sz="800" b="0" i="0" u="none" strike="noStrike" kern="1200" cap="all" spc="30" normalizeH="0" baseline="0" noProof="0" smtClean="0">
                <a:ln>
                  <a:noFill/>
                </a:ln>
                <a:solidFill>
                  <a:prstClr val="black">
                    <a:alpha val="0"/>
                  </a:prstClr>
                </a:solidFill>
                <a:effectLst/>
                <a:uLnTx/>
                <a:uFillTx/>
                <a:latin typeface="adineue PRO Cond"/>
                <a:ea typeface="+mn-ea"/>
                <a:cs typeface="Arial" charset="0"/>
              </a:rPr>
              <a:pPr marL="0" marR="0" lvl="0" indent="0" algn="r" defTabSz="919842" rtl="0" eaLnBrk="1" fontAlgn="base" latinLnBrk="0" hangingPunct="1">
                <a:lnSpc>
                  <a:spcPct val="100000"/>
                </a:lnSpc>
                <a:spcBef>
                  <a:spcPct val="0"/>
                </a:spcBef>
                <a:spcAft>
                  <a:spcPct val="0"/>
                </a:spcAft>
                <a:buClrTx/>
                <a:buSzTx/>
                <a:buFontTx/>
                <a:buNone/>
                <a:tabLst/>
                <a:defRPr/>
              </a:pPr>
              <a:t>10/6/21</a:t>
            </a:fld>
            <a:endParaRPr kumimoji="0" lang="en-US" sz="800" b="0" i="0" u="none" strike="noStrike" kern="1200" cap="all" spc="30" normalizeH="0" baseline="0" noProof="0">
              <a:ln>
                <a:noFill/>
              </a:ln>
              <a:solidFill>
                <a:prstClr val="black">
                  <a:alpha val="0"/>
                </a:prstClr>
              </a:solidFill>
              <a:effectLst/>
              <a:uLnTx/>
              <a:uFillTx/>
              <a:latin typeface="adineue PRO Cond"/>
              <a:ea typeface="+mn-ea"/>
              <a:cs typeface="Arial" charset="0"/>
            </a:endParaRPr>
          </a:p>
        </p:txBody>
      </p:sp>
      <p:sp>
        <p:nvSpPr>
          <p:cNvPr id="5" name="Footer Placeholder 4">
            <a:extLst>
              <a:ext uri="{FF2B5EF4-FFF2-40B4-BE49-F238E27FC236}">
                <a16:creationId xmlns:a16="http://schemas.microsoft.com/office/drawing/2014/main" id="{FC6B41F2-F007-45CF-9847-26656752EEB5}"/>
              </a:ext>
            </a:extLst>
          </p:cNvPr>
          <p:cNvSpPr>
            <a:spLocks noGrp="1"/>
          </p:cNvSpPr>
          <p:nvPr>
            <p:ph type="ftr" sz="quarter" idx="4"/>
          </p:nvPr>
        </p:nvSpPr>
        <p:spPr/>
        <p:txBody>
          <a:bodyPr/>
          <a:lstStyle/>
          <a:p>
            <a:pPr marL="0" marR="0" lvl="0" indent="0" algn="l" defTabSz="919842" rtl="0" eaLnBrk="1" fontAlgn="base" latinLnBrk="0" hangingPunct="1">
              <a:lnSpc>
                <a:spcPct val="100000"/>
              </a:lnSpc>
              <a:spcBef>
                <a:spcPct val="0"/>
              </a:spcBef>
              <a:spcAft>
                <a:spcPct val="0"/>
              </a:spcAft>
              <a:buClrTx/>
              <a:buSzTx/>
              <a:buFontTx/>
              <a:buNone/>
              <a:tabLst/>
              <a:defRPr/>
            </a:pPr>
            <a:r>
              <a:rPr kumimoji="0" lang="en-US" sz="800" b="0" i="0" u="none" strike="noStrike" kern="1200" cap="all" spc="30" normalizeH="0" baseline="0" noProof="0">
                <a:ln>
                  <a:noFill/>
                </a:ln>
                <a:solidFill>
                  <a:prstClr val="black"/>
                </a:solidFill>
                <a:effectLst/>
                <a:uLnTx/>
                <a:uFillTx/>
                <a:latin typeface="adineue PRO Cond"/>
                <a:ea typeface="+mn-ea"/>
                <a:cs typeface="Arial" charset="0"/>
              </a:rPr>
              <a:t>2021 ADIDAS AG</a:t>
            </a:r>
          </a:p>
        </p:txBody>
      </p:sp>
      <p:sp>
        <p:nvSpPr>
          <p:cNvPr id="6" name="Slide Number Placeholder 5">
            <a:extLst>
              <a:ext uri="{FF2B5EF4-FFF2-40B4-BE49-F238E27FC236}">
                <a16:creationId xmlns:a16="http://schemas.microsoft.com/office/drawing/2014/main" id="{64AE8537-6024-4AD2-852D-EF80A945D5A7}"/>
              </a:ext>
            </a:extLst>
          </p:cNvPr>
          <p:cNvSpPr>
            <a:spLocks noGrp="1"/>
          </p:cNvSpPr>
          <p:nvPr>
            <p:ph type="sldNum" sz="quarter" idx="5"/>
          </p:nvPr>
        </p:nvSpPr>
        <p:spPr/>
        <p:txBody>
          <a:bodyPr/>
          <a:lstStyle/>
          <a:p>
            <a:pPr marL="0" marR="0" lvl="0" indent="0" algn="r" defTabSz="919842" rtl="0" eaLnBrk="1" fontAlgn="base" latinLnBrk="0" hangingPunct="1">
              <a:lnSpc>
                <a:spcPct val="100000"/>
              </a:lnSpc>
              <a:spcBef>
                <a:spcPct val="0"/>
              </a:spcBef>
              <a:spcAft>
                <a:spcPct val="0"/>
              </a:spcAft>
              <a:buClrTx/>
              <a:buSzTx/>
              <a:buFontTx/>
              <a:buNone/>
              <a:tabLst/>
              <a:defRPr/>
            </a:pPr>
            <a:fld id="{0E76785A-95C7-44FE-A156-91193B40163D}" type="slidenum">
              <a:rPr kumimoji="0" lang="en-US" sz="800" b="0" i="0" u="none" strike="noStrike" kern="1200" cap="all" spc="30" normalizeH="0" baseline="0" noProof="0" smtClean="0">
                <a:ln>
                  <a:noFill/>
                </a:ln>
                <a:solidFill>
                  <a:prstClr val="black">
                    <a:alpha val="0"/>
                  </a:prstClr>
                </a:solidFill>
                <a:effectLst/>
                <a:uLnTx/>
                <a:uFillTx/>
                <a:latin typeface="adineue PRO Cond"/>
                <a:ea typeface="+mn-ea"/>
                <a:cs typeface="Arial" charset="0"/>
              </a:rPr>
              <a:pPr marL="0" marR="0" lvl="0" indent="0" algn="r" defTabSz="919842" rtl="0" eaLnBrk="1" fontAlgn="base" latinLnBrk="0" hangingPunct="1">
                <a:lnSpc>
                  <a:spcPct val="100000"/>
                </a:lnSpc>
                <a:spcBef>
                  <a:spcPct val="0"/>
                </a:spcBef>
                <a:spcAft>
                  <a:spcPct val="0"/>
                </a:spcAft>
                <a:buClrTx/>
                <a:buSzTx/>
                <a:buFontTx/>
                <a:buNone/>
                <a:tabLst/>
                <a:defRPr/>
              </a:pPr>
              <a:t>7</a:t>
            </a:fld>
            <a:endParaRPr kumimoji="0" lang="en-US" sz="800" b="0" i="0" u="none" strike="noStrike" kern="1200" cap="all" spc="30" normalizeH="0" baseline="0" noProof="0">
              <a:ln>
                <a:noFill/>
              </a:ln>
              <a:solidFill>
                <a:prstClr val="black">
                  <a:alpha val="0"/>
                </a:prstClr>
              </a:solidFill>
              <a:effectLst/>
              <a:uLnTx/>
              <a:uFillTx/>
              <a:latin typeface="adineue PRO Cond"/>
              <a:ea typeface="+mn-ea"/>
              <a:cs typeface="Arial" charset="0"/>
            </a:endParaRPr>
          </a:p>
        </p:txBody>
      </p:sp>
      <p:sp>
        <p:nvSpPr>
          <p:cNvPr id="7" name="Header Placeholder 6">
            <a:extLst>
              <a:ext uri="{FF2B5EF4-FFF2-40B4-BE49-F238E27FC236}">
                <a16:creationId xmlns:a16="http://schemas.microsoft.com/office/drawing/2014/main" id="{DBC07A03-7F08-4AD7-B6E0-8D09A43C2093}"/>
              </a:ext>
            </a:extLst>
          </p:cNvPr>
          <p:cNvSpPr>
            <a:spLocks noGrp="1"/>
          </p:cNvSpPr>
          <p:nvPr>
            <p:ph type="hdr" sz="quarter"/>
          </p:nvPr>
        </p:nvSpPr>
        <p:spPr/>
        <p:txBody>
          <a:bodyPr/>
          <a:lstStyle/>
          <a:p>
            <a:pPr marL="0" marR="0" lvl="0" indent="0" algn="l" defTabSz="919842" rtl="0" eaLnBrk="1" fontAlgn="base" latinLnBrk="0" hangingPunct="1">
              <a:lnSpc>
                <a:spcPct val="100000"/>
              </a:lnSpc>
              <a:spcBef>
                <a:spcPct val="0"/>
              </a:spcBef>
              <a:spcAft>
                <a:spcPct val="0"/>
              </a:spcAft>
              <a:buClrTx/>
              <a:buSzTx/>
              <a:buFontTx/>
              <a:buNone/>
              <a:tabLst/>
              <a:defRPr/>
            </a:pPr>
            <a:endParaRPr kumimoji="0" lang="en-US" sz="800" b="0" i="0" u="none" strike="noStrike" kern="1200" cap="all" spc="30" normalizeH="0" baseline="0" noProof="0">
              <a:ln>
                <a:noFill/>
              </a:ln>
              <a:solidFill>
                <a:prstClr val="black">
                  <a:alpha val="0"/>
                </a:prstClr>
              </a:solidFill>
              <a:effectLst/>
              <a:uLnTx/>
              <a:uFillTx/>
              <a:latin typeface="adineue PRO Cond"/>
              <a:ea typeface="+mn-ea"/>
              <a:cs typeface="Arial" charset="0"/>
            </a:endParaRPr>
          </a:p>
        </p:txBody>
      </p:sp>
    </p:spTree>
    <p:extLst>
      <p:ext uri="{BB962C8B-B14F-4D97-AF65-F5344CB8AC3E}">
        <p14:creationId xmlns:p14="http://schemas.microsoft.com/office/powerpoint/2010/main" val="542245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r>
              <a:rPr lang="de-DE" baseline="0" dirty="0" err="1"/>
              <a:t>And</a:t>
            </a:r>
            <a:r>
              <a:rPr lang="de-DE" baseline="0" dirty="0"/>
              <a:t> </a:t>
            </a:r>
            <a:r>
              <a:rPr lang="de-DE" baseline="0" dirty="0" err="1"/>
              <a:t>what</a:t>
            </a:r>
            <a:r>
              <a:rPr lang="de-DE" baseline="0" dirty="0"/>
              <a:t> </a:t>
            </a:r>
            <a:r>
              <a:rPr lang="de-DE" baseline="0" dirty="0" err="1"/>
              <a:t>happens</a:t>
            </a:r>
            <a:r>
              <a:rPr lang="de-DE" baseline="0" dirty="0"/>
              <a:t> </a:t>
            </a:r>
            <a:r>
              <a:rPr lang="de-DE" baseline="0" dirty="0" err="1"/>
              <a:t>when</a:t>
            </a:r>
            <a:r>
              <a:rPr lang="de-DE" baseline="0" dirty="0"/>
              <a:t> </a:t>
            </a:r>
            <a:r>
              <a:rPr lang="de-DE" baseline="0" dirty="0" err="1"/>
              <a:t>you</a:t>
            </a:r>
            <a:r>
              <a:rPr lang="de-DE" baseline="0" dirty="0"/>
              <a:t> </a:t>
            </a:r>
            <a:r>
              <a:rPr lang="de-DE" baseline="0" dirty="0" err="1"/>
              <a:t>invest</a:t>
            </a:r>
            <a:r>
              <a:rPr lang="de-DE" baseline="0" dirty="0"/>
              <a:t> in </a:t>
            </a:r>
            <a:r>
              <a:rPr lang="de-DE" baseline="0" dirty="0" err="1"/>
              <a:t>tech</a:t>
            </a:r>
            <a:r>
              <a:rPr lang="de-DE" baseline="0" dirty="0"/>
              <a:t>, </a:t>
            </a:r>
            <a:r>
              <a:rPr lang="de-DE" baseline="0" dirty="0" err="1"/>
              <a:t>and</a:t>
            </a:r>
            <a:r>
              <a:rPr lang="de-DE" baseline="0" dirty="0"/>
              <a:t> </a:t>
            </a:r>
            <a:r>
              <a:rPr lang="de-DE" baseline="0" dirty="0" err="1"/>
              <a:t>move</a:t>
            </a:r>
            <a:r>
              <a:rPr lang="de-DE" baseline="0" dirty="0"/>
              <a:t> </a:t>
            </a:r>
            <a:r>
              <a:rPr lang="de-DE" baseline="0" dirty="0" err="1"/>
              <a:t>from</a:t>
            </a:r>
            <a:r>
              <a:rPr lang="de-DE" baseline="0" dirty="0"/>
              <a:t> a Service Department </a:t>
            </a:r>
            <a:r>
              <a:rPr lang="de-DE" baseline="0" dirty="0" err="1"/>
              <a:t>into</a:t>
            </a:r>
            <a:r>
              <a:rPr lang="de-DE" baseline="0" dirty="0"/>
              <a:t> a </a:t>
            </a:r>
            <a:r>
              <a:rPr lang="de-DE" baseline="0" dirty="0" err="1"/>
              <a:t>Competency</a:t>
            </a:r>
            <a:r>
              <a:rPr lang="de-DE" baseline="0" dirty="0"/>
              <a:t> </a:t>
            </a:r>
            <a:r>
              <a:rPr lang="de-DE" baseline="0" dirty="0" err="1"/>
              <a:t>Enabler</a:t>
            </a:r>
            <a:r>
              <a:rPr lang="de-DE" baseline="0" dirty="0"/>
              <a:t>? </a:t>
            </a:r>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endParaRPr lang="de-DE" baseline="0" dirty="0"/>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r>
              <a:rPr lang="de-DE" baseline="0" dirty="0" err="1"/>
              <a:t>What</a:t>
            </a:r>
            <a:r>
              <a:rPr lang="de-DE" baseline="0" dirty="0"/>
              <a:t> </a:t>
            </a:r>
            <a:r>
              <a:rPr lang="de-DE" baseline="0" dirty="0" err="1"/>
              <a:t>happens</a:t>
            </a:r>
            <a:r>
              <a:rPr lang="de-DE" baseline="0" dirty="0"/>
              <a:t> </a:t>
            </a:r>
            <a:r>
              <a:rPr lang="de-DE" baseline="0" dirty="0" err="1"/>
              <a:t>when</a:t>
            </a:r>
            <a:r>
              <a:rPr lang="de-DE" baseline="0" dirty="0"/>
              <a:t> </a:t>
            </a:r>
            <a:r>
              <a:rPr lang="de-DE" baseline="0" dirty="0" err="1"/>
              <a:t>you</a:t>
            </a:r>
            <a:r>
              <a:rPr lang="de-DE" baseline="0" dirty="0"/>
              <a:t> </a:t>
            </a:r>
            <a:r>
              <a:rPr lang="de-DE" baseline="0" dirty="0" err="1"/>
              <a:t>integrate</a:t>
            </a:r>
            <a:r>
              <a:rPr lang="de-DE" baseline="0" dirty="0"/>
              <a:t> </a:t>
            </a:r>
            <a:r>
              <a:rPr lang="de-DE" baseline="0" dirty="0" err="1"/>
              <a:t>smoothly</a:t>
            </a:r>
            <a:r>
              <a:rPr lang="de-DE" baseline="0" dirty="0"/>
              <a:t> </a:t>
            </a:r>
            <a:r>
              <a:rPr lang="de-DE" baseline="0" dirty="0" err="1"/>
              <a:t>with</a:t>
            </a:r>
            <a:r>
              <a:rPr lang="de-DE" baseline="0" dirty="0"/>
              <a:t> </a:t>
            </a:r>
            <a:r>
              <a:rPr lang="de-DE" baseline="0" dirty="0" err="1"/>
              <a:t>your</a:t>
            </a:r>
            <a:r>
              <a:rPr lang="de-DE" baseline="0" dirty="0"/>
              <a:t> different </a:t>
            </a:r>
            <a:r>
              <a:rPr lang="de-DE" baseline="0" dirty="0" err="1"/>
              <a:t>businesses</a:t>
            </a:r>
            <a:r>
              <a:rPr lang="de-DE" baseline="0" dirty="0"/>
              <a:t>?</a:t>
            </a:r>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endParaRPr lang="de-DE" baseline="0" dirty="0"/>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r>
              <a:rPr lang="de-DE" baseline="0" dirty="0" err="1"/>
              <a:t>Our</a:t>
            </a:r>
            <a:r>
              <a:rPr lang="de-DE" baseline="0" dirty="0"/>
              <a:t> </a:t>
            </a:r>
            <a:r>
              <a:rPr lang="de-DE" baseline="0" dirty="0" err="1"/>
              <a:t>business</a:t>
            </a:r>
            <a:r>
              <a:rPr lang="de-DE" baseline="0" dirty="0"/>
              <a:t> </a:t>
            </a:r>
            <a:r>
              <a:rPr lang="de-DE" baseline="0" dirty="0" err="1"/>
              <a:t>leaders</a:t>
            </a:r>
            <a:r>
              <a:rPr lang="de-DE" baseline="0" dirty="0"/>
              <a:t> </a:t>
            </a:r>
            <a:r>
              <a:rPr lang="de-DE" baseline="0" dirty="0" err="1"/>
              <a:t>are</a:t>
            </a:r>
            <a:r>
              <a:rPr lang="de-DE" baseline="0" dirty="0"/>
              <a:t> </a:t>
            </a:r>
            <a:r>
              <a:rPr lang="de-DE" baseline="0" dirty="0" err="1"/>
              <a:t>proud</a:t>
            </a:r>
            <a:r>
              <a:rPr lang="de-DE" baseline="0" dirty="0"/>
              <a:t> </a:t>
            </a:r>
            <a:r>
              <a:rPr lang="de-DE" baseline="0" dirty="0" err="1"/>
              <a:t>of</a:t>
            </a:r>
            <a:r>
              <a:rPr lang="de-DE" baseline="0" dirty="0"/>
              <a:t> </a:t>
            </a:r>
            <a:r>
              <a:rPr lang="de-DE" baseline="0" dirty="0" err="1"/>
              <a:t>us</a:t>
            </a:r>
            <a:r>
              <a:rPr lang="de-DE" baseline="0" dirty="0"/>
              <a:t>, </a:t>
            </a:r>
            <a:r>
              <a:rPr lang="de-DE" baseline="0" dirty="0" err="1"/>
              <a:t>proud</a:t>
            </a:r>
            <a:r>
              <a:rPr lang="de-DE" baseline="0" dirty="0"/>
              <a:t> </a:t>
            </a:r>
            <a:r>
              <a:rPr lang="de-DE" baseline="0" dirty="0" err="1"/>
              <a:t>of</a:t>
            </a:r>
            <a:r>
              <a:rPr lang="de-DE" baseline="0" dirty="0"/>
              <a:t> </a:t>
            </a:r>
            <a:r>
              <a:rPr lang="de-DE" baseline="0" dirty="0" err="1"/>
              <a:t>tech</a:t>
            </a:r>
            <a:r>
              <a:rPr lang="de-DE" baseline="0" dirty="0"/>
              <a:t>:</a:t>
            </a:r>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endParaRPr lang="de-DE" baseline="0" dirty="0"/>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r>
              <a:rPr lang="de-DE" baseline="0" dirty="0"/>
              <a:t>So, </a:t>
            </a:r>
            <a:r>
              <a:rPr lang="de-DE" baseline="0" dirty="0" err="1"/>
              <a:t>my</a:t>
            </a:r>
            <a:r>
              <a:rPr lang="de-DE" baseline="0" dirty="0"/>
              <a:t> </a:t>
            </a:r>
            <a:r>
              <a:rPr lang="de-DE" baseline="0" dirty="0" err="1"/>
              <a:t>little</a:t>
            </a:r>
            <a:r>
              <a:rPr lang="de-DE" baseline="0" dirty="0"/>
              <a:t> </a:t>
            </a:r>
            <a:r>
              <a:rPr lang="de-DE" baseline="0" dirty="0" err="1"/>
              <a:t>piece</a:t>
            </a:r>
            <a:r>
              <a:rPr lang="de-DE" baseline="0" dirty="0"/>
              <a:t> </a:t>
            </a:r>
            <a:r>
              <a:rPr lang="de-DE" baseline="0" dirty="0" err="1"/>
              <a:t>of</a:t>
            </a:r>
            <a:r>
              <a:rPr lang="de-DE" baseline="0" dirty="0"/>
              <a:t> </a:t>
            </a:r>
            <a:r>
              <a:rPr lang="de-DE" baseline="0" dirty="0" err="1"/>
              <a:t>advice</a:t>
            </a:r>
            <a:r>
              <a:rPr lang="de-DE" baseline="0" dirty="0"/>
              <a:t> </a:t>
            </a:r>
            <a:r>
              <a:rPr lang="de-DE" baseline="0" dirty="0" err="1"/>
              <a:t>to</a:t>
            </a:r>
            <a:r>
              <a:rPr lang="de-DE" baseline="0" dirty="0"/>
              <a:t> all </a:t>
            </a:r>
            <a:r>
              <a:rPr lang="de-DE" baseline="0" dirty="0" err="1"/>
              <a:t>the</a:t>
            </a:r>
            <a:r>
              <a:rPr lang="de-DE" baseline="0" dirty="0"/>
              <a:t> different </a:t>
            </a:r>
            <a:r>
              <a:rPr lang="de-DE" baseline="0" dirty="0" err="1"/>
              <a:t>tech</a:t>
            </a:r>
            <a:r>
              <a:rPr lang="de-DE" baseline="0" dirty="0"/>
              <a:t> </a:t>
            </a:r>
            <a:r>
              <a:rPr lang="de-DE" baseline="0" dirty="0" err="1"/>
              <a:t>leaders</a:t>
            </a:r>
            <a:r>
              <a:rPr lang="de-DE" baseline="0" dirty="0"/>
              <a:t> </a:t>
            </a:r>
            <a:r>
              <a:rPr lang="de-DE" baseline="0" dirty="0" err="1"/>
              <a:t>around</a:t>
            </a:r>
            <a:r>
              <a:rPr lang="de-DE" baseline="0" dirty="0"/>
              <a:t> </a:t>
            </a:r>
            <a:r>
              <a:rPr lang="de-DE" baseline="0" dirty="0" err="1"/>
              <a:t>the</a:t>
            </a:r>
            <a:r>
              <a:rPr lang="de-DE" baseline="0" dirty="0"/>
              <a:t> </a:t>
            </a:r>
            <a:r>
              <a:rPr lang="de-DE" baseline="0" dirty="0" err="1"/>
              <a:t>globe</a:t>
            </a:r>
            <a:r>
              <a:rPr lang="de-DE" baseline="0" dirty="0"/>
              <a:t>: </a:t>
            </a:r>
            <a:r>
              <a:rPr lang="de-DE" baseline="0" dirty="0" err="1"/>
              <a:t>Invest</a:t>
            </a:r>
            <a:r>
              <a:rPr lang="de-DE" baseline="0" dirty="0"/>
              <a:t> in Engineering, Data </a:t>
            </a:r>
            <a:r>
              <a:rPr lang="de-DE" baseline="0" dirty="0" err="1"/>
              <a:t>and</a:t>
            </a:r>
            <a:r>
              <a:rPr lang="de-DE" baseline="0" dirty="0"/>
              <a:t> </a:t>
            </a:r>
            <a:r>
              <a:rPr lang="de-DE" baseline="0" dirty="0" err="1"/>
              <a:t>create</a:t>
            </a:r>
            <a:r>
              <a:rPr lang="de-DE" baseline="0" dirty="0"/>
              <a:t> </a:t>
            </a:r>
            <a:r>
              <a:rPr lang="de-DE" baseline="0" dirty="0" err="1"/>
              <a:t>Architecture</a:t>
            </a:r>
            <a:r>
              <a:rPr lang="de-DE" baseline="0" dirty="0"/>
              <a:t> </a:t>
            </a:r>
            <a:r>
              <a:rPr lang="de-DE" baseline="0" dirty="0" err="1"/>
              <a:t>roadmaps</a:t>
            </a:r>
            <a:r>
              <a:rPr lang="de-DE" baseline="0" dirty="0"/>
              <a:t> </a:t>
            </a:r>
            <a:r>
              <a:rPr lang="de-DE" baseline="0" dirty="0" err="1"/>
              <a:t>with</a:t>
            </a:r>
            <a:r>
              <a:rPr lang="de-DE" baseline="0" dirty="0"/>
              <a:t> </a:t>
            </a:r>
            <a:r>
              <a:rPr lang="de-DE" baseline="0" dirty="0" err="1"/>
              <a:t>regards</a:t>
            </a:r>
            <a:r>
              <a:rPr lang="de-DE" baseline="0" dirty="0"/>
              <a:t> </a:t>
            </a:r>
            <a:r>
              <a:rPr lang="de-DE" baseline="0" dirty="0" err="1"/>
              <a:t>to</a:t>
            </a:r>
            <a:r>
              <a:rPr lang="de-DE" baseline="0" dirty="0"/>
              <a:t> </a:t>
            </a:r>
            <a:r>
              <a:rPr lang="de-DE" baseline="0" dirty="0" err="1"/>
              <a:t>teams</a:t>
            </a:r>
            <a:r>
              <a:rPr lang="de-DE" baseline="0" dirty="0"/>
              <a:t>, </a:t>
            </a:r>
            <a:r>
              <a:rPr lang="de-DE" baseline="0" dirty="0" err="1"/>
              <a:t>interactions</a:t>
            </a:r>
            <a:r>
              <a:rPr lang="de-DE" baseline="0" dirty="0"/>
              <a:t> </a:t>
            </a:r>
            <a:r>
              <a:rPr lang="de-DE" baseline="0" dirty="0" err="1"/>
              <a:t>and</a:t>
            </a:r>
            <a:r>
              <a:rPr lang="de-DE" baseline="0" dirty="0"/>
              <a:t> </a:t>
            </a:r>
            <a:r>
              <a:rPr lang="de-DE" baseline="0" dirty="0" err="1"/>
              <a:t>Platforms</a:t>
            </a:r>
            <a:r>
              <a:rPr lang="de-DE" baseline="0" dirty="0"/>
              <a:t>, </a:t>
            </a:r>
            <a:r>
              <a:rPr lang="de-DE" baseline="0" dirty="0" err="1"/>
              <a:t>Build</a:t>
            </a:r>
            <a:r>
              <a:rPr lang="de-DE" baseline="0" dirty="0"/>
              <a:t> </a:t>
            </a:r>
            <a:r>
              <a:rPr lang="de-DE" baseline="0" dirty="0" err="1"/>
              <a:t>vs</a:t>
            </a:r>
            <a:r>
              <a:rPr lang="de-DE" baseline="0" dirty="0"/>
              <a:t> </a:t>
            </a:r>
            <a:r>
              <a:rPr lang="de-DE" baseline="0" dirty="0" err="1"/>
              <a:t>Buy</a:t>
            </a:r>
            <a:r>
              <a:rPr lang="de-DE" baseline="0" dirty="0"/>
              <a:t> </a:t>
            </a:r>
            <a:r>
              <a:rPr lang="de-DE" baseline="0" dirty="0" err="1"/>
              <a:t>decision</a:t>
            </a:r>
            <a:r>
              <a:rPr lang="de-DE" baseline="0" dirty="0"/>
              <a:t>. </a:t>
            </a:r>
            <a:r>
              <a:rPr lang="de-DE" baseline="0" dirty="0" err="1"/>
              <a:t>Speak</a:t>
            </a:r>
            <a:r>
              <a:rPr lang="de-DE" baseline="0" dirty="0"/>
              <a:t> </a:t>
            </a:r>
            <a:r>
              <a:rPr lang="de-DE" baseline="0" dirty="0" err="1"/>
              <a:t>up</a:t>
            </a:r>
            <a:r>
              <a:rPr lang="de-DE" baseline="0" dirty="0"/>
              <a:t>, </a:t>
            </a:r>
            <a:r>
              <a:rPr lang="de-DE" baseline="0" dirty="0" err="1"/>
              <a:t>show</a:t>
            </a:r>
            <a:r>
              <a:rPr lang="de-DE" baseline="0" dirty="0"/>
              <a:t> </a:t>
            </a:r>
            <a:r>
              <a:rPr lang="de-DE" baseline="0" dirty="0" err="1"/>
              <a:t>data</a:t>
            </a:r>
            <a:r>
              <a:rPr lang="de-DE" baseline="0" dirty="0"/>
              <a:t> </a:t>
            </a:r>
            <a:r>
              <a:rPr lang="de-DE" baseline="0" dirty="0" err="1"/>
              <a:t>and</a:t>
            </a:r>
            <a:r>
              <a:rPr lang="de-DE" baseline="0" dirty="0"/>
              <a:t> </a:t>
            </a:r>
            <a:r>
              <a:rPr lang="de-DE" baseline="0" dirty="0" err="1"/>
              <a:t>facts</a:t>
            </a:r>
            <a:r>
              <a:rPr lang="de-DE" baseline="0" dirty="0"/>
              <a:t> on </a:t>
            </a:r>
            <a:r>
              <a:rPr lang="de-DE" baseline="0" dirty="0" err="1"/>
              <a:t>your</a:t>
            </a:r>
            <a:r>
              <a:rPr lang="de-DE" baseline="0" dirty="0"/>
              <a:t> </a:t>
            </a:r>
            <a:r>
              <a:rPr lang="de-DE" baseline="0" dirty="0" err="1"/>
              <a:t>value</a:t>
            </a:r>
            <a:r>
              <a:rPr lang="de-DE" baseline="0" dirty="0"/>
              <a:t> </a:t>
            </a:r>
            <a:r>
              <a:rPr lang="de-DE" baseline="0" dirty="0" err="1"/>
              <a:t>stream</a:t>
            </a:r>
            <a:r>
              <a:rPr lang="de-DE" baseline="0" dirty="0"/>
              <a:t> (Lead/Flow time, MTTD </a:t>
            </a:r>
            <a:r>
              <a:rPr lang="de-DE" baseline="0" dirty="0" err="1"/>
              <a:t>or</a:t>
            </a:r>
            <a:r>
              <a:rPr lang="de-DE" baseline="0" dirty="0"/>
              <a:t> MTTR, etc.), </a:t>
            </a:r>
            <a:r>
              <a:rPr lang="de-DE" baseline="0" dirty="0" err="1"/>
              <a:t>be</a:t>
            </a:r>
            <a:r>
              <a:rPr lang="de-DE" baseline="0" dirty="0"/>
              <a:t> on </a:t>
            </a:r>
            <a:r>
              <a:rPr lang="de-DE" baseline="0" dirty="0" err="1"/>
              <a:t>the</a:t>
            </a:r>
            <a:r>
              <a:rPr lang="de-DE" baseline="0" dirty="0"/>
              <a:t> </a:t>
            </a:r>
            <a:r>
              <a:rPr lang="de-DE" baseline="0" dirty="0" err="1"/>
              <a:t>table</a:t>
            </a:r>
            <a:r>
              <a:rPr lang="de-DE" baseline="0" dirty="0"/>
              <a:t> </a:t>
            </a:r>
            <a:r>
              <a:rPr lang="de-DE" baseline="0" dirty="0" err="1"/>
              <a:t>and</a:t>
            </a:r>
            <a:r>
              <a:rPr lang="de-DE" baseline="0" dirty="0"/>
              <a:t> push </a:t>
            </a:r>
            <a:r>
              <a:rPr lang="de-DE" baseline="0" dirty="0" err="1"/>
              <a:t>decisions</a:t>
            </a:r>
            <a:r>
              <a:rPr lang="de-DE" baseline="0" dirty="0"/>
              <a:t> </a:t>
            </a:r>
            <a:r>
              <a:rPr lang="de-DE" baseline="0" dirty="0" err="1"/>
              <a:t>to</a:t>
            </a:r>
            <a:r>
              <a:rPr lang="de-DE" baseline="0" dirty="0"/>
              <a:t> </a:t>
            </a:r>
            <a:r>
              <a:rPr lang="de-DE" baseline="0" dirty="0" err="1"/>
              <a:t>the</a:t>
            </a:r>
            <a:r>
              <a:rPr lang="de-DE" baseline="0" dirty="0"/>
              <a:t> </a:t>
            </a:r>
            <a:r>
              <a:rPr lang="de-DE" baseline="0" dirty="0" err="1"/>
              <a:t>Product</a:t>
            </a:r>
            <a:r>
              <a:rPr lang="de-DE" baseline="0" dirty="0"/>
              <a:t> </a:t>
            </a:r>
            <a:r>
              <a:rPr lang="de-DE" baseline="0" dirty="0" err="1"/>
              <a:t>Owners</a:t>
            </a:r>
            <a:r>
              <a:rPr lang="de-DE" baseline="0" dirty="0"/>
              <a:t>. DON‘T BE A SERVICE DEPARTMENT ANYMORE</a:t>
            </a:r>
          </a:p>
          <a:p>
            <a:pPr marL="171450" marR="0" lvl="0" indent="-171450" algn="l" defTabSz="919842" rtl="0" eaLnBrk="0" fontAlgn="base" latinLnBrk="0" hangingPunct="0">
              <a:lnSpc>
                <a:spcPct val="80000"/>
              </a:lnSpc>
              <a:spcBef>
                <a:spcPts val="0"/>
              </a:spcBef>
              <a:spcAft>
                <a:spcPts val="600"/>
              </a:spcAft>
              <a:buClrTx/>
              <a:buSzPct val="90000"/>
              <a:buFontTx/>
              <a:buChar char="-"/>
              <a:tabLst/>
              <a:defRPr/>
            </a:pPr>
            <a:endParaRPr lang="de-DE" baseline="0" dirty="0"/>
          </a:p>
        </p:txBody>
      </p:sp>
    </p:spTree>
    <p:extLst>
      <p:ext uri="{BB962C8B-B14F-4D97-AF65-F5344CB8AC3E}">
        <p14:creationId xmlns:p14="http://schemas.microsoft.com/office/powerpoint/2010/main" val="2782032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But let’s stop talking for a moment about Strategy… and get into a story about volume</a:t>
            </a:r>
          </a:p>
          <a:p>
            <a:endParaRPr lang="en-DE" dirty="0"/>
          </a:p>
          <a:p>
            <a:r>
              <a:rPr lang="en-DE" dirty="0"/>
              <a:t>And yes, you can see jesse owens… by using Adi Dassler’s technology with spikes in his shoes he was fast, the fastest.</a:t>
            </a:r>
          </a:p>
          <a:p>
            <a:endParaRPr lang="en-DE" dirty="0"/>
          </a:p>
          <a:p>
            <a:r>
              <a:rPr lang="en-DE" dirty="0"/>
              <a:t>It’s like a new small start-up, they can adopt technology very fast and put it to live.</a:t>
            </a:r>
          </a:p>
          <a:p>
            <a:endParaRPr lang="en-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5F666-12C3-4DC1-94F4-9928DB7E11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9457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03C2FEE-6210-480E-8003-506FD48B4022}" type="datetime5">
              <a:rPr lang="en-US" smtClean="0"/>
              <a:t>6-Oct-21</a:t>
            </a:fld>
            <a:endParaRPr lang="en-US"/>
          </a:p>
        </p:txBody>
      </p:sp>
      <p:sp>
        <p:nvSpPr>
          <p:cNvPr id="5" name="Footer Placeholder 4"/>
          <p:cNvSpPr>
            <a:spLocks noGrp="1"/>
          </p:cNvSpPr>
          <p:nvPr>
            <p:ph type="ftr" sz="quarter" idx="11"/>
          </p:nvPr>
        </p:nvSpPr>
        <p:spPr/>
        <p:txBody>
          <a:bodyPr/>
          <a:lstStyle/>
          <a:p>
            <a:r>
              <a:rPr lang="en-US"/>
              <a:t>FOOTER / PRESENTATION NAME</a:t>
            </a:r>
          </a:p>
        </p:txBody>
      </p:sp>
      <p:sp>
        <p:nvSpPr>
          <p:cNvPr id="6" name="Slide Number Placeholder 5"/>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2216790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4CD215-BFE5-4B9D-B40E-9816F6415468}" type="datetime5">
              <a:rPr lang="en-US" smtClean="0"/>
              <a:t>6-Oct-21</a:t>
            </a:fld>
            <a:endParaRPr lang="en-US"/>
          </a:p>
        </p:txBody>
      </p:sp>
      <p:sp>
        <p:nvSpPr>
          <p:cNvPr id="5" name="Footer Placeholder 4"/>
          <p:cNvSpPr>
            <a:spLocks noGrp="1"/>
          </p:cNvSpPr>
          <p:nvPr>
            <p:ph type="ftr" sz="quarter" idx="11"/>
          </p:nvPr>
        </p:nvSpPr>
        <p:spPr/>
        <p:txBody>
          <a:bodyPr/>
          <a:lstStyle/>
          <a:p>
            <a:r>
              <a:rPr lang="en-US"/>
              <a:t>FOOTER / PRESENTATION NAME</a:t>
            </a:r>
          </a:p>
        </p:txBody>
      </p:sp>
      <p:sp>
        <p:nvSpPr>
          <p:cNvPr id="6" name="Slide Number Placeholder 5"/>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10351964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s split">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i="0">
                <a:solidFill>
                  <a:schemeClr val="tx1"/>
                </a:solidFill>
              </a:defRPr>
            </a:lvl1pPr>
          </a:lstStyle>
          <a:p>
            <a:r>
              <a:rPr lang="en-US" noProof="0" dirty="0"/>
              <a:t>Click icon to add picture</a:t>
            </a:r>
          </a:p>
        </p:txBody>
      </p:sp>
      <p:sp>
        <p:nvSpPr>
          <p:cNvPr id="2" name="Titel 1"/>
          <p:cNvSpPr>
            <a:spLocks noGrp="1"/>
          </p:cNvSpPr>
          <p:nvPr>
            <p:ph type="title"/>
          </p:nvPr>
        </p:nvSpPr>
        <p:spPr bwMode="gray">
          <a:xfrm>
            <a:off x="760294" y="382167"/>
            <a:ext cx="10669312" cy="760133"/>
          </a:xfrm>
        </p:spPr>
        <p:txBody>
          <a:bodyPr/>
          <a:lstStyle>
            <a:lvl1pPr algn="ctr">
              <a:defRPr b="0" i="0">
                <a:solidFill>
                  <a:schemeClr val="bg1"/>
                </a:solidFill>
                <a:latin typeface="adineue TEXT Black" panose="020B0A03020201060004" pitchFamily="34" charset="0"/>
              </a:defRPr>
            </a:lvl1pPr>
          </a:lstStyle>
          <a:p>
            <a:r>
              <a:rPr lang="en-US" noProof="0" dirty="0"/>
              <a:t>Click to edit Master title style</a:t>
            </a:r>
          </a:p>
        </p:txBody>
      </p:sp>
      <p:sp>
        <p:nvSpPr>
          <p:cNvPr id="6" name="Picture Placeholder 5"/>
          <p:cNvSpPr>
            <a:spLocks noGrp="1"/>
          </p:cNvSpPr>
          <p:nvPr>
            <p:ph type="pic" sz="quarter" idx="27"/>
          </p:nvPr>
        </p:nvSpPr>
        <p:spPr>
          <a:xfrm>
            <a:off x="760293" y="1524040"/>
            <a:ext cx="5335707" cy="4191661"/>
          </a:xfrm>
          <a:solidFill>
            <a:schemeClr val="bg2"/>
          </a:solidFill>
        </p:spPr>
        <p:txBody>
          <a:bodyPr anchor="ctr"/>
          <a:lstStyle>
            <a:lvl1pPr algn="ctr">
              <a:defRPr b="0" i="0">
                <a:solidFill>
                  <a:schemeClr val="bg1"/>
                </a:solidFill>
              </a:defRPr>
            </a:lvl1pPr>
          </a:lstStyle>
          <a:p>
            <a:r>
              <a:rPr lang="en-US" noProof="0" dirty="0"/>
              <a:t>Click icon to add picture</a:t>
            </a:r>
          </a:p>
        </p:txBody>
      </p:sp>
      <p:sp>
        <p:nvSpPr>
          <p:cNvPr id="9" name="Picture Placeholder 5"/>
          <p:cNvSpPr>
            <a:spLocks noGrp="1"/>
          </p:cNvSpPr>
          <p:nvPr>
            <p:ph type="pic" sz="quarter" idx="28"/>
          </p:nvPr>
        </p:nvSpPr>
        <p:spPr>
          <a:xfrm>
            <a:off x="6095999" y="1524040"/>
            <a:ext cx="5335012" cy="4191661"/>
          </a:xfrm>
          <a:solidFill>
            <a:schemeClr val="bg2">
              <a:lumMod val="40000"/>
              <a:lumOff val="60000"/>
            </a:schemeClr>
          </a:solidFill>
        </p:spPr>
        <p:txBody>
          <a:bodyPr anchor="ctr"/>
          <a:lstStyle>
            <a:lvl1pPr algn="ctr">
              <a:defRPr b="0" i="0"/>
            </a:lvl1pPr>
          </a:lstStyle>
          <a:p>
            <a:r>
              <a:rPr lang="en-US" noProof="0" dirty="0"/>
              <a:t>Click icon to add picture</a:t>
            </a:r>
          </a:p>
        </p:txBody>
      </p:sp>
      <p:sp>
        <p:nvSpPr>
          <p:cNvPr id="7" name="Date Placeholder 6"/>
          <p:cNvSpPr>
            <a:spLocks noGrp="1"/>
          </p:cNvSpPr>
          <p:nvPr>
            <p:ph type="dt" sz="half" idx="29"/>
          </p:nvPr>
        </p:nvSpPr>
        <p:spPr/>
        <p:txBody>
          <a:bodyPr/>
          <a:lstStyle/>
          <a:p>
            <a:pPr>
              <a:defRPr/>
            </a:pPr>
            <a:fld id="{7F4581AE-04B5-4F24-8634-9A0B4253E074}" type="datetime5">
              <a:rPr lang="en-US" smtClean="0"/>
              <a:t>6-Oct-21</a:t>
            </a:fld>
            <a:endParaRPr lang="en-US" dirty="0"/>
          </a:p>
        </p:txBody>
      </p:sp>
      <p:sp>
        <p:nvSpPr>
          <p:cNvPr id="8" name="Footer Placeholder 7"/>
          <p:cNvSpPr>
            <a:spLocks noGrp="1"/>
          </p:cNvSpPr>
          <p:nvPr>
            <p:ph type="ftr" sz="quarter" idx="30"/>
          </p:nvPr>
        </p:nvSpPr>
        <p:spPr/>
        <p:txBody>
          <a:bodyPr/>
          <a:lstStyle/>
          <a:p>
            <a:pPr>
              <a:defRPr/>
            </a:pPr>
            <a:r>
              <a:rPr lang="en-US" dirty="0"/>
              <a:t>FOOTER / PRESENTATION NAME</a:t>
            </a:r>
          </a:p>
        </p:txBody>
      </p:sp>
      <p:sp>
        <p:nvSpPr>
          <p:cNvPr id="11" name="Slide Number Placeholder 10"/>
          <p:cNvSpPr>
            <a:spLocks noGrp="1"/>
          </p:cNvSpPr>
          <p:nvPr>
            <p:ph type="sldNum" sz="quarter" idx="31"/>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883814315"/>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X-GUIDES">
    <p:spTree>
      <p:nvGrpSpPr>
        <p:cNvPr id="1" name=""/>
        <p:cNvGrpSpPr/>
        <p:nvPr/>
      </p:nvGrpSpPr>
      <p:grpSpPr>
        <a:xfrm>
          <a:off x="0" y="0"/>
          <a:ext cx="0" cy="0"/>
          <a:chOff x="0" y="0"/>
          <a:chExt cx="0" cy="0"/>
        </a:xfrm>
      </p:grpSpPr>
      <p:grpSp>
        <p:nvGrpSpPr>
          <p:cNvPr id="2" name="Group 2"/>
          <p:cNvGrpSpPr>
            <a:grpSpLocks/>
          </p:cNvGrpSpPr>
          <p:nvPr userDrawn="1"/>
        </p:nvGrpSpPr>
        <p:grpSpPr bwMode="auto">
          <a:xfrm>
            <a:off x="95252" y="1212476"/>
            <a:ext cx="11999382" cy="4441512"/>
            <a:chOff x="9468829" y="902018"/>
            <a:chExt cx="1008112" cy="3306445"/>
          </a:xfrm>
        </p:grpSpPr>
        <p:cxnSp>
          <p:nvCxnSpPr>
            <p:cNvPr id="3" name="Straight Connector 42"/>
            <p:cNvCxnSpPr/>
            <p:nvPr/>
          </p:nvCxnSpPr>
          <p:spPr bwMode="gray">
            <a:xfrm>
              <a:off x="9468829" y="338145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4" name="Straight Connector 43"/>
            <p:cNvCxnSpPr/>
            <p:nvPr/>
          </p:nvCxnSpPr>
          <p:spPr bwMode="gray">
            <a:xfrm>
              <a:off x="9468829" y="255287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5" name="Straight Connector 44"/>
            <p:cNvCxnSpPr/>
            <p:nvPr/>
          </p:nvCxnSpPr>
          <p:spPr bwMode="gray">
            <a:xfrm>
              <a:off x="9468829" y="4208463"/>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6" name="Straight Connector 56"/>
            <p:cNvCxnSpPr/>
            <p:nvPr/>
          </p:nvCxnSpPr>
          <p:spPr bwMode="gray">
            <a:xfrm>
              <a:off x="9468829" y="1724297"/>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7" name="Straight Connector 57"/>
            <p:cNvCxnSpPr/>
            <p:nvPr/>
          </p:nvCxnSpPr>
          <p:spPr bwMode="gray">
            <a:xfrm>
              <a:off x="9468829" y="90201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grpSp>
      <p:grpSp>
        <p:nvGrpSpPr>
          <p:cNvPr id="8" name="Group 1"/>
          <p:cNvGrpSpPr>
            <a:grpSpLocks/>
          </p:cNvGrpSpPr>
          <p:nvPr userDrawn="1"/>
        </p:nvGrpSpPr>
        <p:grpSpPr bwMode="auto">
          <a:xfrm>
            <a:off x="0" y="1"/>
            <a:ext cx="12192000" cy="6858000"/>
            <a:chOff x="0" y="0"/>
            <a:chExt cx="9072564" cy="5105402"/>
          </a:xfrm>
        </p:grpSpPr>
        <p:cxnSp>
          <p:nvCxnSpPr>
            <p:cNvPr id="9" name="Straight Connector 64"/>
            <p:cNvCxnSpPr/>
            <p:nvPr userDrawn="1"/>
          </p:nvCxnSpPr>
          <p:spPr bwMode="gray">
            <a:xfrm>
              <a:off x="1512360"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0" name="Straight Connector 65"/>
            <p:cNvCxnSpPr/>
            <p:nvPr userDrawn="1"/>
          </p:nvCxnSpPr>
          <p:spPr bwMode="gray">
            <a:xfrm>
              <a:off x="302472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1" name="Straight Connector 66"/>
            <p:cNvCxnSpPr/>
            <p:nvPr userDrawn="1"/>
          </p:nvCxnSpPr>
          <p:spPr bwMode="gray">
            <a:xfrm>
              <a:off x="604784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2" name="Straight Connector 67"/>
            <p:cNvCxnSpPr/>
            <p:nvPr userDrawn="1"/>
          </p:nvCxnSpPr>
          <p:spPr bwMode="gray">
            <a:xfrm>
              <a:off x="7560204"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3" name="Straight Connector 71"/>
            <p:cNvCxnSpPr/>
            <p:nvPr userDrawn="1"/>
          </p:nvCxnSpPr>
          <p:spPr bwMode="gray">
            <a:xfrm>
              <a:off x="453708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4" name="Straight Connector 45"/>
            <p:cNvCxnSpPr/>
            <p:nvPr userDrawn="1"/>
          </p:nvCxnSpPr>
          <p:spPr bwMode="gray">
            <a:xfrm flipH="1">
              <a:off x="0"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5" name="Straight Connector 46"/>
            <p:cNvCxnSpPr/>
            <p:nvPr userDrawn="1"/>
          </p:nvCxnSpPr>
          <p:spPr bwMode="gray">
            <a:xfrm flipH="1">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6" name="Straight Connector 47"/>
            <p:cNvCxnSpPr/>
            <p:nvPr userDrawn="1"/>
          </p:nvCxnSpPr>
          <p:spPr bwMode="gray">
            <a:xfrm flipH="1">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7" name="Straight Connector 48"/>
            <p:cNvCxnSpPr/>
            <p:nvPr userDrawn="1"/>
          </p:nvCxnSpPr>
          <p:spPr bwMode="gray">
            <a:xfrm>
              <a:off x="0" y="0"/>
              <a:ext cx="45370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8" name="Straight Connector 49"/>
            <p:cNvCxnSpPr/>
            <p:nvPr userDrawn="1"/>
          </p:nvCxnSpPr>
          <p:spPr bwMode="gray">
            <a:xfrm>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9" name="Straight Connector 50"/>
            <p:cNvCxnSpPr/>
            <p:nvPr userDrawn="1"/>
          </p:nvCxnSpPr>
          <p:spPr bwMode="gray">
            <a:xfrm>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20" name="Straight Connector 52"/>
            <p:cNvCxnSpPr/>
            <p:nvPr userDrawn="1"/>
          </p:nvCxnSpPr>
          <p:spPr bwMode="gray">
            <a:xfrm flipV="1">
              <a:off x="0"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1" name="Straight Connector 53"/>
            <p:cNvCxnSpPr/>
            <p:nvPr userDrawn="1"/>
          </p:nvCxnSpPr>
          <p:spPr bwMode="gray">
            <a:xfrm>
              <a:off x="0" y="2553510"/>
              <a:ext cx="4537082" cy="255189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2" name="Straight Connector 54"/>
            <p:cNvCxnSpPr/>
            <p:nvPr userDrawn="1"/>
          </p:nvCxnSpPr>
          <p:spPr bwMode="gray">
            <a:xfrm flipH="1">
              <a:off x="4537082" y="2547038"/>
              <a:ext cx="4535482" cy="2558364"/>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3" name="Straight Connector 61"/>
            <p:cNvCxnSpPr/>
            <p:nvPr userDrawn="1"/>
          </p:nvCxnSpPr>
          <p:spPr bwMode="gray">
            <a:xfrm flipH="1" flipV="1">
              <a:off x="4537082"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grpSp>
      <p:sp>
        <p:nvSpPr>
          <p:cNvPr id="24" name="Oval 72"/>
          <p:cNvSpPr/>
          <p:nvPr userDrawn="1"/>
        </p:nvSpPr>
        <p:spPr bwMode="gray">
          <a:xfrm>
            <a:off x="5990167" y="3322142"/>
            <a:ext cx="211666"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5" name="Oval 73"/>
          <p:cNvSpPr/>
          <p:nvPr userDrawn="1"/>
        </p:nvSpPr>
        <p:spPr bwMode="gray">
          <a:xfrm>
            <a:off x="8987368" y="3322142"/>
            <a:ext cx="213784"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6" name="Oval 78"/>
          <p:cNvSpPr/>
          <p:nvPr userDrawn="1"/>
        </p:nvSpPr>
        <p:spPr bwMode="gray">
          <a:xfrm>
            <a:off x="9988551" y="4435165"/>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7" name="Oval 38"/>
          <p:cNvSpPr/>
          <p:nvPr userDrawn="1"/>
        </p:nvSpPr>
        <p:spPr bwMode="gray">
          <a:xfrm>
            <a:off x="8987368" y="4987445"/>
            <a:ext cx="213784" cy="213717"/>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8" name="Oval 63"/>
          <p:cNvSpPr/>
          <p:nvPr userDrawn="1"/>
        </p:nvSpPr>
        <p:spPr bwMode="gray">
          <a:xfrm>
            <a:off x="7975600" y="4435165"/>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9" name="Oval 80"/>
          <p:cNvSpPr/>
          <p:nvPr userDrawn="1"/>
        </p:nvSpPr>
        <p:spPr bwMode="gray">
          <a:xfrm>
            <a:off x="9988551" y="2209119"/>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30" name="Oval 82"/>
          <p:cNvSpPr/>
          <p:nvPr userDrawn="1"/>
        </p:nvSpPr>
        <p:spPr bwMode="gray">
          <a:xfrm>
            <a:off x="8987368" y="1650491"/>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31" name="Oval 83"/>
          <p:cNvSpPr/>
          <p:nvPr userDrawn="1"/>
        </p:nvSpPr>
        <p:spPr bwMode="gray">
          <a:xfrm>
            <a:off x="7981951" y="2209119"/>
            <a:ext cx="213783"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Tree>
    <p:extLst>
      <p:ext uri="{BB962C8B-B14F-4D97-AF65-F5344CB8AC3E}">
        <p14:creationId xmlns:p14="http://schemas.microsoft.com/office/powerpoint/2010/main" val="616889208"/>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RE R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8EB7E47-58F9-4E01-8782-1ED32E0F0080}"/>
              </a:ext>
            </a:extLst>
          </p:cNvPr>
          <p:cNvSpPr/>
          <p:nvPr userDrawn="1"/>
        </p:nvSpPr>
        <p:spPr bwMode="gray">
          <a:xfrm>
            <a:off x="0" y="1"/>
            <a:ext cx="2032000" cy="6858000"/>
          </a:xfrm>
          <a:prstGeom prst="rect">
            <a:avLst/>
          </a:prstGeom>
          <a:solidFill>
            <a:schemeClr val="accent1"/>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7" name="Rectangle 6">
            <a:extLst>
              <a:ext uri="{FF2B5EF4-FFF2-40B4-BE49-F238E27FC236}">
                <a16:creationId xmlns:a16="http://schemas.microsoft.com/office/drawing/2014/main" id="{97061792-4EBB-449C-B551-E8C0281CA55D}"/>
              </a:ext>
            </a:extLst>
          </p:cNvPr>
          <p:cNvSpPr/>
          <p:nvPr userDrawn="1"/>
        </p:nvSpPr>
        <p:spPr bwMode="gray">
          <a:xfrm>
            <a:off x="2031999" y="1"/>
            <a:ext cx="2032000" cy="6858000"/>
          </a:xfrm>
          <a:prstGeom prst="rect">
            <a:avLst/>
          </a:prstGeom>
          <a:solidFill>
            <a:schemeClr val="accent2"/>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8" name="Rectangle 7">
            <a:extLst>
              <a:ext uri="{FF2B5EF4-FFF2-40B4-BE49-F238E27FC236}">
                <a16:creationId xmlns:a16="http://schemas.microsoft.com/office/drawing/2014/main" id="{32D66342-C4E5-4E6A-B602-C83DAAC0C118}"/>
              </a:ext>
            </a:extLst>
          </p:cNvPr>
          <p:cNvSpPr/>
          <p:nvPr userDrawn="1"/>
        </p:nvSpPr>
        <p:spPr bwMode="gray">
          <a:xfrm>
            <a:off x="4064000" y="1"/>
            <a:ext cx="2032000" cy="6858000"/>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9" name="Rectangle 8">
            <a:extLst>
              <a:ext uri="{FF2B5EF4-FFF2-40B4-BE49-F238E27FC236}">
                <a16:creationId xmlns:a16="http://schemas.microsoft.com/office/drawing/2014/main" id="{16F15D0B-0313-4703-8E3E-0A01F24ADF77}"/>
              </a:ext>
            </a:extLst>
          </p:cNvPr>
          <p:cNvSpPr/>
          <p:nvPr userDrawn="1"/>
        </p:nvSpPr>
        <p:spPr bwMode="gray">
          <a:xfrm>
            <a:off x="6096000" y="1"/>
            <a:ext cx="2032000" cy="6858000"/>
          </a:xfrm>
          <a:prstGeom prst="rect">
            <a:avLst/>
          </a:prstGeom>
          <a:solidFill>
            <a:schemeClr val="accent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10" name="Rectangle 9">
            <a:extLst>
              <a:ext uri="{FF2B5EF4-FFF2-40B4-BE49-F238E27FC236}">
                <a16:creationId xmlns:a16="http://schemas.microsoft.com/office/drawing/2014/main" id="{6EEA44E1-E041-4262-8E28-C4320552C8BF}"/>
              </a:ext>
            </a:extLst>
          </p:cNvPr>
          <p:cNvSpPr/>
          <p:nvPr userDrawn="1"/>
        </p:nvSpPr>
        <p:spPr bwMode="gray">
          <a:xfrm>
            <a:off x="8127999" y="1"/>
            <a:ext cx="2032000" cy="6858000"/>
          </a:xfrm>
          <a:prstGeom prst="rect">
            <a:avLst/>
          </a:prstGeom>
          <a:solidFill>
            <a:schemeClr val="accent5"/>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11" name="Rectangle 10">
            <a:extLst>
              <a:ext uri="{FF2B5EF4-FFF2-40B4-BE49-F238E27FC236}">
                <a16:creationId xmlns:a16="http://schemas.microsoft.com/office/drawing/2014/main" id="{5F255E2C-855C-4365-895D-7CC01F8F7921}"/>
              </a:ext>
            </a:extLst>
          </p:cNvPr>
          <p:cNvSpPr/>
          <p:nvPr userDrawn="1"/>
        </p:nvSpPr>
        <p:spPr bwMode="gray">
          <a:xfrm>
            <a:off x="10160000" y="1"/>
            <a:ext cx="2032000" cy="6858000"/>
          </a:xfrm>
          <a:prstGeom prst="rect">
            <a:avLst/>
          </a:prstGeom>
          <a:solidFill>
            <a:schemeClr val="accent6"/>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Tree>
    <p:extLst>
      <p:ext uri="{BB962C8B-B14F-4D97-AF65-F5344CB8AC3E}">
        <p14:creationId xmlns:p14="http://schemas.microsoft.com/office/powerpoint/2010/main" val="4050379446"/>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3 Images + Description">
    <p:spTree>
      <p:nvGrpSpPr>
        <p:cNvPr id="1" name=""/>
        <p:cNvGrpSpPr/>
        <p:nvPr/>
      </p:nvGrpSpPr>
      <p:grpSpPr>
        <a:xfrm>
          <a:off x="0" y="0"/>
          <a:ext cx="0" cy="0"/>
          <a:chOff x="0" y="0"/>
          <a:chExt cx="0" cy="0"/>
        </a:xfrm>
      </p:grpSpPr>
      <p:sp>
        <p:nvSpPr>
          <p:cNvPr id="11" name="Picture Placeholder 2"/>
          <p:cNvSpPr>
            <a:spLocks noGrp="1"/>
          </p:cNvSpPr>
          <p:nvPr>
            <p:ph type="pic" sz="quarter" idx="19" hasCustomPrompt="1"/>
          </p:nvPr>
        </p:nvSpPr>
        <p:spPr bwMode="gray">
          <a:xfrm>
            <a:off x="0" y="1"/>
            <a:ext cx="4061866"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75000"/>
            </a:schemeClr>
          </a:solidFill>
          <a:ln>
            <a:noFill/>
          </a:ln>
        </p:spPr>
        <p:txBody>
          <a:bodyPr tIns="643010" anchor="ctr" anchorCtr="0"/>
          <a:lstStyle>
            <a:lvl1pPr algn="ctr">
              <a:lnSpc>
                <a:spcPct val="100000"/>
              </a:lnSpc>
              <a:spcAft>
                <a:spcPts val="0"/>
              </a:spcAft>
              <a:defRPr sz="1343">
                <a:solidFill>
                  <a:sysClr val="windowText" lastClr="000000"/>
                </a:solidFill>
              </a:defRPr>
            </a:lvl1pPr>
          </a:lstStyle>
          <a:p>
            <a:r>
              <a:rPr lang="en-US" noProof="0" dirty="0"/>
              <a:t>CLICK ICON TO </a:t>
            </a:r>
            <a:br>
              <a:rPr lang="en-US" noProof="0" dirty="0"/>
            </a:br>
            <a:r>
              <a:rPr lang="en-US" noProof="0" dirty="0"/>
              <a:t>ADD PICTURE</a:t>
            </a:r>
          </a:p>
        </p:txBody>
      </p:sp>
      <p:sp>
        <p:nvSpPr>
          <p:cNvPr id="9" name="Picture Placeholder 2"/>
          <p:cNvSpPr>
            <a:spLocks noGrp="1"/>
          </p:cNvSpPr>
          <p:nvPr>
            <p:ph type="pic" sz="quarter" idx="18" hasCustomPrompt="1"/>
          </p:nvPr>
        </p:nvSpPr>
        <p:spPr bwMode="gray">
          <a:xfrm>
            <a:off x="4061868" y="1"/>
            <a:ext cx="4066132"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2">
              <a:lumMod val="85000"/>
            </a:schemeClr>
          </a:solidFill>
          <a:ln>
            <a:noFill/>
          </a:ln>
        </p:spPr>
        <p:txBody>
          <a:bodyPr tIns="643010" anchor="ctr" anchorCtr="0"/>
          <a:lstStyle>
            <a:lvl1pPr algn="ctr">
              <a:lnSpc>
                <a:spcPct val="100000"/>
              </a:lnSpc>
              <a:spcAft>
                <a:spcPts val="0"/>
              </a:spcAft>
              <a:defRPr sz="1343">
                <a:solidFill>
                  <a:sysClr val="windowText" lastClr="000000"/>
                </a:solidFill>
              </a:defRPr>
            </a:lvl1pPr>
          </a:lstStyle>
          <a:p>
            <a:r>
              <a:rPr lang="en-US" noProof="0" dirty="0"/>
              <a:t>CLICK ICON TO </a:t>
            </a:r>
            <a:br>
              <a:rPr lang="en-US" noProof="0" dirty="0"/>
            </a:br>
            <a:r>
              <a:rPr lang="en-US" noProof="0" dirty="0"/>
              <a:t>ADD PICTURE</a:t>
            </a:r>
          </a:p>
        </p:txBody>
      </p:sp>
      <p:sp>
        <p:nvSpPr>
          <p:cNvPr id="10" name="Picture Placeholder 2"/>
          <p:cNvSpPr>
            <a:spLocks noGrp="1"/>
          </p:cNvSpPr>
          <p:nvPr>
            <p:ph type="pic" sz="quarter" idx="14" hasCustomPrompt="1"/>
          </p:nvPr>
        </p:nvSpPr>
        <p:spPr bwMode="gray">
          <a:xfrm>
            <a:off x="8128000" y="1"/>
            <a:ext cx="4064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75000"/>
            </a:schemeClr>
          </a:solidFill>
          <a:ln>
            <a:noFill/>
          </a:ln>
        </p:spPr>
        <p:txBody>
          <a:bodyPr tIns="643010" anchor="ctr" anchorCtr="0"/>
          <a:lstStyle>
            <a:lvl1pPr algn="ctr">
              <a:lnSpc>
                <a:spcPct val="100000"/>
              </a:lnSpc>
              <a:spcAft>
                <a:spcPts val="0"/>
              </a:spcAft>
              <a:defRPr sz="1343">
                <a:solidFill>
                  <a:sysClr val="windowText" lastClr="000000"/>
                </a:solidFill>
              </a:defRPr>
            </a:lvl1pPr>
          </a:lstStyle>
          <a:p>
            <a:r>
              <a:rPr lang="en-US" noProof="0" dirty="0"/>
              <a:t>CLICK ICON TO </a:t>
            </a:r>
            <a:br>
              <a:rPr lang="en-US" noProof="0" dirty="0"/>
            </a:br>
            <a:r>
              <a:rPr lang="en-US" noProof="0" dirty="0"/>
              <a:t>ADD PICTURE</a:t>
            </a:r>
          </a:p>
        </p:txBody>
      </p:sp>
      <p:sp>
        <p:nvSpPr>
          <p:cNvPr id="13" name="Text Placeholder 7"/>
          <p:cNvSpPr>
            <a:spLocks noGrp="1"/>
          </p:cNvSpPr>
          <p:nvPr>
            <p:ph type="body" sz="quarter" idx="22" hasCustomPrompt="1"/>
          </p:nvPr>
        </p:nvSpPr>
        <p:spPr>
          <a:xfrm>
            <a:off x="8130134" y="3428999"/>
            <a:ext cx="4061866" cy="3429001"/>
          </a:xfrm>
          <a:gradFill>
            <a:gsLst>
              <a:gs pos="55000">
                <a:schemeClr val="accent1">
                  <a:alpha val="79000"/>
                </a:schemeClr>
              </a:gs>
              <a:gs pos="3000">
                <a:schemeClr val="accent1">
                  <a:alpha val="95000"/>
                </a:schemeClr>
              </a:gs>
              <a:gs pos="100000">
                <a:schemeClr val="accent1">
                  <a:alpha val="75000"/>
                </a:schemeClr>
              </a:gs>
            </a:gsLst>
            <a:lin ang="5400000" scaled="0"/>
          </a:gradFill>
        </p:spPr>
        <p:txBody>
          <a:bodyPr tIns="284400" rIns="0" bIns="0"/>
          <a:lstStyle>
            <a:lvl1pPr algn="ctr">
              <a:defRPr sz="2149" cap="all" baseline="0">
                <a:solidFill>
                  <a:schemeClr val="bg2"/>
                </a:solidFill>
                <a:latin typeface="+mj-lt"/>
              </a:defRPr>
            </a:lvl1pPr>
            <a:lvl2pPr marL="0" indent="0" algn="ctr">
              <a:buNone/>
              <a:defRPr sz="2149" b="0">
                <a:solidFill>
                  <a:schemeClr val="bg2"/>
                </a:solidFill>
                <a:latin typeface="+mn-lt"/>
              </a:defRPr>
            </a:lvl2pPr>
          </a:lstStyle>
          <a:p>
            <a:pPr lvl="0"/>
            <a:r>
              <a:rPr lang="en-US" dirty="0"/>
              <a:t>DESCRIPTION</a:t>
            </a:r>
          </a:p>
          <a:p>
            <a:pPr lvl="1"/>
            <a:r>
              <a:rPr lang="en-US" b="0" dirty="0">
                <a:latin typeface="+mn-lt"/>
              </a:rPr>
              <a:t>SUB DESCRIPTION</a:t>
            </a:r>
            <a:endParaRPr lang="en-US" dirty="0"/>
          </a:p>
        </p:txBody>
      </p:sp>
      <p:sp>
        <p:nvSpPr>
          <p:cNvPr id="12" name="Text Placeholder 7"/>
          <p:cNvSpPr>
            <a:spLocks noGrp="1"/>
          </p:cNvSpPr>
          <p:nvPr>
            <p:ph type="body" sz="quarter" idx="21" hasCustomPrompt="1"/>
          </p:nvPr>
        </p:nvSpPr>
        <p:spPr>
          <a:xfrm>
            <a:off x="4061868" y="3428999"/>
            <a:ext cx="4068586" cy="3429001"/>
          </a:xfrm>
          <a:gradFill>
            <a:gsLst>
              <a:gs pos="55000">
                <a:schemeClr val="accent1">
                  <a:alpha val="79000"/>
                </a:schemeClr>
              </a:gs>
              <a:gs pos="3000">
                <a:schemeClr val="accent1">
                  <a:alpha val="95000"/>
                </a:schemeClr>
              </a:gs>
              <a:gs pos="100000">
                <a:schemeClr val="accent1">
                  <a:alpha val="75000"/>
                </a:schemeClr>
              </a:gs>
            </a:gsLst>
            <a:lin ang="5400000" scaled="0"/>
          </a:gradFill>
        </p:spPr>
        <p:txBody>
          <a:bodyPr tIns="284400" rIns="0" bIns="0"/>
          <a:lstStyle>
            <a:lvl1pPr algn="ctr">
              <a:defRPr sz="2149" cap="all" baseline="0">
                <a:solidFill>
                  <a:schemeClr val="bg2"/>
                </a:solidFill>
                <a:latin typeface="+mj-lt"/>
              </a:defRPr>
            </a:lvl1pPr>
            <a:lvl2pPr marL="0" indent="0" algn="ctr">
              <a:buNone/>
              <a:defRPr sz="2149" b="0">
                <a:solidFill>
                  <a:schemeClr val="bg2"/>
                </a:solidFill>
                <a:latin typeface="+mn-lt"/>
              </a:defRPr>
            </a:lvl2pPr>
          </a:lstStyle>
          <a:p>
            <a:pPr lvl="0"/>
            <a:r>
              <a:rPr lang="en-US" dirty="0"/>
              <a:t>DESCRIPTION</a:t>
            </a:r>
          </a:p>
          <a:p>
            <a:pPr lvl="1"/>
            <a:r>
              <a:rPr lang="en-US" dirty="0"/>
              <a:t>SUB DESCRIPTION</a:t>
            </a:r>
          </a:p>
        </p:txBody>
      </p:sp>
      <p:sp>
        <p:nvSpPr>
          <p:cNvPr id="8" name="Text Placeholder 7"/>
          <p:cNvSpPr>
            <a:spLocks noGrp="1"/>
          </p:cNvSpPr>
          <p:nvPr>
            <p:ph type="body" sz="quarter" idx="20" hasCustomPrompt="1"/>
          </p:nvPr>
        </p:nvSpPr>
        <p:spPr>
          <a:xfrm>
            <a:off x="0" y="3428999"/>
            <a:ext cx="4061866" cy="3429001"/>
          </a:xfrm>
          <a:gradFill>
            <a:gsLst>
              <a:gs pos="55000">
                <a:schemeClr val="accent1">
                  <a:alpha val="79000"/>
                </a:schemeClr>
              </a:gs>
              <a:gs pos="3000">
                <a:schemeClr val="accent1">
                  <a:alpha val="95000"/>
                </a:schemeClr>
              </a:gs>
              <a:gs pos="100000">
                <a:schemeClr val="accent1">
                  <a:alpha val="75000"/>
                </a:schemeClr>
              </a:gs>
            </a:gsLst>
            <a:lin ang="5400000" scaled="0"/>
          </a:gradFill>
        </p:spPr>
        <p:txBody>
          <a:bodyPr tIns="284400" rIns="0" bIns="0"/>
          <a:lstStyle>
            <a:lvl1pPr algn="ctr">
              <a:defRPr sz="2149" cap="all" baseline="0">
                <a:solidFill>
                  <a:schemeClr val="bg2"/>
                </a:solidFill>
                <a:latin typeface="+mj-lt"/>
              </a:defRPr>
            </a:lvl1pPr>
            <a:lvl2pPr marL="0" indent="0" algn="ctr">
              <a:buNone/>
              <a:defRPr sz="2149" b="0">
                <a:solidFill>
                  <a:schemeClr val="bg2"/>
                </a:solidFill>
                <a:latin typeface="+mn-lt"/>
              </a:defRPr>
            </a:lvl2pPr>
          </a:lstStyle>
          <a:p>
            <a:pPr lvl="0"/>
            <a:r>
              <a:rPr lang="en-US" dirty="0"/>
              <a:t>DESCRIPTION</a:t>
            </a:r>
          </a:p>
          <a:p>
            <a:pPr lvl="1"/>
            <a:r>
              <a:rPr lang="en-US" dirty="0"/>
              <a:t>SUB DESCRIPTION</a:t>
            </a:r>
          </a:p>
        </p:txBody>
      </p:sp>
      <p:sp>
        <p:nvSpPr>
          <p:cNvPr id="2" name="Title 1"/>
          <p:cNvSpPr>
            <a:spLocks noGrp="1"/>
          </p:cNvSpPr>
          <p:nvPr>
            <p:ph type="title"/>
          </p:nvPr>
        </p:nvSpPr>
        <p:spPr/>
        <p:txBody>
          <a:bodyPr/>
          <a:lstStyle>
            <a:lvl1pPr>
              <a:defRPr>
                <a:solidFill>
                  <a:schemeClr val="tx1"/>
                </a:solidFill>
              </a:defRPr>
            </a:lvl1pPr>
          </a:lstStyle>
          <a:p>
            <a:r>
              <a:rPr lang="de-DE"/>
              <a:t>Titelmasterformat durch Klicken bearbeiten</a:t>
            </a:r>
            <a:endParaRPr lang="en-US"/>
          </a:p>
        </p:txBody>
      </p:sp>
      <p:sp>
        <p:nvSpPr>
          <p:cNvPr id="4" name="Date Placeholder 3"/>
          <p:cNvSpPr>
            <a:spLocks noGrp="1"/>
          </p:cNvSpPr>
          <p:nvPr>
            <p:ph type="dt" sz="half" idx="15"/>
          </p:nvPr>
        </p:nvSpPr>
        <p:spPr/>
        <p:txBody>
          <a:bodyPr/>
          <a:lstStyle>
            <a:lvl1pPr>
              <a:defRPr>
                <a:solidFill>
                  <a:schemeClr val="bg2"/>
                </a:solidFill>
              </a:defRPr>
            </a:lvl1pPr>
          </a:lstStyle>
          <a:p>
            <a:fld id="{95C8E29C-B1C1-4CC2-9B97-B8B51F6CFA86}" type="datetime5">
              <a:rPr lang="en-US" smtClean="0"/>
              <a:t>6-Oct-21</a:t>
            </a:fld>
            <a:endParaRPr lang="en-US" dirty="0"/>
          </a:p>
        </p:txBody>
      </p:sp>
      <p:sp>
        <p:nvSpPr>
          <p:cNvPr id="5" name="Footer Placeholder 4"/>
          <p:cNvSpPr>
            <a:spLocks noGrp="1"/>
          </p:cNvSpPr>
          <p:nvPr>
            <p:ph type="ftr" sz="quarter" idx="16"/>
          </p:nvPr>
        </p:nvSpPr>
        <p:spPr/>
        <p:txBody>
          <a:bodyPr/>
          <a:lstStyle>
            <a:lvl1pPr>
              <a:defRPr>
                <a:solidFill>
                  <a:schemeClr val="bg2"/>
                </a:solidFill>
              </a:defRPr>
            </a:lvl1pPr>
          </a:lstStyle>
          <a:p>
            <a:r>
              <a:rPr lang="en-US"/>
              <a:t>FOOTER / PRESENTATION NAME</a:t>
            </a:r>
            <a:endParaRPr lang="en-US" dirty="0"/>
          </a:p>
        </p:txBody>
      </p:sp>
      <p:sp>
        <p:nvSpPr>
          <p:cNvPr id="6" name="Slide Number Placeholder 5"/>
          <p:cNvSpPr>
            <a:spLocks noGrp="1"/>
          </p:cNvSpPr>
          <p:nvPr>
            <p:ph type="sldNum" sz="quarter" idx="17"/>
          </p:nvPr>
        </p:nvSpPr>
        <p:spPr/>
        <p:txBody>
          <a:bodyPr/>
          <a:lstStyle>
            <a:lvl1pPr>
              <a:defRPr>
                <a:solidFill>
                  <a:schemeClr val="bg2"/>
                </a:solidFill>
              </a:defRPr>
            </a:lvl1pPr>
          </a:lstStyle>
          <a:p>
            <a:fld id="{D136C6D1-1D7D-45E1-A7D6-44C33DC01A23}" type="slidenum">
              <a:rPr lang="en-US" smtClean="0"/>
              <a:pPr/>
              <a:t>‹#›</a:t>
            </a:fld>
            <a:endParaRPr lang="en-US" dirty="0"/>
          </a:p>
        </p:txBody>
      </p:sp>
    </p:spTree>
    <p:extLst>
      <p:ext uri="{BB962C8B-B14F-4D97-AF65-F5344CB8AC3E}">
        <p14:creationId xmlns:p14="http://schemas.microsoft.com/office/powerpoint/2010/main" val="1584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 y="3"/>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678733" anchor="ctr" anchorCtr="0"/>
          <a:lstStyle>
            <a:lvl1pPr algn="ctr">
              <a:lnSpc>
                <a:spcPct val="100000"/>
              </a:lnSpc>
              <a:spcAft>
                <a:spcPts val="0"/>
              </a:spcAft>
              <a:defRPr sz="1344">
                <a:solidFill>
                  <a:schemeClr val="bg2"/>
                </a:solidFill>
              </a:defRPr>
            </a:lvl1pPr>
          </a:lstStyle>
          <a:p>
            <a:pPr lvl="0"/>
            <a:r>
              <a:rPr lang="en-US" noProof="0"/>
              <a:t>Click icon to add picture</a:t>
            </a:r>
          </a:p>
        </p:txBody>
      </p:sp>
      <p:sp>
        <p:nvSpPr>
          <p:cNvPr id="9" name="Subtitle 2"/>
          <p:cNvSpPr>
            <a:spLocks noGrp="1"/>
          </p:cNvSpPr>
          <p:nvPr>
            <p:ph type="subTitle" idx="1"/>
          </p:nvPr>
        </p:nvSpPr>
        <p:spPr bwMode="gray">
          <a:xfrm>
            <a:off x="1142543" y="4572127"/>
            <a:ext cx="6477196" cy="76223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a:t>Click to edit Master subtitle style</a:t>
            </a:r>
          </a:p>
        </p:txBody>
      </p:sp>
      <p:sp>
        <p:nvSpPr>
          <p:cNvPr id="2" name="Title 1"/>
          <p:cNvSpPr>
            <a:spLocks noGrp="1"/>
          </p:cNvSpPr>
          <p:nvPr>
            <p:ph type="title" hasCustomPrompt="1"/>
          </p:nvPr>
        </p:nvSpPr>
        <p:spPr>
          <a:xfrm>
            <a:off x="1142543" y="2286174"/>
            <a:ext cx="6477196" cy="2444863"/>
          </a:xfrm>
        </p:spPr>
        <p:txBody>
          <a:bodyPr tIns="0" anchor="b"/>
          <a:lstStyle>
            <a:lvl1pPr>
              <a:lnSpc>
                <a:spcPct val="70000"/>
              </a:lnSpc>
              <a:defRPr sz="6350" b="0" i="0">
                <a:solidFill>
                  <a:schemeClr val="tx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6" y="6951653"/>
            <a:ext cx="1143218" cy="379993"/>
          </a:xfrm>
        </p:spPr>
        <p:txBody>
          <a:bodyPr/>
          <a:lstStyle/>
          <a:p>
            <a:pPr>
              <a:defRPr/>
            </a:pPr>
            <a:fld id="{13D1D2D4-0399-4127-B1E2-6AABBE8BBB57}" type="datetime5">
              <a:rPr lang="en-US" smtClean="0"/>
              <a:t>6-Oct-21</a:t>
            </a:fld>
            <a:endParaRPr lang="en-US"/>
          </a:p>
        </p:txBody>
      </p:sp>
      <p:sp>
        <p:nvSpPr>
          <p:cNvPr id="4"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11" name="Slide Number Placeholder 10"/>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480087468"/>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Badge of Sport">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 y="3"/>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3" y="2285522"/>
            <a:ext cx="6477196" cy="2444863"/>
          </a:xfrm>
        </p:spPr>
        <p:txBody>
          <a:bodyPr tIns="0" anchor="b"/>
          <a:lstStyle>
            <a:lvl1pPr>
              <a:lnSpc>
                <a:spcPct val="70000"/>
              </a:lnSpc>
              <a:defRPr sz="6350" b="0" i="0">
                <a:solidFill>
                  <a:schemeClr val="bg1"/>
                </a:solidFill>
                <a:latin typeface="adineue PRO Black" pitchFamily="34" charset="0"/>
              </a:defRPr>
            </a:lvl1pPr>
          </a:lstStyle>
          <a:p>
            <a:r>
              <a:rPr lang="en-US" noProof="0"/>
              <a:t>Global Template</a:t>
            </a:r>
          </a:p>
        </p:txBody>
      </p:sp>
      <p:sp>
        <p:nvSpPr>
          <p:cNvPr id="8" name="Subtitle 2"/>
          <p:cNvSpPr>
            <a:spLocks noGrp="1"/>
          </p:cNvSpPr>
          <p:nvPr>
            <p:ph type="subTitle" idx="1"/>
          </p:nvPr>
        </p:nvSpPr>
        <p:spPr bwMode="gray">
          <a:xfrm>
            <a:off x="1142543" y="4572127"/>
            <a:ext cx="6477196"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
        <p:nvSpPr>
          <p:cNvPr id="10" name="Date Placeholder 2"/>
          <p:cNvSpPr>
            <a:spLocks noGrp="1"/>
          </p:cNvSpPr>
          <p:nvPr>
            <p:ph type="dt" sz="half" idx="15"/>
          </p:nvPr>
        </p:nvSpPr>
        <p:spPr>
          <a:xfrm>
            <a:off x="10287796" y="6951653"/>
            <a:ext cx="1143218" cy="379993"/>
          </a:xfrm>
        </p:spPr>
        <p:txBody>
          <a:bodyPr/>
          <a:lstStyle/>
          <a:p>
            <a:pPr>
              <a:defRPr/>
            </a:pPr>
            <a:fld id="{FFBA963D-A021-4565-BCED-B0227E4FBE6F}" type="datetime5">
              <a:rPr lang="en-US" smtClean="0"/>
              <a:t>6-Oct-21</a:t>
            </a:fld>
            <a:endParaRPr lang="en-US"/>
          </a:p>
        </p:txBody>
      </p:sp>
      <p:sp>
        <p:nvSpPr>
          <p:cNvPr id="11"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12" name="Slide Number Placeholder 10"/>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977655151"/>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 y="3"/>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1E82C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3" y="2285522"/>
            <a:ext cx="6477196" cy="2444863"/>
          </a:xfrm>
        </p:spPr>
        <p:txBody>
          <a:bodyPr tIns="0" anchor="b"/>
          <a:lstStyle>
            <a:lvl1pPr>
              <a:lnSpc>
                <a:spcPct val="70000"/>
              </a:lnSpc>
              <a:defRPr sz="6350" b="0" i="0">
                <a:solidFill>
                  <a:schemeClr val="bg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6" y="6951653"/>
            <a:ext cx="1143218" cy="379993"/>
          </a:xfrm>
        </p:spPr>
        <p:txBody>
          <a:bodyPr/>
          <a:lstStyle/>
          <a:p>
            <a:pPr>
              <a:defRPr/>
            </a:pPr>
            <a:fld id="{7FC44996-ABB9-4389-9F36-579A3143C038}" type="datetime5">
              <a:rPr lang="en-US" smtClean="0"/>
              <a:t>6-Oct-21</a:t>
            </a:fld>
            <a:endParaRPr lang="en-US"/>
          </a:p>
        </p:txBody>
      </p:sp>
      <p:sp>
        <p:nvSpPr>
          <p:cNvPr id="4"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5" name="Slide Number Placeholder 4"/>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
        <p:nvSpPr>
          <p:cNvPr id="8" name="Subtitle 2"/>
          <p:cNvSpPr>
            <a:spLocks noGrp="1"/>
          </p:cNvSpPr>
          <p:nvPr>
            <p:ph type="subTitle" idx="1"/>
          </p:nvPr>
        </p:nvSpPr>
        <p:spPr bwMode="gray">
          <a:xfrm>
            <a:off x="1142543" y="4572127"/>
            <a:ext cx="6477196"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Tree>
    <p:extLst>
      <p:ext uri="{BB962C8B-B14F-4D97-AF65-F5344CB8AC3E}">
        <p14:creationId xmlns:p14="http://schemas.microsoft.com/office/powerpoint/2010/main" val="3555179303"/>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Y-3">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 y="3"/>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F3932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3" y="2285522"/>
            <a:ext cx="6477196" cy="2444863"/>
          </a:xfrm>
        </p:spPr>
        <p:txBody>
          <a:bodyPr tIns="0" anchor="b"/>
          <a:lstStyle>
            <a:lvl1pPr>
              <a:lnSpc>
                <a:spcPct val="70000"/>
              </a:lnSpc>
              <a:defRPr sz="6350" b="0" i="0">
                <a:solidFill>
                  <a:schemeClr val="bg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6" y="6951653"/>
            <a:ext cx="1143218" cy="379993"/>
          </a:xfrm>
        </p:spPr>
        <p:txBody>
          <a:bodyPr/>
          <a:lstStyle/>
          <a:p>
            <a:pPr>
              <a:defRPr/>
            </a:pPr>
            <a:fld id="{C294B216-5356-4AEB-A586-90ECD297E8F7}" type="datetime5">
              <a:rPr lang="en-US" smtClean="0"/>
              <a:t>6-Oct-21</a:t>
            </a:fld>
            <a:endParaRPr lang="en-US"/>
          </a:p>
        </p:txBody>
      </p:sp>
      <p:sp>
        <p:nvSpPr>
          <p:cNvPr id="4"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5" name="Slide Number Placeholder 4"/>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
        <p:nvSpPr>
          <p:cNvPr id="8" name="Subtitle 2"/>
          <p:cNvSpPr>
            <a:spLocks noGrp="1"/>
          </p:cNvSpPr>
          <p:nvPr>
            <p:ph type="subTitle" idx="1"/>
          </p:nvPr>
        </p:nvSpPr>
        <p:spPr bwMode="gray">
          <a:xfrm>
            <a:off x="1142543" y="4572127"/>
            <a:ext cx="6477196"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Tree>
    <p:extLst>
      <p:ext uri="{BB962C8B-B14F-4D97-AF65-F5344CB8AC3E}">
        <p14:creationId xmlns:p14="http://schemas.microsoft.com/office/powerpoint/2010/main" val="2856633714"/>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Stella">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 y="3"/>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3" y="2285522"/>
            <a:ext cx="6477196" cy="2444863"/>
          </a:xfrm>
        </p:spPr>
        <p:txBody>
          <a:bodyPr tIns="0" anchor="b"/>
          <a:lstStyle>
            <a:lvl1pPr>
              <a:lnSpc>
                <a:spcPct val="70000"/>
              </a:lnSpc>
              <a:defRPr sz="6350" b="0" i="0">
                <a:solidFill>
                  <a:schemeClr val="bg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6" y="6951653"/>
            <a:ext cx="1143218" cy="379993"/>
          </a:xfrm>
        </p:spPr>
        <p:txBody>
          <a:bodyPr/>
          <a:lstStyle/>
          <a:p>
            <a:pPr>
              <a:defRPr/>
            </a:pPr>
            <a:fld id="{2CE7B258-35C1-45E4-A577-60302F5DEFD5}" type="datetime5">
              <a:rPr lang="en-US" smtClean="0"/>
              <a:t>6-Oct-21</a:t>
            </a:fld>
            <a:endParaRPr lang="en-US"/>
          </a:p>
        </p:txBody>
      </p:sp>
      <p:sp>
        <p:nvSpPr>
          <p:cNvPr id="4"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5" name="Slide Number Placeholder 4"/>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
        <p:nvSpPr>
          <p:cNvPr id="8" name="Subtitle 2"/>
          <p:cNvSpPr>
            <a:spLocks noGrp="1"/>
          </p:cNvSpPr>
          <p:nvPr>
            <p:ph type="subTitle" idx="1"/>
          </p:nvPr>
        </p:nvSpPr>
        <p:spPr bwMode="gray">
          <a:xfrm>
            <a:off x="1142543" y="4572127"/>
            <a:ext cx="6477196"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Tree>
    <p:extLst>
      <p:ext uri="{BB962C8B-B14F-4D97-AF65-F5344CB8AC3E}">
        <p14:creationId xmlns:p14="http://schemas.microsoft.com/office/powerpoint/2010/main" val="58995077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2" y="3"/>
            <a:ext cx="12192000" cy="6858000"/>
          </a:xfrm>
          <a:solidFill>
            <a:schemeClr val="bg2"/>
          </a:solidFill>
        </p:spPr>
        <p:txBody>
          <a:bodyPr anchor="ctr"/>
          <a:lstStyle>
            <a:lvl1pPr algn="ctr">
              <a:defRPr>
                <a:solidFill>
                  <a:schemeClr val="bg1"/>
                </a:solidFill>
              </a:defRPr>
            </a:lvl1pPr>
          </a:lstStyle>
          <a:p>
            <a:r>
              <a:rPr lang="en-US" noProof="0"/>
              <a:t>Click icon to add picture</a:t>
            </a:r>
          </a:p>
        </p:txBody>
      </p:sp>
      <p:sp>
        <p:nvSpPr>
          <p:cNvPr id="2" name="Title 1"/>
          <p:cNvSpPr>
            <a:spLocks noGrp="1"/>
          </p:cNvSpPr>
          <p:nvPr>
            <p:ph type="ctrTitle" hasCustomPrompt="1"/>
          </p:nvPr>
        </p:nvSpPr>
        <p:spPr bwMode="gray">
          <a:xfrm>
            <a:off x="1142063" y="1143051"/>
            <a:ext cx="5335133" cy="1143653"/>
          </a:xfrm>
        </p:spPr>
        <p:txBody>
          <a:bodyPr lIns="0" anchor="t"/>
          <a:lstStyle>
            <a:lvl1pPr algn="l">
              <a:lnSpc>
                <a:spcPct val="100000"/>
              </a:lnSpc>
              <a:defRPr sz="5292" b="0" i="0" cap="all" spc="0" baseline="0">
                <a:solidFill>
                  <a:schemeClr val="bg1"/>
                </a:solidFill>
                <a:latin typeface="adineue TEXT Black" panose="020B0A03020201060004" pitchFamily="34" charset="0"/>
              </a:defRPr>
            </a:lvl1pPr>
          </a:lstStyle>
          <a:p>
            <a:r>
              <a:rPr lang="en-US" noProof="0"/>
              <a:t>Content</a:t>
            </a:r>
          </a:p>
        </p:txBody>
      </p:sp>
      <p:sp>
        <p:nvSpPr>
          <p:cNvPr id="6" name="Text Placeholder 5"/>
          <p:cNvSpPr>
            <a:spLocks noGrp="1"/>
          </p:cNvSpPr>
          <p:nvPr>
            <p:ph type="body" sz="quarter" idx="10" hasCustomPrompt="1"/>
          </p:nvPr>
        </p:nvSpPr>
        <p:spPr bwMode="gray">
          <a:xfrm>
            <a:off x="2667579" y="2667015"/>
            <a:ext cx="6476999" cy="3428752"/>
          </a:xfrm>
        </p:spPr>
        <p:txBody>
          <a:bodyPr anchor="t" anchorCtr="0"/>
          <a:lstStyle>
            <a:lvl1pPr marL="381014" indent="-381014" algn="l">
              <a:lnSpc>
                <a:spcPct val="80000"/>
              </a:lnSpc>
              <a:spcBef>
                <a:spcPts val="0"/>
              </a:spcBef>
              <a:spcAft>
                <a:spcPts val="1323"/>
              </a:spcAft>
              <a:buClrTx/>
              <a:buSzPct val="90000"/>
              <a:buFont typeface="+mj-lt"/>
              <a:buAutoNum type="arabicPeriod"/>
              <a:defRPr sz="1587" b="0" i="0" cap="all" baseline="0">
                <a:solidFill>
                  <a:schemeClr val="bg1"/>
                </a:solidFill>
                <a:latin typeface="+mn-lt"/>
              </a:defRPr>
            </a:lvl1pPr>
            <a:lvl2pPr marL="0" indent="0" algn="l">
              <a:lnSpc>
                <a:spcPct val="80000"/>
              </a:lnSpc>
              <a:spcBef>
                <a:spcPts val="0"/>
              </a:spcBef>
              <a:spcAft>
                <a:spcPts val="1323"/>
              </a:spcAft>
              <a:buClrTx/>
              <a:buSzPct val="90000"/>
              <a:buFont typeface="+mj-lt"/>
              <a:buNone/>
              <a:defRPr sz="1587" b="0" i="0" cap="all" baseline="0">
                <a:solidFill>
                  <a:schemeClr val="bg1"/>
                </a:solidFill>
                <a:latin typeface="+mn-lt"/>
                <a:cs typeface="AdihausDIN" panose="020B0504020101020102" pitchFamily="34" charset="0"/>
              </a:defRPr>
            </a:lvl2pPr>
            <a:lvl3pPr marL="381014" indent="-381014"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3pPr>
            <a:lvl4pPr marL="381014" indent="-381014"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4pPr>
            <a:lvl5pPr marL="381014" indent="-381014" algn="l">
              <a:lnSpc>
                <a:spcPct val="80000"/>
              </a:lnSpc>
              <a:spcBef>
                <a:spcPts val="0"/>
              </a:spcBef>
              <a:spcAft>
                <a:spcPts val="1323"/>
              </a:spcAft>
              <a:buClrTx/>
              <a:buSzPct val="90000"/>
              <a:defRPr sz="1587" b="0" i="0" cap="all" baseline="0">
                <a:solidFill>
                  <a:schemeClr val="bg1"/>
                </a:solidFill>
                <a:latin typeface="+mn-lt"/>
                <a:cs typeface="AdihausDIN" panose="020B0504020101020102" pitchFamily="34" charset="0"/>
              </a:defRPr>
            </a:lvl5pPr>
            <a:lvl6pPr marL="381014" indent="-381014"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6pPr>
            <a:lvl7pPr marL="381014" indent="-381014"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7pPr>
            <a:lvl8pPr marL="381014" indent="-381014"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8pPr>
            <a:lvl9pPr marL="381014" indent="-381014"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9pPr>
          </a:lstStyle>
          <a:p>
            <a:pPr lvl="0"/>
            <a:r>
              <a:rPr lang="en-US" noProof="0"/>
              <a:t>ADD AN AGENDA POINT HERE</a:t>
            </a:r>
          </a:p>
        </p:txBody>
      </p:sp>
      <p:sp>
        <p:nvSpPr>
          <p:cNvPr id="8" name="Date Placeholder 2"/>
          <p:cNvSpPr>
            <a:spLocks noGrp="1"/>
          </p:cNvSpPr>
          <p:nvPr>
            <p:ph type="dt" sz="half" idx="15"/>
          </p:nvPr>
        </p:nvSpPr>
        <p:spPr>
          <a:xfrm>
            <a:off x="10287796" y="6951653"/>
            <a:ext cx="1143218" cy="379993"/>
          </a:xfrm>
        </p:spPr>
        <p:txBody>
          <a:bodyPr/>
          <a:lstStyle/>
          <a:p>
            <a:pPr>
              <a:defRPr/>
            </a:pPr>
            <a:fld id="{E35F06BF-EAD3-4E33-A5C3-98F10533D1D7}" type="datetime5">
              <a:rPr lang="en-US" smtClean="0"/>
              <a:t>6-Oct-21</a:t>
            </a:fld>
            <a:endParaRPr lang="en-US"/>
          </a:p>
        </p:txBody>
      </p:sp>
      <p:sp>
        <p:nvSpPr>
          <p:cNvPr id="11"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12" name="Slide Number Placeholder 10"/>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72540567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3A2608-7A0B-4FC8-B57C-B3E748D0DB50}" type="datetime5">
              <a:rPr lang="en-US" smtClean="0"/>
              <a:t>6-Oct-21</a:t>
            </a:fld>
            <a:endParaRPr lang="en-US"/>
          </a:p>
        </p:txBody>
      </p:sp>
      <p:sp>
        <p:nvSpPr>
          <p:cNvPr id="5" name="Footer Placeholder 4"/>
          <p:cNvSpPr>
            <a:spLocks noGrp="1"/>
          </p:cNvSpPr>
          <p:nvPr>
            <p:ph type="ftr" sz="quarter" idx="11"/>
          </p:nvPr>
        </p:nvSpPr>
        <p:spPr/>
        <p:txBody>
          <a:bodyPr/>
          <a:lstStyle/>
          <a:p>
            <a:r>
              <a:rPr lang="en-US"/>
              <a:t>FOOTER / PRESENTATION NAME</a:t>
            </a:r>
          </a:p>
        </p:txBody>
      </p:sp>
      <p:sp>
        <p:nvSpPr>
          <p:cNvPr id="6" name="Slide Number Placeholder 5"/>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23669299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 Focus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0296" y="762235"/>
            <a:ext cx="10669312" cy="5333533"/>
          </a:xfrm>
          <a:custGeom>
            <a:avLst/>
            <a:gdLst/>
            <a:ahLst/>
            <a:cxnLst/>
            <a:rect l="l" t="t" r="r" b="b"/>
            <a:pathLst>
              <a:path w="8064500" h="4032119">
                <a:moveTo>
                  <a:pt x="0" y="0"/>
                </a:moveTo>
                <a:lnTo>
                  <a:pt x="8064500" y="0"/>
                </a:lnTo>
                <a:lnTo>
                  <a:pt x="8064500" y="4032119"/>
                </a:lnTo>
                <a:lnTo>
                  <a:pt x="0" y="4032119"/>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p>
        </p:txBody>
      </p:sp>
      <p:sp>
        <p:nvSpPr>
          <p:cNvPr id="3" name="Titel 2"/>
          <p:cNvSpPr>
            <a:spLocks noGrp="1"/>
          </p:cNvSpPr>
          <p:nvPr>
            <p:ph type="title" hasCustomPrompt="1"/>
          </p:nvPr>
        </p:nvSpPr>
        <p:spPr bwMode="gray">
          <a:xfrm>
            <a:off x="2285084" y="3048933"/>
            <a:ext cx="7619736" cy="1904533"/>
          </a:xfrm>
        </p:spPr>
        <p:txBody>
          <a:bodyPr/>
          <a:lstStyle>
            <a:lvl1pPr algn="ctr">
              <a:defRPr sz="4234" b="0" i="0">
                <a:solidFill>
                  <a:schemeClr val="bg1"/>
                </a:solidFill>
                <a:latin typeface="adineue TEXT Black" panose="020B0A03020201060004" pitchFamily="34" charset="0"/>
              </a:defRPr>
            </a:lvl1pPr>
          </a:lstStyle>
          <a:p>
            <a:r>
              <a:rPr lang="en-US"/>
              <a:t>Click to edit Master </a:t>
            </a:r>
            <a:br>
              <a:rPr lang="en-US"/>
            </a:br>
            <a:r>
              <a:rPr lang="en-US"/>
              <a:t>title style</a:t>
            </a:r>
            <a:endParaRPr lang="de-DE"/>
          </a:p>
        </p:txBody>
      </p:sp>
      <p:sp>
        <p:nvSpPr>
          <p:cNvPr id="4" name="Text Placeholder 3"/>
          <p:cNvSpPr>
            <a:spLocks noGrp="1"/>
          </p:cNvSpPr>
          <p:nvPr>
            <p:ph type="body" sz="quarter" idx="18" hasCustomPrompt="1"/>
          </p:nvPr>
        </p:nvSpPr>
        <p:spPr>
          <a:xfrm>
            <a:off x="2285782" y="2286702"/>
            <a:ext cx="7619038"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
        <p:nvSpPr>
          <p:cNvPr id="8" name="Date Placeholder 2"/>
          <p:cNvSpPr>
            <a:spLocks noGrp="1"/>
          </p:cNvSpPr>
          <p:nvPr>
            <p:ph type="dt" sz="half" idx="15"/>
          </p:nvPr>
        </p:nvSpPr>
        <p:spPr>
          <a:xfrm>
            <a:off x="10287796" y="6951653"/>
            <a:ext cx="1143218" cy="379993"/>
          </a:xfrm>
        </p:spPr>
        <p:txBody>
          <a:bodyPr/>
          <a:lstStyle/>
          <a:p>
            <a:pPr>
              <a:defRPr/>
            </a:pPr>
            <a:fld id="{DCF6BB7C-2168-410A-BBA6-502169DFC06D}" type="datetime5">
              <a:rPr lang="en-US" smtClean="0"/>
              <a:t>6-Oct-21</a:t>
            </a:fld>
            <a:endParaRPr lang="en-US"/>
          </a:p>
        </p:txBody>
      </p:sp>
      <p:sp>
        <p:nvSpPr>
          <p:cNvPr id="9"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11" name="Slide Number Placeholder 10"/>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712736353"/>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Messeging / Highlight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39201" y="139158"/>
            <a:ext cx="11913601" cy="6579685"/>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p>
        </p:txBody>
      </p:sp>
      <p:sp>
        <p:nvSpPr>
          <p:cNvPr id="3" name="Titel 2"/>
          <p:cNvSpPr>
            <a:spLocks noGrp="1"/>
          </p:cNvSpPr>
          <p:nvPr>
            <p:ph type="title" hasCustomPrompt="1"/>
          </p:nvPr>
        </p:nvSpPr>
        <p:spPr bwMode="gray">
          <a:xfrm>
            <a:off x="2285084" y="3048933"/>
            <a:ext cx="7619736" cy="2251003"/>
          </a:xfrm>
        </p:spPr>
        <p:txBody>
          <a:bodyPr/>
          <a:lstStyle>
            <a:lvl1pPr algn="ctr">
              <a:defRPr sz="4234" b="0" i="0">
                <a:solidFill>
                  <a:schemeClr val="bg1"/>
                </a:solidFill>
                <a:latin typeface="adineue TEXT Black" panose="020B0A03020201060004" pitchFamily="34" charset="0"/>
              </a:defRPr>
            </a:lvl1pPr>
          </a:lstStyle>
          <a:p>
            <a:r>
              <a:rPr lang="en-US"/>
              <a:t>Click to edit Master </a:t>
            </a:r>
            <a:br>
              <a:rPr lang="en-US"/>
            </a:br>
            <a:r>
              <a:rPr lang="en-US"/>
              <a:t>title style</a:t>
            </a:r>
            <a:endParaRPr lang="de-DE"/>
          </a:p>
        </p:txBody>
      </p:sp>
      <p:sp>
        <p:nvSpPr>
          <p:cNvPr id="8" name="Text Placeholder 3"/>
          <p:cNvSpPr>
            <a:spLocks noGrp="1"/>
          </p:cNvSpPr>
          <p:nvPr>
            <p:ph type="body" sz="quarter" idx="18" hasCustomPrompt="1"/>
          </p:nvPr>
        </p:nvSpPr>
        <p:spPr>
          <a:xfrm>
            <a:off x="2285782" y="2286702"/>
            <a:ext cx="7619038"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
        <p:nvSpPr>
          <p:cNvPr id="9" name="Date Placeholder 2"/>
          <p:cNvSpPr>
            <a:spLocks noGrp="1"/>
          </p:cNvSpPr>
          <p:nvPr>
            <p:ph type="dt" sz="half" idx="15"/>
          </p:nvPr>
        </p:nvSpPr>
        <p:spPr>
          <a:xfrm>
            <a:off x="10287796" y="6951653"/>
            <a:ext cx="1143218" cy="379993"/>
          </a:xfrm>
        </p:spPr>
        <p:txBody>
          <a:bodyPr/>
          <a:lstStyle/>
          <a:p>
            <a:pPr>
              <a:defRPr/>
            </a:pPr>
            <a:fld id="{2512567B-8A6B-4E73-B1E7-E80A9944D5C2}" type="datetime5">
              <a:rPr lang="en-US" smtClean="0"/>
              <a:t>6-Oct-21</a:t>
            </a:fld>
            <a:endParaRPr lang="en-US"/>
          </a:p>
        </p:txBody>
      </p:sp>
      <p:sp>
        <p:nvSpPr>
          <p:cNvPr id="11" name="Footer Placeholder 3"/>
          <p:cNvSpPr>
            <a:spLocks noGrp="1"/>
          </p:cNvSpPr>
          <p:nvPr>
            <p:ph type="ftr" sz="quarter" idx="16"/>
          </p:nvPr>
        </p:nvSpPr>
        <p:spPr>
          <a:xfrm>
            <a:off x="5334658" y="6951653"/>
            <a:ext cx="4952410" cy="379993"/>
          </a:xfrm>
        </p:spPr>
        <p:txBody>
          <a:bodyPr/>
          <a:lstStyle/>
          <a:p>
            <a:pPr>
              <a:defRPr/>
            </a:pPr>
            <a:r>
              <a:rPr lang="en-US"/>
              <a:t>FOOTER / PRESENTATION NAME</a:t>
            </a:r>
          </a:p>
        </p:txBody>
      </p:sp>
      <p:sp>
        <p:nvSpPr>
          <p:cNvPr id="12" name="Slide Number Placeholder 10"/>
          <p:cNvSpPr>
            <a:spLocks noGrp="1"/>
          </p:cNvSpPr>
          <p:nvPr>
            <p:ph type="sldNum" sz="quarter" idx="17"/>
          </p:nvPr>
        </p:nvSpPr>
        <p:spPr>
          <a:xfrm>
            <a:off x="11429609" y="6950657"/>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837675711"/>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148" y="382169"/>
            <a:ext cx="6477896" cy="760132"/>
          </a:xfrm>
        </p:spPr>
        <p:txBody>
          <a:bodyPr/>
          <a:lstStyle>
            <a:lvl1pPr>
              <a:defRPr b="0"/>
            </a:lvl1pPr>
          </a:lstStyle>
          <a:p>
            <a:r>
              <a:rPr lang="en-US" noProof="0"/>
              <a:t>Click to edit Master title style</a:t>
            </a:r>
          </a:p>
        </p:txBody>
      </p:sp>
      <p:sp>
        <p:nvSpPr>
          <p:cNvPr id="10" name="Date Placeholder 9"/>
          <p:cNvSpPr>
            <a:spLocks noGrp="1"/>
          </p:cNvSpPr>
          <p:nvPr>
            <p:ph type="dt" sz="half" idx="15"/>
          </p:nvPr>
        </p:nvSpPr>
        <p:spPr/>
        <p:txBody>
          <a:bodyPr/>
          <a:lstStyle/>
          <a:p>
            <a:pPr>
              <a:defRPr/>
            </a:pPr>
            <a:fld id="{1FAB6BB6-5951-4EE7-BBC0-5540C14B2916}" type="datetime5">
              <a:rPr lang="en-US" smtClean="0"/>
              <a:t>6-Oct-21</a:t>
            </a:fld>
            <a:endParaRPr lang="en-US"/>
          </a:p>
        </p:txBody>
      </p:sp>
      <p:sp>
        <p:nvSpPr>
          <p:cNvPr id="11" name="Footer Placeholder 10"/>
          <p:cNvSpPr>
            <a:spLocks noGrp="1"/>
          </p:cNvSpPr>
          <p:nvPr>
            <p:ph type="ftr" sz="quarter" idx="16"/>
          </p:nvPr>
        </p:nvSpPr>
        <p:spPr/>
        <p:txBody>
          <a:bodyPr/>
          <a:lstStyle/>
          <a:p>
            <a:pPr>
              <a:defRPr/>
            </a:pPr>
            <a:r>
              <a:rPr lang="en-US"/>
              <a:t>FOOTER / PRESENTATION NAME</a:t>
            </a:r>
          </a:p>
        </p:txBody>
      </p:sp>
      <p:sp>
        <p:nvSpPr>
          <p:cNvPr id="12" name="Slide Number Placeholder 11"/>
          <p:cNvSpPr>
            <a:spLocks noGrp="1"/>
          </p:cNvSpPr>
          <p:nvPr>
            <p:ph type="sldNum" sz="quarter" idx="17"/>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862869671"/>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b="0">
                <a:solidFill>
                  <a:schemeClr val="tx1"/>
                </a:solidFill>
              </a:defRPr>
            </a:lvl1pPr>
          </a:lstStyle>
          <a:p>
            <a:r>
              <a:rPr lang="en-US" noProof="0"/>
              <a:t>Click to edit Master title style</a:t>
            </a:r>
          </a:p>
        </p:txBody>
      </p:sp>
      <p:sp>
        <p:nvSpPr>
          <p:cNvPr id="3" name="Date Placeholder 2"/>
          <p:cNvSpPr>
            <a:spLocks noGrp="1"/>
          </p:cNvSpPr>
          <p:nvPr>
            <p:ph type="dt" sz="half" idx="22"/>
          </p:nvPr>
        </p:nvSpPr>
        <p:spPr/>
        <p:txBody>
          <a:bodyPr/>
          <a:lstStyle/>
          <a:p>
            <a:pPr>
              <a:defRPr/>
            </a:pPr>
            <a:fld id="{14B2CD24-FC36-430B-87E1-D636CB81757E}" type="datetime5">
              <a:rPr lang="en-US" smtClean="0"/>
              <a:t>6-Oct-21</a:t>
            </a:fld>
            <a:endParaRPr lang="en-US"/>
          </a:p>
        </p:txBody>
      </p:sp>
      <p:sp>
        <p:nvSpPr>
          <p:cNvPr id="13" name="Footer Placeholder 12"/>
          <p:cNvSpPr>
            <a:spLocks noGrp="1"/>
          </p:cNvSpPr>
          <p:nvPr>
            <p:ph type="ftr" sz="quarter" idx="23"/>
          </p:nvPr>
        </p:nvSpPr>
        <p:spPr/>
        <p:txBody>
          <a:bodyPr/>
          <a:lstStyle/>
          <a:p>
            <a:pPr>
              <a:defRPr/>
            </a:pPr>
            <a:r>
              <a:rPr lang="en-US"/>
              <a:t>FOOTER / PRESENTATION NAME</a:t>
            </a:r>
          </a:p>
        </p:txBody>
      </p:sp>
      <p:sp>
        <p:nvSpPr>
          <p:cNvPr id="14" name="Slide Number Placeholder 13"/>
          <p:cNvSpPr>
            <a:spLocks noGrp="1"/>
          </p:cNvSpPr>
          <p:nvPr>
            <p:ph type="sldNum" sz="quarter" idx="24"/>
          </p:nvPr>
        </p:nvSpPr>
        <p:spPr/>
        <p:txBody>
          <a:bodyPr/>
          <a:lstStyle/>
          <a:p>
            <a:pPr>
              <a:defRPr/>
            </a:pPr>
            <a:fld id="{66C8B3C2-955F-42B1-8DED-EE47D723596C}" type="slidenum">
              <a:rPr lang="en-US" smtClean="0"/>
              <a:pPr>
                <a:defRPr/>
              </a:pPr>
              <a:t>‹#›</a:t>
            </a:fld>
            <a:endParaRPr lang="en-US"/>
          </a:p>
        </p:txBody>
      </p:sp>
      <p:sp>
        <p:nvSpPr>
          <p:cNvPr id="16" name="Text Placeholder 15"/>
          <p:cNvSpPr>
            <a:spLocks noGrp="1"/>
          </p:cNvSpPr>
          <p:nvPr>
            <p:ph type="body" sz="quarter" idx="25"/>
          </p:nvPr>
        </p:nvSpPr>
        <p:spPr>
          <a:xfrm>
            <a:off x="760293" y="1524466"/>
            <a:ext cx="9906920" cy="4571301"/>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074117"/>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19739" y="3"/>
            <a:ext cx="4572263"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el 1"/>
          <p:cNvSpPr>
            <a:spLocks noGrp="1"/>
          </p:cNvSpPr>
          <p:nvPr>
            <p:ph type="title"/>
          </p:nvPr>
        </p:nvSpPr>
        <p:spPr bwMode="gray">
          <a:xfrm>
            <a:off x="380672" y="382168"/>
            <a:ext cx="6477372" cy="761182"/>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Text Placeholder 3"/>
          <p:cNvSpPr>
            <a:spLocks noGrp="1"/>
          </p:cNvSpPr>
          <p:nvPr>
            <p:ph type="body" sz="quarter" idx="18"/>
          </p:nvPr>
        </p:nvSpPr>
        <p:spPr>
          <a:xfrm>
            <a:off x="760294" y="1524468"/>
            <a:ext cx="6097051" cy="4571477"/>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3"/>
          </p:nvPr>
        </p:nvSpPr>
        <p:spPr/>
        <p:txBody>
          <a:bodyPr/>
          <a:lstStyle/>
          <a:p>
            <a:pPr>
              <a:defRPr/>
            </a:pPr>
            <a:fld id="{A4BE0A4D-9F32-4F9F-B896-571DA3AC617B}" type="datetime5">
              <a:rPr lang="en-US" smtClean="0"/>
              <a:t>6-Oct-21</a:t>
            </a:fld>
            <a:endParaRPr lang="en-US"/>
          </a:p>
        </p:txBody>
      </p:sp>
      <p:sp>
        <p:nvSpPr>
          <p:cNvPr id="6" name="Footer Placeholder 5"/>
          <p:cNvSpPr>
            <a:spLocks noGrp="1"/>
          </p:cNvSpPr>
          <p:nvPr>
            <p:ph type="ftr" sz="quarter" idx="24"/>
          </p:nvPr>
        </p:nvSpPr>
        <p:spPr/>
        <p:txBody>
          <a:bodyPr/>
          <a:lstStyle/>
          <a:p>
            <a:pPr>
              <a:defRPr/>
            </a:pPr>
            <a:r>
              <a:rPr lang="en-US"/>
              <a:t>FOOTER / PRESENTATION NAME</a:t>
            </a:r>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884333874"/>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334658" y="1"/>
            <a:ext cx="6857344"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3" name="Titel 2"/>
          <p:cNvSpPr>
            <a:spLocks noGrp="1"/>
          </p:cNvSpPr>
          <p:nvPr>
            <p:ph type="title"/>
          </p:nvPr>
        </p:nvSpPr>
        <p:spPr bwMode="gray">
          <a:xfrm>
            <a:off x="380674" y="382168"/>
            <a:ext cx="4572263" cy="761182"/>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Text Placeholder 3"/>
          <p:cNvSpPr>
            <a:spLocks noGrp="1"/>
          </p:cNvSpPr>
          <p:nvPr>
            <p:ph type="body" sz="quarter" idx="18"/>
          </p:nvPr>
        </p:nvSpPr>
        <p:spPr>
          <a:xfrm>
            <a:off x="760294" y="1524466"/>
            <a:ext cx="4192116" cy="4571301"/>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3"/>
          </p:nvPr>
        </p:nvSpPr>
        <p:spPr/>
        <p:txBody>
          <a:bodyPr/>
          <a:lstStyle/>
          <a:p>
            <a:pPr>
              <a:defRPr/>
            </a:pPr>
            <a:fld id="{C58EFFD6-4784-43F1-B09E-5E0F05537C84}" type="datetime5">
              <a:rPr lang="en-US" smtClean="0"/>
              <a:t>6-Oct-21</a:t>
            </a:fld>
            <a:endParaRPr lang="en-US"/>
          </a:p>
        </p:txBody>
      </p:sp>
      <p:sp>
        <p:nvSpPr>
          <p:cNvPr id="6" name="Footer Placeholder 5"/>
          <p:cNvSpPr>
            <a:spLocks noGrp="1"/>
          </p:cNvSpPr>
          <p:nvPr>
            <p:ph type="ftr" sz="quarter" idx="24"/>
          </p:nvPr>
        </p:nvSpPr>
        <p:spPr/>
        <p:txBody>
          <a:bodyPr/>
          <a:lstStyle/>
          <a:p>
            <a:pPr>
              <a:defRPr/>
            </a:pPr>
            <a:r>
              <a:rPr lang="en-US"/>
              <a:t>FOOTER / PRESENTATION NAME</a:t>
            </a:r>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624333010"/>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477196" y="1"/>
            <a:ext cx="5714804"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3" name="Titel 2"/>
          <p:cNvSpPr>
            <a:spLocks noGrp="1"/>
          </p:cNvSpPr>
          <p:nvPr>
            <p:ph type="title"/>
          </p:nvPr>
        </p:nvSpPr>
        <p:spPr bwMode="gray">
          <a:xfrm>
            <a:off x="380674" y="381469"/>
            <a:ext cx="5715329"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Picture Placeholder 3"/>
          <p:cNvSpPr>
            <a:spLocks noGrp="1"/>
          </p:cNvSpPr>
          <p:nvPr>
            <p:ph type="pic" sz="quarter" idx="18"/>
          </p:nvPr>
        </p:nvSpPr>
        <p:spPr>
          <a:xfrm>
            <a:off x="5714977" y="1143350"/>
            <a:ext cx="4952235" cy="45723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2" name="Text Placeholder 11"/>
          <p:cNvSpPr>
            <a:spLocks noGrp="1"/>
          </p:cNvSpPr>
          <p:nvPr>
            <p:ph type="body" sz="quarter" idx="19"/>
          </p:nvPr>
        </p:nvSpPr>
        <p:spPr>
          <a:xfrm>
            <a:off x="760294" y="1524467"/>
            <a:ext cx="4192116"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4"/>
          </p:nvPr>
        </p:nvSpPr>
        <p:spPr/>
        <p:txBody>
          <a:bodyPr/>
          <a:lstStyle/>
          <a:p>
            <a:pPr>
              <a:defRPr/>
            </a:pPr>
            <a:fld id="{A3580E96-07B2-4186-8638-A938CA41614A}" type="datetime5">
              <a:rPr lang="en-US" smtClean="0"/>
              <a:t>6-Oct-21</a:t>
            </a:fld>
            <a:endParaRPr lang="en-US"/>
          </a:p>
        </p:txBody>
      </p:sp>
      <p:sp>
        <p:nvSpPr>
          <p:cNvPr id="6" name="Footer Placeholder 5"/>
          <p:cNvSpPr>
            <a:spLocks noGrp="1"/>
          </p:cNvSpPr>
          <p:nvPr>
            <p:ph type="ftr" sz="quarter" idx="25"/>
          </p:nvPr>
        </p:nvSpPr>
        <p:spPr/>
        <p:txBody>
          <a:bodyPr/>
          <a:lstStyle/>
          <a:p>
            <a:pPr>
              <a:defRPr/>
            </a:pPr>
            <a:r>
              <a:rPr lang="en-US"/>
              <a:t>FOOTER / PRESENTATION NAME</a:t>
            </a:r>
          </a:p>
        </p:txBody>
      </p:sp>
      <p:sp>
        <p:nvSpPr>
          <p:cNvPr id="7" name="Slide Number Placeholder 6"/>
          <p:cNvSpPr>
            <a:spLocks noGrp="1"/>
          </p:cNvSpPr>
          <p:nvPr>
            <p:ph type="sldNum" sz="quarter" idx="26"/>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75925737"/>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Text + Image (2)">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674" y="381469"/>
            <a:ext cx="5715329"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Picture Placeholder 3"/>
          <p:cNvSpPr>
            <a:spLocks noGrp="1"/>
          </p:cNvSpPr>
          <p:nvPr>
            <p:ph type="pic" sz="quarter" idx="18"/>
          </p:nvPr>
        </p:nvSpPr>
        <p:spPr>
          <a:xfrm>
            <a:off x="6857347" y="525"/>
            <a:ext cx="5334654" cy="3428477"/>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2" name="Text Placeholder 11"/>
          <p:cNvSpPr>
            <a:spLocks noGrp="1"/>
          </p:cNvSpPr>
          <p:nvPr>
            <p:ph type="body" sz="quarter" idx="19"/>
          </p:nvPr>
        </p:nvSpPr>
        <p:spPr>
          <a:xfrm>
            <a:off x="760296" y="1524467"/>
            <a:ext cx="5335707"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3"/>
          <p:cNvSpPr>
            <a:spLocks noGrp="1"/>
          </p:cNvSpPr>
          <p:nvPr>
            <p:ph type="pic" sz="quarter" idx="23"/>
          </p:nvPr>
        </p:nvSpPr>
        <p:spPr>
          <a:xfrm>
            <a:off x="6858045" y="3429003"/>
            <a:ext cx="5333956" cy="3428474"/>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7" name="Date Placeholder 6"/>
          <p:cNvSpPr>
            <a:spLocks noGrp="1"/>
          </p:cNvSpPr>
          <p:nvPr>
            <p:ph type="dt" sz="half" idx="25"/>
          </p:nvPr>
        </p:nvSpPr>
        <p:spPr/>
        <p:txBody>
          <a:bodyPr/>
          <a:lstStyle/>
          <a:p>
            <a:pPr>
              <a:defRPr/>
            </a:pPr>
            <a:fld id="{1428E9BB-62C7-4617-A748-93EEB1A11F75}" type="datetime5">
              <a:rPr lang="en-US" smtClean="0"/>
              <a:t>6-Oct-21</a:t>
            </a:fld>
            <a:endParaRPr lang="en-US"/>
          </a:p>
        </p:txBody>
      </p:sp>
      <p:sp>
        <p:nvSpPr>
          <p:cNvPr id="8" name="Footer Placeholder 7"/>
          <p:cNvSpPr>
            <a:spLocks noGrp="1"/>
          </p:cNvSpPr>
          <p:nvPr>
            <p:ph type="ftr" sz="quarter" idx="26"/>
          </p:nvPr>
        </p:nvSpPr>
        <p:spPr/>
        <p:txBody>
          <a:bodyPr/>
          <a:lstStyle/>
          <a:p>
            <a:pPr>
              <a:defRPr/>
            </a:pPr>
            <a:r>
              <a:rPr lang="en-US"/>
              <a:t>FOOTER / PRESENTATION NAME</a:t>
            </a:r>
          </a:p>
        </p:txBody>
      </p:sp>
      <p:sp>
        <p:nvSpPr>
          <p:cNvPr id="9" name="Slide Number Placeholder 8"/>
          <p:cNvSpPr>
            <a:spLocks noGrp="1"/>
          </p:cNvSpPr>
          <p:nvPr>
            <p:ph type="sldNum" sz="quarter" idx="27"/>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797218827"/>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 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5332559" y="527"/>
            <a:ext cx="3811967" cy="34293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1" name="Picture Placeholder 3"/>
          <p:cNvSpPr>
            <a:spLocks noGrp="1"/>
          </p:cNvSpPr>
          <p:nvPr>
            <p:ph type="pic" sz="quarter" idx="23"/>
          </p:nvPr>
        </p:nvSpPr>
        <p:spPr>
          <a:xfrm>
            <a:off x="9144178" y="525"/>
            <a:ext cx="3047824" cy="342847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5332558" y="3429002"/>
            <a:ext cx="2287181"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7620088" y="3429001"/>
            <a:ext cx="4572263" cy="3428474"/>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380674" y="381469"/>
            <a:ext cx="4191242"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12" name="Text Placeholder 11"/>
          <p:cNvSpPr>
            <a:spLocks noGrp="1"/>
          </p:cNvSpPr>
          <p:nvPr>
            <p:ph type="body" sz="quarter" idx="19"/>
          </p:nvPr>
        </p:nvSpPr>
        <p:spPr>
          <a:xfrm>
            <a:off x="760296"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p:cNvSpPr>
            <a:spLocks noGrp="1"/>
          </p:cNvSpPr>
          <p:nvPr>
            <p:ph type="dt" sz="half" idx="27"/>
          </p:nvPr>
        </p:nvSpPr>
        <p:spPr/>
        <p:txBody>
          <a:bodyPr/>
          <a:lstStyle/>
          <a:p>
            <a:pPr>
              <a:defRPr/>
            </a:pPr>
            <a:fld id="{A27A4CE6-3C8E-4A2A-ACA0-559856FECAA5}" type="datetime5">
              <a:rPr lang="en-US" smtClean="0"/>
              <a:t>6-Oct-21</a:t>
            </a:fld>
            <a:endParaRPr lang="en-US"/>
          </a:p>
        </p:txBody>
      </p:sp>
      <p:sp>
        <p:nvSpPr>
          <p:cNvPr id="8" name="Footer Placeholder 7"/>
          <p:cNvSpPr>
            <a:spLocks noGrp="1"/>
          </p:cNvSpPr>
          <p:nvPr>
            <p:ph type="ftr" sz="quarter" idx="28"/>
          </p:nvPr>
        </p:nvSpPr>
        <p:spPr/>
        <p:txBody>
          <a:bodyPr/>
          <a:lstStyle/>
          <a:p>
            <a:pPr>
              <a:defRPr/>
            </a:pPr>
            <a:r>
              <a:rPr lang="en-US"/>
              <a:t>FOOTER / PRESENTATION NAME</a:t>
            </a:r>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4292381935"/>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 Collage (2)">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857344" y="1"/>
            <a:ext cx="5334656"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4" name="Picture Placeholder 3"/>
          <p:cNvSpPr>
            <a:spLocks noGrp="1"/>
          </p:cNvSpPr>
          <p:nvPr>
            <p:ph type="pic" sz="quarter" idx="18"/>
          </p:nvPr>
        </p:nvSpPr>
        <p:spPr>
          <a:xfrm>
            <a:off x="5332559" y="762234"/>
            <a:ext cx="3811967" cy="266764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1" name="Picture Placeholder 3"/>
          <p:cNvSpPr>
            <a:spLocks noGrp="1"/>
          </p:cNvSpPr>
          <p:nvPr>
            <p:ph type="pic" sz="quarter" idx="23"/>
          </p:nvPr>
        </p:nvSpPr>
        <p:spPr>
          <a:xfrm>
            <a:off x="9144176" y="762237"/>
            <a:ext cx="1905108" cy="266676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5332558"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7620088" y="3429001"/>
            <a:ext cx="3427271" cy="2667466"/>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380674" y="381469"/>
            <a:ext cx="4191242"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12" name="Text Placeholder 11"/>
          <p:cNvSpPr>
            <a:spLocks noGrp="1"/>
          </p:cNvSpPr>
          <p:nvPr>
            <p:ph type="body" sz="quarter" idx="19"/>
          </p:nvPr>
        </p:nvSpPr>
        <p:spPr>
          <a:xfrm>
            <a:off x="760296"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p:cNvSpPr>
            <a:spLocks noGrp="1"/>
          </p:cNvSpPr>
          <p:nvPr>
            <p:ph type="dt" sz="half" idx="27"/>
          </p:nvPr>
        </p:nvSpPr>
        <p:spPr/>
        <p:txBody>
          <a:bodyPr/>
          <a:lstStyle/>
          <a:p>
            <a:pPr>
              <a:defRPr/>
            </a:pPr>
            <a:fld id="{DC60583D-F407-4CDC-8453-469D2C31FE02}" type="datetime5">
              <a:rPr lang="en-US" smtClean="0"/>
              <a:t>6-Oct-21</a:t>
            </a:fld>
            <a:endParaRPr lang="en-US"/>
          </a:p>
        </p:txBody>
      </p:sp>
      <p:sp>
        <p:nvSpPr>
          <p:cNvPr id="8" name="Footer Placeholder 7"/>
          <p:cNvSpPr>
            <a:spLocks noGrp="1"/>
          </p:cNvSpPr>
          <p:nvPr>
            <p:ph type="ftr" sz="quarter" idx="28"/>
          </p:nvPr>
        </p:nvSpPr>
        <p:spPr/>
        <p:txBody>
          <a:bodyPr/>
          <a:lstStyle/>
          <a:p>
            <a:pPr>
              <a:defRPr/>
            </a:pPr>
            <a:r>
              <a:rPr lang="en-US"/>
              <a:t>FOOTER / PRESENTATION NAME</a:t>
            </a:r>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773012832"/>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mage + Message (4)">
    <p:spTree>
      <p:nvGrpSpPr>
        <p:cNvPr id="1" name=""/>
        <p:cNvGrpSpPr/>
        <p:nvPr/>
      </p:nvGrpSpPr>
      <p:grpSpPr>
        <a:xfrm>
          <a:off x="0" y="0"/>
          <a:ext cx="0" cy="0"/>
          <a:chOff x="0" y="0"/>
          <a:chExt cx="0" cy="0"/>
        </a:xfrm>
      </p:grpSpPr>
      <p:sp>
        <p:nvSpPr>
          <p:cNvPr id="3" name="Titel 2"/>
          <p:cNvSpPr>
            <a:spLocks noGrp="1"/>
          </p:cNvSpPr>
          <p:nvPr>
            <p:ph type="title" hasCustomPrompt="1"/>
          </p:nvPr>
        </p:nvSpPr>
        <p:spPr bwMode="gray">
          <a:xfrm>
            <a:off x="2285082" y="1905232"/>
            <a:ext cx="7619736" cy="1142300"/>
          </a:xfrm>
        </p:spPr>
        <p:txBody>
          <a:bodyPr anchor="b"/>
          <a:lstStyle>
            <a:lvl1pPr algn="ctr">
              <a:lnSpc>
                <a:spcPct val="70000"/>
              </a:lnSpc>
              <a:defRPr sz="4762" b="0" i="0">
                <a:solidFill>
                  <a:schemeClr val="bg1"/>
                </a:solidFill>
                <a:latin typeface="adineue TEXT Black" panose="020B0A03020201060004" pitchFamily="34" charset="0"/>
              </a:defRPr>
            </a:lvl1pPr>
          </a:lstStyle>
          <a:p>
            <a:pPr lvl="0"/>
            <a:r>
              <a:rPr lang="en-US" dirty="0"/>
              <a:t>Click to edit </a:t>
            </a:r>
            <a:br>
              <a:rPr lang="en-US" dirty="0"/>
            </a:br>
            <a:r>
              <a:rPr lang="en-US" dirty="0"/>
              <a:t>Master title style</a:t>
            </a:r>
            <a:endParaRPr lang="de-DE" dirty="0"/>
          </a:p>
        </p:txBody>
      </p:sp>
      <p:sp>
        <p:nvSpPr>
          <p:cNvPr id="8" name="Text Placeholder 3"/>
          <p:cNvSpPr>
            <a:spLocks noGrp="1"/>
          </p:cNvSpPr>
          <p:nvPr>
            <p:ph type="body" sz="quarter" idx="18" hasCustomPrompt="1"/>
          </p:nvPr>
        </p:nvSpPr>
        <p:spPr>
          <a:xfrm>
            <a:off x="3047826" y="3428999"/>
            <a:ext cx="6094948" cy="2286701"/>
          </a:xfrm>
        </p:spPr>
        <p:txBody>
          <a:bodyPr anchor="t"/>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dirty="0"/>
              <a:t>CLICK TO EDIT MASTER TEXT STYLES</a:t>
            </a:r>
          </a:p>
        </p:txBody>
      </p:sp>
      <p:sp>
        <p:nvSpPr>
          <p:cNvPr id="2" name="Date Placeholder 1"/>
          <p:cNvSpPr>
            <a:spLocks noGrp="1"/>
          </p:cNvSpPr>
          <p:nvPr>
            <p:ph type="dt" sz="half" idx="19"/>
          </p:nvPr>
        </p:nvSpPr>
        <p:spPr/>
        <p:txBody>
          <a:bodyPr/>
          <a:lstStyle>
            <a:lvl1pPr>
              <a:defRPr>
                <a:solidFill>
                  <a:schemeClr val="bg1"/>
                </a:solidFill>
              </a:defRPr>
            </a:lvl1pPr>
          </a:lstStyle>
          <a:p>
            <a:pPr>
              <a:defRPr/>
            </a:pPr>
            <a:fld id="{5AC73817-E586-49D0-86DB-CEF9450E07AF}" type="datetime5">
              <a:rPr lang="en-US" smtClean="0"/>
              <a:t>6-Oct-21</a:t>
            </a:fld>
            <a:endParaRPr lang="en-US" dirty="0"/>
          </a:p>
        </p:txBody>
      </p:sp>
      <p:sp>
        <p:nvSpPr>
          <p:cNvPr id="4" name="Footer Placeholder 3"/>
          <p:cNvSpPr>
            <a:spLocks noGrp="1"/>
          </p:cNvSpPr>
          <p:nvPr>
            <p:ph type="ftr" sz="quarter" idx="20"/>
          </p:nvPr>
        </p:nvSpPr>
        <p:spPr/>
        <p:txBody>
          <a:bodyPr/>
          <a:lstStyle>
            <a:lvl1pPr>
              <a:defRPr>
                <a:solidFill>
                  <a:schemeClr val="bg1"/>
                </a:solidFill>
              </a:defRPr>
            </a:lvl1pPr>
          </a:lstStyle>
          <a:p>
            <a:pPr>
              <a:defRPr/>
            </a:pPr>
            <a:r>
              <a:rPr lang="en-US"/>
              <a:t>FOOTER / PRESENTATION NAME</a:t>
            </a:r>
            <a:endParaRPr lang="en-US" dirty="0"/>
          </a:p>
        </p:txBody>
      </p:sp>
      <p:sp>
        <p:nvSpPr>
          <p:cNvPr id="5" name="Slide Number Placeholder 4"/>
          <p:cNvSpPr>
            <a:spLocks noGrp="1"/>
          </p:cNvSpPr>
          <p:nvPr>
            <p:ph type="sldNum" sz="quarter" idx="2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716858638"/>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6096001"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le 1"/>
          <p:cNvSpPr>
            <a:spLocks noGrp="1"/>
          </p:cNvSpPr>
          <p:nvPr>
            <p:ph type="title" hasCustomPrompt="1"/>
          </p:nvPr>
        </p:nvSpPr>
        <p:spPr>
          <a:xfrm>
            <a:off x="7239592" y="2287375"/>
            <a:ext cx="3810240" cy="761058"/>
          </a:xfrm>
        </p:spPr>
        <p:txBody>
          <a:bodyPr anchor="b"/>
          <a:lstStyle>
            <a:lvl1pPr algn="ctr">
              <a:lnSpc>
                <a:spcPct val="70000"/>
              </a:lnSpc>
              <a:defRPr sz="3174"/>
            </a:lvl1pPr>
          </a:lstStyle>
          <a:p>
            <a:r>
              <a:rPr lang="en-US"/>
              <a:t>Slide title</a:t>
            </a:r>
          </a:p>
        </p:txBody>
      </p:sp>
      <p:sp>
        <p:nvSpPr>
          <p:cNvPr id="3" name="Date Placeholder 2"/>
          <p:cNvSpPr>
            <a:spLocks noGrp="1"/>
          </p:cNvSpPr>
          <p:nvPr>
            <p:ph type="dt" sz="half" idx="10"/>
          </p:nvPr>
        </p:nvSpPr>
        <p:spPr/>
        <p:txBody>
          <a:bodyPr/>
          <a:lstStyle/>
          <a:p>
            <a:pPr>
              <a:defRPr/>
            </a:pPr>
            <a:fld id="{39AB94CE-233C-4149-AF3B-B2E042442F8C}"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cxnSp>
        <p:nvCxnSpPr>
          <p:cNvPr id="8" name="Straight Connector 7"/>
          <p:cNvCxnSpPr>
            <a:cxnSpLocks/>
          </p:cNvCxnSpPr>
          <p:nvPr userDrawn="1"/>
        </p:nvCxnSpPr>
        <p:spPr>
          <a:xfrm>
            <a:off x="8762278"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7239594" y="3429004"/>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2029639700"/>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2" y="1"/>
            <a:ext cx="6096001"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le 1"/>
          <p:cNvSpPr>
            <a:spLocks noGrp="1"/>
          </p:cNvSpPr>
          <p:nvPr>
            <p:ph type="title" hasCustomPrompt="1"/>
          </p:nvPr>
        </p:nvSpPr>
        <p:spPr>
          <a:xfrm>
            <a:off x="1142064" y="2287375"/>
            <a:ext cx="3810240" cy="761058"/>
          </a:xfrm>
        </p:spPr>
        <p:txBody>
          <a:bodyPr anchor="b"/>
          <a:lstStyle>
            <a:lvl1pPr algn="ctr">
              <a:lnSpc>
                <a:spcPct val="70000"/>
              </a:lnSpc>
              <a:defRPr sz="3174"/>
            </a:lvl1pPr>
          </a:lstStyle>
          <a:p>
            <a:r>
              <a:rPr lang="en-US"/>
              <a:t>Slide title</a:t>
            </a:r>
          </a:p>
        </p:txBody>
      </p:sp>
      <p:sp>
        <p:nvSpPr>
          <p:cNvPr id="3" name="Date Placeholder 2"/>
          <p:cNvSpPr>
            <a:spLocks noGrp="1"/>
          </p:cNvSpPr>
          <p:nvPr>
            <p:ph type="dt" sz="half" idx="10"/>
          </p:nvPr>
        </p:nvSpPr>
        <p:spPr/>
        <p:txBody>
          <a:bodyPr/>
          <a:lstStyle/>
          <a:p>
            <a:pPr>
              <a:defRPr/>
            </a:pPr>
            <a:fld id="{94C6ECB7-C948-4883-A267-EEDAFB097579}"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cxnSp>
        <p:nvCxnSpPr>
          <p:cNvPr id="8" name="Straight Connector 7"/>
          <p:cNvCxnSpPr>
            <a:cxnSpLocks/>
          </p:cNvCxnSpPr>
          <p:nvPr userDrawn="1"/>
        </p:nvCxnSpPr>
        <p:spPr>
          <a:xfrm>
            <a:off x="2664748"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1142063" y="3429004"/>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2739137986"/>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 Text (3)">
    <p:spTree>
      <p:nvGrpSpPr>
        <p:cNvPr id="1" name=""/>
        <p:cNvGrpSpPr/>
        <p:nvPr/>
      </p:nvGrpSpPr>
      <p:grpSpPr>
        <a:xfrm>
          <a:off x="0" y="0"/>
          <a:ext cx="0" cy="0"/>
          <a:chOff x="0" y="0"/>
          <a:chExt cx="0" cy="0"/>
        </a:xfrm>
      </p:grpSpPr>
      <p:sp>
        <p:nvSpPr>
          <p:cNvPr id="15" name="Picture Placeholder 3"/>
          <p:cNvSpPr>
            <a:spLocks noGrp="1"/>
          </p:cNvSpPr>
          <p:nvPr>
            <p:ph type="pic" sz="quarter" idx="18"/>
          </p:nvPr>
        </p:nvSpPr>
        <p:spPr>
          <a:xfrm>
            <a:off x="6097054" y="1"/>
            <a:ext cx="1904935" cy="342899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6" name="Picture Placeholder 3"/>
          <p:cNvSpPr>
            <a:spLocks noGrp="1"/>
          </p:cNvSpPr>
          <p:nvPr>
            <p:ph type="pic" sz="quarter" idx="23"/>
          </p:nvPr>
        </p:nvSpPr>
        <p:spPr>
          <a:xfrm>
            <a:off x="8001985" y="1"/>
            <a:ext cx="2285080"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10287069" y="2"/>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6097050" y="3429004"/>
            <a:ext cx="6094949" cy="3428925"/>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14" name="Picture Placeholder 2"/>
          <p:cNvSpPr>
            <a:spLocks noGrp="1"/>
          </p:cNvSpPr>
          <p:nvPr>
            <p:ph type="pic" sz="quarter" idx="14"/>
          </p:nvPr>
        </p:nvSpPr>
        <p:spPr bwMode="gray">
          <a:xfrm>
            <a:off x="-1" y="1"/>
            <a:ext cx="6096001"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le 1"/>
          <p:cNvSpPr>
            <a:spLocks noGrp="1"/>
          </p:cNvSpPr>
          <p:nvPr>
            <p:ph type="title" hasCustomPrompt="1"/>
          </p:nvPr>
        </p:nvSpPr>
        <p:spPr>
          <a:xfrm>
            <a:off x="1142542" y="2287375"/>
            <a:ext cx="3810240" cy="761058"/>
          </a:xfrm>
        </p:spPr>
        <p:txBody>
          <a:bodyPr anchor="b"/>
          <a:lstStyle>
            <a:lvl1pPr algn="ctr">
              <a:lnSpc>
                <a:spcPct val="70000"/>
              </a:lnSpc>
              <a:defRPr sz="3174">
                <a:solidFill>
                  <a:schemeClr val="bg1"/>
                </a:solidFill>
              </a:defRPr>
            </a:lvl1pPr>
          </a:lstStyle>
          <a:p>
            <a:r>
              <a:rPr lang="en-US"/>
              <a:t>Slide title</a:t>
            </a:r>
          </a:p>
        </p:txBody>
      </p:sp>
      <p:sp>
        <p:nvSpPr>
          <p:cNvPr id="3" name="Date Placeholder 2"/>
          <p:cNvSpPr>
            <a:spLocks noGrp="1"/>
          </p:cNvSpPr>
          <p:nvPr>
            <p:ph type="dt" sz="half" idx="10"/>
          </p:nvPr>
        </p:nvSpPr>
        <p:spPr/>
        <p:txBody>
          <a:bodyPr/>
          <a:lstStyle>
            <a:lvl1pPr>
              <a:defRPr>
                <a:solidFill>
                  <a:schemeClr val="bg1"/>
                </a:solidFill>
              </a:defRPr>
            </a:lvl1pPr>
          </a:lstStyle>
          <a:p>
            <a:pPr>
              <a:defRPr/>
            </a:pPr>
            <a:fld id="{E004F1F6-EFFB-4A6A-A83E-E059BE4E0BE2}" type="datetime5">
              <a:rPr lang="en-US" smtClean="0"/>
              <a:t>6-Oct-21</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pPr>
              <a:defRPr/>
            </a:pPr>
            <a:r>
              <a:rPr lang="en-US"/>
              <a:t>FOOTER / PRESENTATION NAM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
        <p:nvSpPr>
          <p:cNvPr id="11" name="Text Placeholder 9"/>
          <p:cNvSpPr>
            <a:spLocks noGrp="1"/>
          </p:cNvSpPr>
          <p:nvPr>
            <p:ph type="body" sz="quarter" idx="13" hasCustomPrompt="1"/>
          </p:nvPr>
        </p:nvSpPr>
        <p:spPr>
          <a:xfrm>
            <a:off x="1142541" y="3429004"/>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a:t>Edit Master text styles</a:t>
            </a:r>
          </a:p>
        </p:txBody>
      </p:sp>
    </p:spTree>
    <p:extLst>
      <p:ext uri="{BB962C8B-B14F-4D97-AF65-F5344CB8AC3E}">
        <p14:creationId xmlns:p14="http://schemas.microsoft.com/office/powerpoint/2010/main" val="468793873"/>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mage + Text (4)">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2" y="1"/>
            <a:ext cx="6096001"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15" name="Picture Placeholder 3"/>
          <p:cNvSpPr>
            <a:spLocks noGrp="1"/>
          </p:cNvSpPr>
          <p:nvPr>
            <p:ph type="pic" sz="quarter" idx="18"/>
          </p:nvPr>
        </p:nvSpPr>
        <p:spPr>
          <a:xfrm>
            <a:off x="2" y="1"/>
            <a:ext cx="1904935" cy="342899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6" name="Picture Placeholder 3"/>
          <p:cNvSpPr>
            <a:spLocks noGrp="1"/>
          </p:cNvSpPr>
          <p:nvPr>
            <p:ph type="pic" sz="quarter" idx="23"/>
          </p:nvPr>
        </p:nvSpPr>
        <p:spPr>
          <a:xfrm>
            <a:off x="1904936" y="1"/>
            <a:ext cx="2285080"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4190015" y="2"/>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1" y="3429004"/>
            <a:ext cx="6094949" cy="3428925"/>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2" name="Title 1"/>
          <p:cNvSpPr>
            <a:spLocks noGrp="1"/>
          </p:cNvSpPr>
          <p:nvPr>
            <p:ph type="title" hasCustomPrompt="1"/>
          </p:nvPr>
        </p:nvSpPr>
        <p:spPr>
          <a:xfrm>
            <a:off x="7239698" y="2287375"/>
            <a:ext cx="3810240" cy="761058"/>
          </a:xfrm>
        </p:spPr>
        <p:txBody>
          <a:bodyPr anchor="b"/>
          <a:lstStyle>
            <a:lvl1pPr algn="ctr">
              <a:lnSpc>
                <a:spcPct val="70000"/>
              </a:lnSpc>
              <a:defRPr sz="3174">
                <a:solidFill>
                  <a:schemeClr val="bg1"/>
                </a:solidFill>
              </a:defRPr>
            </a:lvl1pPr>
          </a:lstStyle>
          <a:p>
            <a:r>
              <a:rPr lang="en-US"/>
              <a:t>Slide title</a:t>
            </a:r>
          </a:p>
        </p:txBody>
      </p:sp>
      <p:sp>
        <p:nvSpPr>
          <p:cNvPr id="3" name="Date Placeholder 2"/>
          <p:cNvSpPr>
            <a:spLocks noGrp="1"/>
          </p:cNvSpPr>
          <p:nvPr>
            <p:ph type="dt" sz="half" idx="10"/>
          </p:nvPr>
        </p:nvSpPr>
        <p:spPr/>
        <p:txBody>
          <a:bodyPr/>
          <a:lstStyle>
            <a:lvl1pPr>
              <a:defRPr>
                <a:solidFill>
                  <a:schemeClr val="bg2"/>
                </a:solidFill>
              </a:defRPr>
            </a:lvl1pPr>
          </a:lstStyle>
          <a:p>
            <a:pPr>
              <a:defRPr/>
            </a:pPr>
            <a:fld id="{3E7D84D4-4D82-4C4B-B2B0-8973CFB12AF9}" type="datetime5">
              <a:rPr lang="en-US" smtClean="0"/>
              <a:t>6-Oct-21</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pPr>
              <a:defRPr/>
            </a:pPr>
            <a:r>
              <a:rPr lang="en-US"/>
              <a:t>FOOTER / PRESENTATION NAME</a:t>
            </a:r>
          </a:p>
        </p:txBody>
      </p:sp>
      <p:sp>
        <p:nvSpPr>
          <p:cNvPr id="5" name="Slide Number Placeholder 4"/>
          <p:cNvSpPr>
            <a:spLocks noGrp="1"/>
          </p:cNvSpPr>
          <p:nvPr>
            <p:ph type="sldNum" sz="quarter" idx="12"/>
          </p:nvPr>
        </p:nvSpPr>
        <p:spPr/>
        <p:txBody>
          <a:bodyPr/>
          <a:lstStyle>
            <a:lvl1pPr>
              <a:defRPr>
                <a:solidFill>
                  <a:schemeClr val="bg2"/>
                </a:solidFill>
              </a:defRPr>
            </a:lvl1pPr>
          </a:lstStyle>
          <a:p>
            <a:pPr>
              <a:defRPr/>
            </a:pPr>
            <a:fld id="{66C8B3C2-955F-42B1-8DED-EE47D723596C}" type="slidenum">
              <a:rPr lang="en-US" smtClean="0"/>
              <a:pPr>
                <a:defRPr/>
              </a:pPr>
              <a:t>‹#›</a:t>
            </a:fld>
            <a:endParaRPr lang="en-US"/>
          </a:p>
        </p:txBody>
      </p:sp>
      <p:sp>
        <p:nvSpPr>
          <p:cNvPr id="11" name="Text Placeholder 9"/>
          <p:cNvSpPr>
            <a:spLocks noGrp="1"/>
          </p:cNvSpPr>
          <p:nvPr>
            <p:ph type="body" sz="quarter" idx="13" hasCustomPrompt="1"/>
          </p:nvPr>
        </p:nvSpPr>
        <p:spPr>
          <a:xfrm>
            <a:off x="7239699" y="3429004"/>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a:t>Edit Master text styles</a:t>
            </a:r>
          </a:p>
        </p:txBody>
      </p:sp>
    </p:spTree>
    <p:extLst>
      <p:ext uri="{BB962C8B-B14F-4D97-AF65-F5344CB8AC3E}">
        <p14:creationId xmlns:p14="http://schemas.microsoft.com/office/powerpoint/2010/main" val="3471953017"/>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1" y="1142300"/>
            <a:ext cx="3429021" cy="419165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3" name="Picture Placeholder 3"/>
          <p:cNvSpPr>
            <a:spLocks noGrp="1"/>
          </p:cNvSpPr>
          <p:nvPr>
            <p:ph type="pic" sz="quarter" idx="23"/>
          </p:nvPr>
        </p:nvSpPr>
        <p:spPr>
          <a:xfrm>
            <a:off x="3809870" y="1142300"/>
            <a:ext cx="3427624" cy="4191659"/>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a:xfrm>
            <a:off x="7238193" y="1142300"/>
            <a:ext cx="3430676" cy="419165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328DEC6B-F4E7-4708-A09F-12C65957BA56}"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sp>
        <p:nvSpPr>
          <p:cNvPr id="17" name="Text Placeholder 15"/>
          <p:cNvSpPr>
            <a:spLocks noGrp="1"/>
          </p:cNvSpPr>
          <p:nvPr>
            <p:ph type="body" sz="quarter" idx="25" hasCustomPrompt="1"/>
          </p:nvPr>
        </p:nvSpPr>
        <p:spPr>
          <a:xfrm>
            <a:off x="380150" y="5333537"/>
            <a:ext cx="3048348"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2" name="Text Placeholder 15"/>
          <p:cNvSpPr>
            <a:spLocks noGrp="1"/>
          </p:cNvSpPr>
          <p:nvPr>
            <p:ph type="body" sz="quarter" idx="26" hasCustomPrompt="1"/>
          </p:nvPr>
        </p:nvSpPr>
        <p:spPr>
          <a:xfrm>
            <a:off x="3809872" y="5333537"/>
            <a:ext cx="3048348"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3" name="Text Placeholder 15"/>
          <p:cNvSpPr>
            <a:spLocks noGrp="1"/>
          </p:cNvSpPr>
          <p:nvPr>
            <p:ph type="body" sz="quarter" idx="27" hasCustomPrompt="1"/>
          </p:nvPr>
        </p:nvSpPr>
        <p:spPr>
          <a:xfrm>
            <a:off x="7239067" y="5333537"/>
            <a:ext cx="3048348"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Tree>
    <p:extLst>
      <p:ext uri="{BB962C8B-B14F-4D97-AF65-F5344CB8AC3E}">
        <p14:creationId xmlns:p14="http://schemas.microsoft.com/office/powerpoint/2010/main" val="1801498145"/>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2" y="1142300"/>
            <a:ext cx="2665223" cy="419165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3" name="Picture Placeholder 3"/>
          <p:cNvSpPr>
            <a:spLocks noGrp="1"/>
          </p:cNvSpPr>
          <p:nvPr>
            <p:ph type="pic" sz="quarter" idx="23"/>
          </p:nvPr>
        </p:nvSpPr>
        <p:spPr>
          <a:xfrm>
            <a:off x="3045376" y="1142300"/>
            <a:ext cx="2669554" cy="4191659"/>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a:xfrm>
            <a:off x="5714803" y="1142300"/>
            <a:ext cx="2667329" cy="419165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2" name="Picture Placeholder 3"/>
          <p:cNvSpPr>
            <a:spLocks noGrp="1"/>
          </p:cNvSpPr>
          <p:nvPr>
            <p:ph type="pic" sz="quarter" idx="28"/>
          </p:nvPr>
        </p:nvSpPr>
        <p:spPr>
          <a:xfrm>
            <a:off x="8382132" y="1142300"/>
            <a:ext cx="2667329" cy="4191659"/>
          </a:xfrm>
          <a:solidFill>
            <a:schemeClr val="bg2">
              <a:lumMod val="20000"/>
              <a:lumOff val="80000"/>
            </a:schemeClr>
          </a:solidFill>
        </p:spPr>
        <p:txBody>
          <a:bodyPr anchor="ctr"/>
          <a:lstStyle>
            <a:lvl1pPr algn="ctr">
              <a:defRPr b="0">
                <a:solidFill>
                  <a:schemeClr val="tx1"/>
                </a:solidFill>
              </a:defRPr>
            </a:lvl1pPr>
          </a:lstStyle>
          <a:p>
            <a:r>
              <a:rPr lang="en-US" noProof="0"/>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F3F89E1B-DD93-46C0-982A-14D2E331701C}"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sp>
        <p:nvSpPr>
          <p:cNvPr id="28" name="Text Placeholder 15"/>
          <p:cNvSpPr>
            <a:spLocks noGrp="1"/>
          </p:cNvSpPr>
          <p:nvPr>
            <p:ph type="body" sz="quarter" idx="25" hasCustomPrompt="1"/>
          </p:nvPr>
        </p:nvSpPr>
        <p:spPr>
          <a:xfrm>
            <a:off x="380148" y="5333537"/>
            <a:ext cx="2287180"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9" name="Text Placeholder 15"/>
          <p:cNvSpPr>
            <a:spLocks noGrp="1"/>
          </p:cNvSpPr>
          <p:nvPr>
            <p:ph type="body" sz="quarter" idx="29" hasCustomPrompt="1"/>
          </p:nvPr>
        </p:nvSpPr>
        <p:spPr>
          <a:xfrm>
            <a:off x="3045372" y="5333537"/>
            <a:ext cx="2287180"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30" name="Text Placeholder 15"/>
          <p:cNvSpPr>
            <a:spLocks noGrp="1"/>
          </p:cNvSpPr>
          <p:nvPr>
            <p:ph type="body" sz="quarter" idx="30" hasCustomPrompt="1"/>
          </p:nvPr>
        </p:nvSpPr>
        <p:spPr>
          <a:xfrm>
            <a:off x="5714802" y="5333537"/>
            <a:ext cx="2287180"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31" name="Text Placeholder 15"/>
          <p:cNvSpPr>
            <a:spLocks noGrp="1"/>
          </p:cNvSpPr>
          <p:nvPr>
            <p:ph type="body" sz="quarter" idx="31" hasCustomPrompt="1"/>
          </p:nvPr>
        </p:nvSpPr>
        <p:spPr>
          <a:xfrm>
            <a:off x="8382131" y="5333537"/>
            <a:ext cx="2287180"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Tree>
    <p:extLst>
      <p:ext uri="{BB962C8B-B14F-4D97-AF65-F5344CB8AC3E}">
        <p14:creationId xmlns:p14="http://schemas.microsoft.com/office/powerpoint/2010/main" val="794151302"/>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5C7C1FBE-B82D-4CBA-832A-C337F1880ED2}"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sp>
        <p:nvSpPr>
          <p:cNvPr id="40" name="Text Placeholder 39"/>
          <p:cNvSpPr>
            <a:spLocks noGrp="1"/>
          </p:cNvSpPr>
          <p:nvPr>
            <p:ph type="body" sz="quarter" idx="13"/>
          </p:nvPr>
        </p:nvSpPr>
        <p:spPr>
          <a:xfrm>
            <a:off x="760293" y="2286702"/>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a:xfrm>
            <a:off x="4189644" y="2286702"/>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a:xfrm>
            <a:off x="7620289" y="2286702"/>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112199"/>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3" y="524"/>
            <a:ext cx="2667329" cy="68569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8" name="Picture Placeholder 3"/>
          <p:cNvSpPr>
            <a:spLocks noGrp="1"/>
          </p:cNvSpPr>
          <p:nvPr>
            <p:ph type="pic" sz="quarter" idx="23"/>
          </p:nvPr>
        </p:nvSpPr>
        <p:spPr>
          <a:xfrm>
            <a:off x="2667329" y="525"/>
            <a:ext cx="3047476" cy="2286177"/>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a:xfrm>
            <a:off x="2667331" y="2286702"/>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a:xfrm>
            <a:off x="2667331"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4" name="Picture Placeholder 3"/>
          <p:cNvSpPr>
            <a:spLocks noGrp="1"/>
          </p:cNvSpPr>
          <p:nvPr>
            <p:ph type="pic" sz="quarter" idx="28"/>
          </p:nvPr>
        </p:nvSpPr>
        <p:spPr>
          <a:xfrm>
            <a:off x="5714804" y="525"/>
            <a:ext cx="6478069" cy="6857475"/>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380150" y="381469"/>
            <a:ext cx="5714802" cy="760835"/>
          </a:xfrm>
        </p:spPr>
        <p:txBody>
          <a:bodyPr/>
          <a:lstStyle>
            <a:lvl1pPr>
              <a:defRPr b="0" i="0">
                <a:solidFill>
                  <a:schemeClr val="bg1"/>
                </a:solidFill>
                <a:latin typeface="adineue TEXT Black" panose="020B0A03020201060004" pitchFamily="34" charset="0"/>
              </a:defRPr>
            </a:lvl1pPr>
          </a:lstStyle>
          <a:p>
            <a:r>
              <a:rPr lang="en-US" noProof="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014F0AE5-C4FB-44C0-A75F-263CE68BBED1}" type="datetime5">
              <a:rPr lang="en-US" smtClean="0"/>
              <a:t>6-Oct-21</a:t>
            </a:fld>
            <a:endParaRPr lang="en-US"/>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a:t>FOOTER / PRESENTATION NAME</a:t>
            </a:r>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621120040"/>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3" y="524"/>
            <a:ext cx="2667329" cy="68569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8" name="Picture Placeholder 3"/>
          <p:cNvSpPr>
            <a:spLocks noGrp="1"/>
          </p:cNvSpPr>
          <p:nvPr>
            <p:ph type="pic" sz="quarter" idx="23"/>
          </p:nvPr>
        </p:nvSpPr>
        <p:spPr>
          <a:xfrm>
            <a:off x="2667329" y="525"/>
            <a:ext cx="3047476" cy="2286177"/>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a:xfrm>
            <a:off x="2667331" y="2286702"/>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a:xfrm>
            <a:off x="2667331"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1" name="Picture Placeholder 3"/>
          <p:cNvSpPr>
            <a:spLocks noGrp="1"/>
          </p:cNvSpPr>
          <p:nvPr>
            <p:ph type="pic" sz="quarter" idx="26"/>
          </p:nvPr>
        </p:nvSpPr>
        <p:spPr>
          <a:xfrm>
            <a:off x="5715329" y="526"/>
            <a:ext cx="3046951" cy="3428476"/>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23" name="Picture Placeholder 3"/>
          <p:cNvSpPr>
            <a:spLocks noGrp="1"/>
          </p:cNvSpPr>
          <p:nvPr>
            <p:ph type="pic" sz="quarter" idx="27"/>
          </p:nvPr>
        </p:nvSpPr>
        <p:spPr>
          <a:xfrm>
            <a:off x="5713754" y="3429004"/>
            <a:ext cx="3047475" cy="3428473"/>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24" name="Picture Placeholder 3"/>
          <p:cNvSpPr>
            <a:spLocks noGrp="1"/>
          </p:cNvSpPr>
          <p:nvPr>
            <p:ph type="pic" sz="quarter" idx="28"/>
          </p:nvPr>
        </p:nvSpPr>
        <p:spPr>
          <a:xfrm>
            <a:off x="8763154" y="525"/>
            <a:ext cx="3429719" cy="685747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3" name="Titel 2"/>
          <p:cNvSpPr>
            <a:spLocks noGrp="1"/>
          </p:cNvSpPr>
          <p:nvPr>
            <p:ph type="title"/>
          </p:nvPr>
        </p:nvSpPr>
        <p:spPr bwMode="gray">
          <a:xfrm>
            <a:off x="380150" y="381469"/>
            <a:ext cx="5714802" cy="760835"/>
          </a:xfrm>
        </p:spPr>
        <p:txBody>
          <a:bodyPr/>
          <a:lstStyle>
            <a:lvl1pPr>
              <a:defRPr b="0" i="0">
                <a:solidFill>
                  <a:schemeClr val="bg1"/>
                </a:solidFill>
                <a:latin typeface="adineue TEXT Black" panose="020B0A03020201060004" pitchFamily="34" charset="0"/>
              </a:defRPr>
            </a:lvl1pPr>
          </a:lstStyle>
          <a:p>
            <a:r>
              <a:rPr lang="en-US" noProof="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B978F627-9987-4290-8724-74E1C4FCD531}" type="datetime5">
              <a:rPr lang="en-US" smtClean="0"/>
              <a:t>6-Oct-21</a:t>
            </a:fld>
            <a:endParaRPr lang="en-US"/>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a:t>FOOTER / PRESENTATION NAME</a:t>
            </a:r>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448865044"/>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10" name="Picture Placeholder 3"/>
          <p:cNvSpPr>
            <a:spLocks noGrp="1"/>
          </p:cNvSpPr>
          <p:nvPr>
            <p:ph type="pic" sz="quarter" idx="27"/>
          </p:nvPr>
        </p:nvSpPr>
        <p:spPr>
          <a:xfrm>
            <a:off x="762223" y="762234"/>
            <a:ext cx="1904583" cy="5333533"/>
          </a:xfrm>
          <a:solidFill>
            <a:schemeClr val="bg2">
              <a:lumMod val="60000"/>
              <a:lumOff val="40000"/>
            </a:schemeClr>
          </a:solidFill>
        </p:spPr>
        <p:txBody>
          <a:bodyPr anchor="ctr"/>
          <a:lstStyle>
            <a:lvl1pPr algn="ctr">
              <a:defRPr b="0">
                <a:solidFill>
                  <a:schemeClr val="bg1"/>
                </a:solidFill>
              </a:defRPr>
            </a:lvl1pPr>
          </a:lstStyle>
          <a:p>
            <a:r>
              <a:rPr lang="en-US" noProof="0"/>
              <a:t>Click icon to add picture</a:t>
            </a:r>
          </a:p>
        </p:txBody>
      </p:sp>
      <p:sp>
        <p:nvSpPr>
          <p:cNvPr id="4" name="Picture Placeholder 3"/>
          <p:cNvSpPr>
            <a:spLocks noGrp="1"/>
          </p:cNvSpPr>
          <p:nvPr>
            <p:ph type="pic" sz="quarter" idx="18"/>
          </p:nvPr>
        </p:nvSpPr>
        <p:spPr>
          <a:xfrm>
            <a:off x="5332559" y="762234"/>
            <a:ext cx="3811967" cy="266764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1" name="Picture Placeholder 3"/>
          <p:cNvSpPr>
            <a:spLocks noGrp="1"/>
          </p:cNvSpPr>
          <p:nvPr>
            <p:ph type="pic" sz="quarter" idx="23"/>
          </p:nvPr>
        </p:nvSpPr>
        <p:spPr>
          <a:xfrm>
            <a:off x="9144178" y="762237"/>
            <a:ext cx="2286131" cy="266676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5332558"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7620088" y="3429001"/>
            <a:ext cx="3809518" cy="2667466"/>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760296" y="381467"/>
            <a:ext cx="5335707" cy="380942"/>
          </a:xfrm>
        </p:spPr>
        <p:txBody>
          <a:bodyPr/>
          <a:lstStyle>
            <a:lvl1pPr>
              <a:defRPr b="0" i="0">
                <a:latin typeface="adineue TEXT Black" panose="020B0A03020201060004" pitchFamily="34" charset="0"/>
              </a:defRPr>
            </a:lvl1pPr>
          </a:lstStyle>
          <a:p>
            <a:r>
              <a:rPr lang="en-US" noProof="0"/>
              <a:t>Click to edit Master title style</a:t>
            </a:r>
          </a:p>
        </p:txBody>
      </p:sp>
      <p:sp>
        <p:nvSpPr>
          <p:cNvPr id="14" name="Picture Placeholder 3"/>
          <p:cNvSpPr>
            <a:spLocks noGrp="1"/>
          </p:cNvSpPr>
          <p:nvPr>
            <p:ph type="pic" sz="quarter" idx="28"/>
          </p:nvPr>
        </p:nvSpPr>
        <p:spPr>
          <a:xfrm>
            <a:off x="2667680" y="762237"/>
            <a:ext cx="2664878" cy="1524467"/>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15" name="Picture Placeholder 3"/>
          <p:cNvSpPr>
            <a:spLocks noGrp="1"/>
          </p:cNvSpPr>
          <p:nvPr>
            <p:ph type="pic" sz="quarter" idx="29"/>
          </p:nvPr>
        </p:nvSpPr>
        <p:spPr>
          <a:xfrm>
            <a:off x="2667331" y="2285830"/>
            <a:ext cx="2665229" cy="1905407"/>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6" name="Picture Placeholder 3"/>
          <p:cNvSpPr>
            <a:spLocks noGrp="1"/>
          </p:cNvSpPr>
          <p:nvPr>
            <p:ph type="pic" sz="quarter" idx="30"/>
          </p:nvPr>
        </p:nvSpPr>
        <p:spPr>
          <a:xfrm>
            <a:off x="2667680" y="4191237"/>
            <a:ext cx="2664878" cy="1904534"/>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2" name="Date Placeholder 1"/>
          <p:cNvSpPr>
            <a:spLocks noGrp="1"/>
          </p:cNvSpPr>
          <p:nvPr>
            <p:ph type="dt" sz="half" idx="31"/>
          </p:nvPr>
        </p:nvSpPr>
        <p:spPr/>
        <p:txBody>
          <a:bodyPr/>
          <a:lstStyle/>
          <a:p>
            <a:pPr>
              <a:defRPr/>
            </a:pPr>
            <a:fld id="{CBB3C255-BEED-4544-AA6F-C8699A0FAA4E}" type="datetime5">
              <a:rPr lang="en-US" smtClean="0"/>
              <a:t>6-Oct-21</a:t>
            </a:fld>
            <a:endParaRPr lang="en-US"/>
          </a:p>
        </p:txBody>
      </p:sp>
      <p:sp>
        <p:nvSpPr>
          <p:cNvPr id="5" name="Footer Placeholder 4"/>
          <p:cNvSpPr>
            <a:spLocks noGrp="1"/>
          </p:cNvSpPr>
          <p:nvPr>
            <p:ph type="ftr" sz="quarter" idx="32"/>
          </p:nvPr>
        </p:nvSpPr>
        <p:spPr/>
        <p:txBody>
          <a:bodyPr/>
          <a:lstStyle/>
          <a:p>
            <a:pPr>
              <a:defRPr/>
            </a:pPr>
            <a:r>
              <a:rPr lang="en-US"/>
              <a:t>FOOTER / PRESENTATION NAME</a:t>
            </a:r>
          </a:p>
        </p:txBody>
      </p:sp>
      <p:sp>
        <p:nvSpPr>
          <p:cNvPr id="6" name="Slide Number Placeholder 5"/>
          <p:cNvSpPr>
            <a:spLocks noGrp="1"/>
          </p:cNvSpPr>
          <p:nvPr>
            <p:ph type="sldNum" sz="quarter" idx="33"/>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6074059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1" y="0"/>
            <a:ext cx="6096000" cy="6857474"/>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2" name="Titel 1"/>
          <p:cNvSpPr>
            <a:spLocks noGrp="1"/>
          </p:cNvSpPr>
          <p:nvPr>
            <p:ph type="title"/>
          </p:nvPr>
        </p:nvSpPr>
        <p:spPr bwMode="gray">
          <a:xfrm>
            <a:off x="380149" y="3809941"/>
            <a:ext cx="5334656" cy="1523066"/>
          </a:xfrm>
        </p:spPr>
        <p:txBody>
          <a:bodyPr/>
          <a:lstStyle>
            <a:lvl1pPr>
              <a:defRPr sz="4233" b="0" i="0">
                <a:solidFill>
                  <a:schemeClr val="bg1"/>
                </a:solidFill>
                <a:latin typeface="adineue TEXT Black" panose="020B0A03020201060004" pitchFamily="34" charset="0"/>
              </a:defRPr>
            </a:lvl1pPr>
          </a:lstStyle>
          <a:p>
            <a:r>
              <a:rPr lang="en-US" noProof="0" dirty="0"/>
              <a:t>Click to edit Master title style</a:t>
            </a:r>
          </a:p>
        </p:txBody>
      </p:sp>
      <p:sp>
        <p:nvSpPr>
          <p:cNvPr id="9" name="Picture Placeholder 5"/>
          <p:cNvSpPr>
            <a:spLocks noGrp="1"/>
          </p:cNvSpPr>
          <p:nvPr>
            <p:ph type="pic" sz="quarter" idx="28"/>
          </p:nvPr>
        </p:nvSpPr>
        <p:spPr>
          <a:xfrm>
            <a:off x="6096000" y="525"/>
            <a:ext cx="6096351" cy="6857476"/>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6" name="Picture Placeholder 5"/>
          <p:cNvSpPr>
            <a:spLocks noGrp="1"/>
          </p:cNvSpPr>
          <p:nvPr>
            <p:ph type="pic" sz="quarter" idx="27"/>
          </p:nvPr>
        </p:nvSpPr>
        <p:spPr>
          <a:xfrm>
            <a:off x="6857345" y="1143349"/>
            <a:ext cx="3429721" cy="3810118"/>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7" name="Date Placeholder 6"/>
          <p:cNvSpPr>
            <a:spLocks noGrp="1"/>
          </p:cNvSpPr>
          <p:nvPr>
            <p:ph type="dt" sz="half" idx="29"/>
          </p:nvPr>
        </p:nvSpPr>
        <p:spPr/>
        <p:txBody>
          <a:bodyPr/>
          <a:lstStyle>
            <a:lvl1pPr>
              <a:defRPr>
                <a:solidFill>
                  <a:schemeClr val="bg1"/>
                </a:solidFill>
              </a:defRPr>
            </a:lvl1pPr>
          </a:lstStyle>
          <a:p>
            <a:pPr>
              <a:defRPr/>
            </a:pPr>
            <a:fld id="{D86645D1-D9E0-4934-A201-A934C46BDDC9}" type="datetime5">
              <a:rPr lang="en-US" smtClean="0"/>
              <a:t>6-Oct-21</a:t>
            </a:fld>
            <a:endParaRPr lang="en-US" dirty="0"/>
          </a:p>
        </p:txBody>
      </p:sp>
      <p:sp>
        <p:nvSpPr>
          <p:cNvPr id="8" name="Footer Placeholder 7"/>
          <p:cNvSpPr>
            <a:spLocks noGrp="1"/>
          </p:cNvSpPr>
          <p:nvPr>
            <p:ph type="ftr" sz="quarter" idx="30"/>
          </p:nvPr>
        </p:nvSpPr>
        <p:spPr/>
        <p:txBody>
          <a:bodyPr/>
          <a:lstStyle>
            <a:lvl1pPr>
              <a:defRPr>
                <a:solidFill>
                  <a:schemeClr val="bg1"/>
                </a:solidFill>
              </a:defRPr>
            </a:lvl1pPr>
          </a:lstStyle>
          <a:p>
            <a:pPr>
              <a:defRPr/>
            </a:pPr>
            <a:r>
              <a:rPr lang="en-US"/>
              <a:t>FOOTER / PRESENTATION NAME</a:t>
            </a:r>
            <a:endParaRPr lang="en-US" dirty="0"/>
          </a:p>
        </p:txBody>
      </p:sp>
      <p:sp>
        <p:nvSpPr>
          <p:cNvPr id="11" name="Slide Number Placeholder 10"/>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672085738"/>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2"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6" name="Picture Placeholder 5"/>
          <p:cNvSpPr>
            <a:spLocks noGrp="1"/>
          </p:cNvSpPr>
          <p:nvPr>
            <p:ph type="pic" sz="quarter" idx="22"/>
          </p:nvPr>
        </p:nvSpPr>
        <p:spPr>
          <a:xfrm>
            <a:off x="760295" y="762234"/>
            <a:ext cx="3809869" cy="5333533"/>
          </a:xfrm>
          <a:solidFill>
            <a:schemeClr val="bg2"/>
          </a:solidFill>
        </p:spPr>
        <p:txBody>
          <a:bodyPr anchor="ctr"/>
          <a:lstStyle>
            <a:lvl1pPr algn="ctr">
              <a:defRPr b="0">
                <a:solidFill>
                  <a:srgbClr val="FAFAFA"/>
                </a:solidFill>
              </a:defRPr>
            </a:lvl1pPr>
          </a:lstStyle>
          <a:p>
            <a:r>
              <a:rPr lang="en-US" noProof="0"/>
              <a:t>Click icon to add picture</a:t>
            </a:r>
          </a:p>
        </p:txBody>
      </p:sp>
      <p:sp>
        <p:nvSpPr>
          <p:cNvPr id="3" name="Titel 2"/>
          <p:cNvSpPr>
            <a:spLocks noGrp="1"/>
          </p:cNvSpPr>
          <p:nvPr>
            <p:ph type="title"/>
          </p:nvPr>
        </p:nvSpPr>
        <p:spPr bwMode="gray">
          <a:xfrm>
            <a:off x="5333959" y="1904536"/>
            <a:ext cx="5715329" cy="1905407"/>
          </a:xfrm>
        </p:spPr>
        <p:txBody>
          <a:bodyPr anchor="b"/>
          <a:lstStyle>
            <a:lvl1pPr>
              <a:defRPr sz="4234" b="0" i="0">
                <a:latin typeface="adineue TEXT Black" panose="020B0A03020201060004" pitchFamily="34" charset="0"/>
              </a:defRPr>
            </a:lvl1pPr>
          </a:lstStyle>
          <a:p>
            <a:r>
              <a:rPr lang="en-US" noProof="0"/>
              <a:t>Click to edit Master title style</a:t>
            </a:r>
          </a:p>
        </p:txBody>
      </p:sp>
      <p:sp>
        <p:nvSpPr>
          <p:cNvPr id="4" name="Text Placeholder 3"/>
          <p:cNvSpPr>
            <a:spLocks noGrp="1"/>
          </p:cNvSpPr>
          <p:nvPr>
            <p:ph type="body" sz="quarter" idx="18"/>
          </p:nvPr>
        </p:nvSpPr>
        <p:spPr>
          <a:xfrm>
            <a:off x="5332558" y="3809941"/>
            <a:ext cx="5281082" cy="2285650"/>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3"/>
          </p:nvPr>
        </p:nvSpPr>
        <p:spPr/>
        <p:txBody>
          <a:bodyPr/>
          <a:lstStyle/>
          <a:p>
            <a:pPr>
              <a:defRPr/>
            </a:pPr>
            <a:fld id="{32EB5B45-091A-48A4-B2CB-21FCF0473D68}" type="datetime5">
              <a:rPr lang="en-US" smtClean="0"/>
              <a:t>6-Oct-21</a:t>
            </a:fld>
            <a:endParaRPr lang="en-US"/>
          </a:p>
        </p:txBody>
      </p:sp>
      <p:sp>
        <p:nvSpPr>
          <p:cNvPr id="7" name="Footer Placeholder 6"/>
          <p:cNvSpPr>
            <a:spLocks noGrp="1"/>
          </p:cNvSpPr>
          <p:nvPr>
            <p:ph type="ftr" sz="quarter" idx="24"/>
          </p:nvPr>
        </p:nvSpPr>
        <p:spPr/>
        <p:txBody>
          <a:bodyPr/>
          <a:lstStyle/>
          <a:p>
            <a:pPr>
              <a:defRPr/>
            </a:pPr>
            <a:r>
              <a:rPr lang="en-US"/>
              <a:t>FOOTER / PRESENTATION NAME</a:t>
            </a:r>
          </a:p>
        </p:txBody>
      </p:sp>
      <p:sp>
        <p:nvSpPr>
          <p:cNvPr id="11" name="Slide Number Placeholder 10"/>
          <p:cNvSpPr>
            <a:spLocks noGrp="1"/>
          </p:cNvSpPr>
          <p:nvPr>
            <p:ph type="sldNum" sz="quarter" idx="25"/>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88317498"/>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2"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tx2"/>
                </a:solidFill>
              </a:defRPr>
            </a:lvl1pPr>
          </a:lstStyle>
          <a:p>
            <a:pPr lvl="0"/>
            <a:r>
              <a:rPr lang="en-US" noProof="0"/>
              <a:t>Click icon to add picture</a:t>
            </a:r>
          </a:p>
        </p:txBody>
      </p:sp>
      <p:sp>
        <p:nvSpPr>
          <p:cNvPr id="6" name="Picture Placeholder 5"/>
          <p:cNvSpPr>
            <a:spLocks noGrp="1"/>
          </p:cNvSpPr>
          <p:nvPr>
            <p:ph type="pic" sz="quarter" idx="22"/>
          </p:nvPr>
        </p:nvSpPr>
        <p:spPr>
          <a:xfrm>
            <a:off x="760296" y="762236"/>
            <a:ext cx="4954633" cy="5715525"/>
          </a:xfrm>
          <a:solidFill>
            <a:schemeClr val="bg2">
              <a:lumMod val="40000"/>
              <a:lumOff val="60000"/>
            </a:schemeClr>
          </a:solidFill>
        </p:spPr>
        <p:txBody>
          <a:bodyPr anchor="ctr"/>
          <a:lstStyle>
            <a:lvl1pPr algn="ctr">
              <a:defRPr b="0"/>
            </a:lvl1pPr>
          </a:lstStyle>
          <a:p>
            <a:r>
              <a:rPr lang="en-US" noProof="0"/>
              <a:t>Click icon to add picture</a:t>
            </a:r>
          </a:p>
        </p:txBody>
      </p:sp>
      <p:sp>
        <p:nvSpPr>
          <p:cNvPr id="3" name="Titel 2"/>
          <p:cNvSpPr>
            <a:spLocks noGrp="1"/>
          </p:cNvSpPr>
          <p:nvPr>
            <p:ph type="title"/>
          </p:nvPr>
        </p:nvSpPr>
        <p:spPr bwMode="gray">
          <a:xfrm>
            <a:off x="6094950" y="3060189"/>
            <a:ext cx="4952410" cy="3035403"/>
          </a:xfrm>
        </p:spPr>
        <p:txBody>
          <a:bodyPr/>
          <a:lstStyle>
            <a:lvl1pPr>
              <a:defRPr sz="4234" b="0" i="0">
                <a:solidFill>
                  <a:schemeClr val="bg1"/>
                </a:solidFill>
                <a:latin typeface="adineue TEXT Black" panose="020B0A03020201060004" pitchFamily="34" charset="0"/>
              </a:defRPr>
            </a:lvl1pPr>
          </a:lstStyle>
          <a:p>
            <a:r>
              <a:rPr lang="en-US" noProof="0"/>
              <a:t>Click to edit Master title style</a:t>
            </a:r>
          </a:p>
        </p:txBody>
      </p:sp>
      <p:sp>
        <p:nvSpPr>
          <p:cNvPr id="4" name="Date Placeholder 3"/>
          <p:cNvSpPr>
            <a:spLocks noGrp="1"/>
          </p:cNvSpPr>
          <p:nvPr>
            <p:ph type="dt" sz="half" idx="23"/>
          </p:nvPr>
        </p:nvSpPr>
        <p:spPr/>
        <p:txBody>
          <a:bodyPr/>
          <a:lstStyle>
            <a:lvl1pPr>
              <a:defRPr>
                <a:solidFill>
                  <a:schemeClr val="bg1"/>
                </a:solidFill>
              </a:defRPr>
            </a:lvl1pPr>
          </a:lstStyle>
          <a:p>
            <a:pPr>
              <a:defRPr/>
            </a:pPr>
            <a:fld id="{EA0F81CA-2165-4A8D-8538-45EE051001AB}" type="datetime5">
              <a:rPr lang="en-US" smtClean="0"/>
              <a:t>6-Oct-21</a:t>
            </a:fld>
            <a:endParaRPr lang="en-US"/>
          </a:p>
        </p:txBody>
      </p:sp>
      <p:sp>
        <p:nvSpPr>
          <p:cNvPr id="5" name="Footer Placeholder 4"/>
          <p:cNvSpPr>
            <a:spLocks noGrp="1"/>
          </p:cNvSpPr>
          <p:nvPr>
            <p:ph type="ftr" sz="quarter" idx="24"/>
          </p:nvPr>
        </p:nvSpPr>
        <p:spPr/>
        <p:txBody>
          <a:bodyPr/>
          <a:lstStyle>
            <a:lvl1pPr>
              <a:defRPr>
                <a:solidFill>
                  <a:schemeClr val="bg1"/>
                </a:solidFill>
              </a:defRPr>
            </a:lvl1pPr>
          </a:lstStyle>
          <a:p>
            <a:pPr>
              <a:defRPr/>
            </a:pPr>
            <a:r>
              <a:rPr lang="en-US"/>
              <a:t>FOOTER / PRESENTATION NAME</a:t>
            </a:r>
          </a:p>
        </p:txBody>
      </p:sp>
      <p:sp>
        <p:nvSpPr>
          <p:cNvPr id="7" name="Slide Number Placeholder 6"/>
          <p:cNvSpPr>
            <a:spLocks noGrp="1"/>
          </p:cNvSpPr>
          <p:nvPr>
            <p:ph type="sldNum" sz="quarter" idx="25"/>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968914542"/>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2"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bg1"/>
                </a:solidFill>
              </a:defRPr>
            </a:lvl1pPr>
          </a:lstStyle>
          <a:p>
            <a:pPr lvl="0"/>
            <a:r>
              <a:rPr lang="en-US" noProof="0"/>
              <a:t>Click icon to add picture</a:t>
            </a:r>
          </a:p>
        </p:txBody>
      </p:sp>
      <p:sp>
        <p:nvSpPr>
          <p:cNvPr id="3" name="Titel 2"/>
          <p:cNvSpPr>
            <a:spLocks noGrp="1"/>
          </p:cNvSpPr>
          <p:nvPr>
            <p:ph type="title"/>
          </p:nvPr>
        </p:nvSpPr>
        <p:spPr bwMode="gray">
          <a:xfrm>
            <a:off x="760295" y="2286704"/>
            <a:ext cx="6097051" cy="3808890"/>
          </a:xfrm>
        </p:spPr>
        <p:txBody>
          <a:bodyPr/>
          <a:lstStyle>
            <a:lvl1pPr>
              <a:defRPr sz="5292" b="0" i="0">
                <a:solidFill>
                  <a:schemeClr val="bg1"/>
                </a:solidFill>
                <a:latin typeface="adineue TEXT Black" panose="020B0A03020201060004" pitchFamily="34" charset="0"/>
              </a:defRPr>
            </a:lvl1pPr>
          </a:lstStyle>
          <a:p>
            <a:r>
              <a:rPr lang="en-US" noProof="0"/>
              <a:t>Click to edit Master title style</a:t>
            </a:r>
          </a:p>
        </p:txBody>
      </p:sp>
      <p:sp>
        <p:nvSpPr>
          <p:cNvPr id="4" name="Date Placeholder 3"/>
          <p:cNvSpPr>
            <a:spLocks noGrp="1"/>
          </p:cNvSpPr>
          <p:nvPr>
            <p:ph type="dt" sz="half" idx="15"/>
          </p:nvPr>
        </p:nvSpPr>
        <p:spPr/>
        <p:txBody>
          <a:bodyPr/>
          <a:lstStyle>
            <a:lvl1pPr>
              <a:defRPr>
                <a:solidFill>
                  <a:schemeClr val="bg1"/>
                </a:solidFill>
              </a:defRPr>
            </a:lvl1pPr>
          </a:lstStyle>
          <a:p>
            <a:pPr>
              <a:defRPr/>
            </a:pPr>
            <a:fld id="{41AB0281-9A47-48DF-8D62-63F21A07006D}" type="datetime5">
              <a:rPr lang="en-US" smtClean="0"/>
              <a:t>6-Oct-21</a:t>
            </a:fld>
            <a:endParaRPr lang="en-US"/>
          </a:p>
        </p:txBody>
      </p:sp>
      <p:sp>
        <p:nvSpPr>
          <p:cNvPr id="5" name="Footer Placeholder 4"/>
          <p:cNvSpPr>
            <a:spLocks noGrp="1"/>
          </p:cNvSpPr>
          <p:nvPr>
            <p:ph type="ftr" sz="quarter" idx="16"/>
          </p:nvPr>
        </p:nvSpPr>
        <p:spPr/>
        <p:txBody>
          <a:bodyPr/>
          <a:lstStyle>
            <a:lvl1pPr>
              <a:defRPr>
                <a:solidFill>
                  <a:schemeClr val="bg1"/>
                </a:solidFill>
              </a:defRPr>
            </a:lvl1pPr>
          </a:lstStyle>
          <a:p>
            <a:pPr>
              <a:defRPr/>
            </a:pPr>
            <a:r>
              <a:rPr lang="en-US"/>
              <a:t>FOOTER / PRESENTATION NAME</a:t>
            </a:r>
          </a:p>
        </p:txBody>
      </p:sp>
      <p:sp>
        <p:nvSpPr>
          <p:cNvPr id="6" name="Slide Number Placeholder 5"/>
          <p:cNvSpPr>
            <a:spLocks noGrp="1"/>
          </p:cNvSpPr>
          <p:nvPr>
            <p:ph type="sldNum" sz="quarter" idx="17"/>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953574186"/>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mage + Message (4)">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3" y="0"/>
            <a:ext cx="12192000" cy="6858001"/>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p>
        </p:txBody>
      </p:sp>
      <p:sp>
        <p:nvSpPr>
          <p:cNvPr id="3" name="Titel 2"/>
          <p:cNvSpPr>
            <a:spLocks noGrp="1"/>
          </p:cNvSpPr>
          <p:nvPr>
            <p:ph type="title" hasCustomPrompt="1"/>
          </p:nvPr>
        </p:nvSpPr>
        <p:spPr bwMode="gray">
          <a:xfrm>
            <a:off x="2285084" y="1905232"/>
            <a:ext cx="7619736" cy="1142300"/>
          </a:xfrm>
        </p:spPr>
        <p:txBody>
          <a:bodyPr anchor="b"/>
          <a:lstStyle>
            <a:lvl1pPr algn="ctr">
              <a:lnSpc>
                <a:spcPct val="70000"/>
              </a:lnSpc>
              <a:defRPr sz="4763" b="0" i="0">
                <a:solidFill>
                  <a:schemeClr val="bg1"/>
                </a:solidFill>
                <a:latin typeface="adineue TEXT Black" panose="020B0A03020201060004" pitchFamily="34" charset="0"/>
              </a:defRPr>
            </a:lvl1pPr>
          </a:lstStyle>
          <a:p>
            <a:pPr lvl="0"/>
            <a:r>
              <a:rPr lang="en-US"/>
              <a:t>Click to edit </a:t>
            </a:r>
            <a:br>
              <a:rPr lang="en-US"/>
            </a:br>
            <a:r>
              <a:rPr lang="en-US"/>
              <a:t>Master title style</a:t>
            </a:r>
            <a:endParaRPr lang="de-DE"/>
          </a:p>
        </p:txBody>
      </p:sp>
      <p:sp>
        <p:nvSpPr>
          <p:cNvPr id="8" name="Text Placeholder 3"/>
          <p:cNvSpPr>
            <a:spLocks noGrp="1"/>
          </p:cNvSpPr>
          <p:nvPr>
            <p:ph type="body" sz="quarter" idx="18" hasCustomPrompt="1"/>
          </p:nvPr>
        </p:nvSpPr>
        <p:spPr>
          <a:xfrm>
            <a:off x="3047827" y="3428999"/>
            <a:ext cx="6094948" cy="2286701"/>
          </a:xfrm>
        </p:spPr>
        <p:txBody>
          <a:bodyPr anchor="t"/>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
        <p:nvSpPr>
          <p:cNvPr id="2" name="Date Placeholder 1"/>
          <p:cNvSpPr>
            <a:spLocks noGrp="1"/>
          </p:cNvSpPr>
          <p:nvPr>
            <p:ph type="dt" sz="half" idx="19"/>
          </p:nvPr>
        </p:nvSpPr>
        <p:spPr/>
        <p:txBody>
          <a:bodyPr/>
          <a:lstStyle>
            <a:lvl1pPr>
              <a:defRPr>
                <a:solidFill>
                  <a:schemeClr val="bg1"/>
                </a:solidFill>
              </a:defRPr>
            </a:lvl1pPr>
          </a:lstStyle>
          <a:p>
            <a:pPr>
              <a:defRPr/>
            </a:pPr>
            <a:fld id="{8402E2C8-5AD1-4D1C-BCBB-3F642E51CFE4}" type="datetime5">
              <a:rPr lang="en-US" smtClean="0"/>
              <a:t>6-Oct-21</a:t>
            </a:fld>
            <a:endParaRPr lang="en-US"/>
          </a:p>
        </p:txBody>
      </p:sp>
      <p:sp>
        <p:nvSpPr>
          <p:cNvPr id="4" name="Footer Placeholder 3"/>
          <p:cNvSpPr>
            <a:spLocks noGrp="1"/>
          </p:cNvSpPr>
          <p:nvPr>
            <p:ph type="ftr" sz="quarter" idx="20"/>
          </p:nvPr>
        </p:nvSpPr>
        <p:spPr/>
        <p:txBody>
          <a:bodyPr/>
          <a:lstStyle>
            <a:lvl1pPr>
              <a:defRPr>
                <a:solidFill>
                  <a:schemeClr val="bg1"/>
                </a:solidFill>
              </a:defRPr>
            </a:lvl1pPr>
          </a:lstStyle>
          <a:p>
            <a:pPr>
              <a:defRPr/>
            </a:pPr>
            <a:r>
              <a:rPr lang="en-US"/>
              <a:t>FOOTER / PRESENTATION NAME</a:t>
            </a:r>
          </a:p>
        </p:txBody>
      </p:sp>
      <p:sp>
        <p:nvSpPr>
          <p:cNvPr id="5" name="Slide Number Placeholder 4"/>
          <p:cNvSpPr>
            <a:spLocks noGrp="1"/>
          </p:cNvSpPr>
          <p:nvPr>
            <p:ph type="sldNum" sz="quarter" idx="2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861895433"/>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mage + Message (5)">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2" y="3"/>
            <a:ext cx="12192000" cy="6858000"/>
          </a:xfrm>
          <a:solidFill>
            <a:schemeClr val="bg2">
              <a:lumMod val="60000"/>
              <a:lumOff val="40000"/>
            </a:schemeClr>
          </a:solidFill>
        </p:spPr>
        <p:txBody>
          <a:bodyPr anchor="ctr"/>
          <a:lstStyle>
            <a:lvl1pPr algn="ctr">
              <a:defRPr b="0">
                <a:solidFill>
                  <a:schemeClr val="tx1"/>
                </a:solidFill>
              </a:defRPr>
            </a:lvl1pPr>
          </a:lstStyle>
          <a:p>
            <a:r>
              <a:rPr lang="en-US"/>
              <a:t>Click icon to add picture</a:t>
            </a:r>
          </a:p>
        </p:txBody>
      </p:sp>
      <p:sp>
        <p:nvSpPr>
          <p:cNvPr id="2" name="Titel 1"/>
          <p:cNvSpPr>
            <a:spLocks noGrp="1"/>
          </p:cNvSpPr>
          <p:nvPr>
            <p:ph type="title"/>
          </p:nvPr>
        </p:nvSpPr>
        <p:spPr bwMode="gray">
          <a:xfrm>
            <a:off x="380149" y="382169"/>
            <a:ext cx="5334656" cy="760133"/>
          </a:xfrm>
        </p:spPr>
        <p:txBody>
          <a:bodyPr/>
          <a:lstStyle>
            <a:lvl1pPr>
              <a:defRPr b="0"/>
            </a:lvl1pPr>
          </a:lstStyle>
          <a:p>
            <a:r>
              <a:rPr lang="en-US"/>
              <a:t>Click to edit Master title style</a:t>
            </a:r>
            <a:endParaRPr lang="de-DE"/>
          </a:p>
        </p:txBody>
      </p:sp>
      <p:sp>
        <p:nvSpPr>
          <p:cNvPr id="6" name="Picture Placeholder 5"/>
          <p:cNvSpPr>
            <a:spLocks noGrp="1"/>
          </p:cNvSpPr>
          <p:nvPr>
            <p:ph type="pic" sz="quarter" idx="27"/>
          </p:nvPr>
        </p:nvSpPr>
        <p:spPr>
          <a:xfrm>
            <a:off x="6857345" y="1142302"/>
            <a:ext cx="4190015" cy="4573400"/>
          </a:xfrm>
          <a:solidFill>
            <a:schemeClr val="bg2"/>
          </a:solidFill>
        </p:spPr>
        <p:txBody>
          <a:bodyPr anchor="ctr"/>
          <a:lstStyle>
            <a:lvl1pPr algn="ctr">
              <a:defRPr b="0">
                <a:solidFill>
                  <a:schemeClr val="bg1"/>
                </a:solidFill>
              </a:defRPr>
            </a:lvl1pPr>
          </a:lstStyle>
          <a:p>
            <a:r>
              <a:rPr lang="en-US"/>
              <a:t>Click icon to add picture</a:t>
            </a:r>
          </a:p>
        </p:txBody>
      </p:sp>
      <p:sp>
        <p:nvSpPr>
          <p:cNvPr id="7" name="Date Placeholder 6"/>
          <p:cNvSpPr>
            <a:spLocks noGrp="1"/>
          </p:cNvSpPr>
          <p:nvPr>
            <p:ph type="dt" sz="half" idx="28"/>
          </p:nvPr>
        </p:nvSpPr>
        <p:spPr/>
        <p:txBody>
          <a:bodyPr/>
          <a:lstStyle/>
          <a:p>
            <a:pPr>
              <a:defRPr/>
            </a:pPr>
            <a:fld id="{0ED67513-FE0E-4D15-94B3-F238BFD7B62F}" type="datetime5">
              <a:rPr lang="en-US" smtClean="0"/>
              <a:t>6-Oct-21</a:t>
            </a:fld>
            <a:endParaRPr lang="en-US"/>
          </a:p>
        </p:txBody>
      </p:sp>
      <p:sp>
        <p:nvSpPr>
          <p:cNvPr id="8" name="Footer Placeholder 7"/>
          <p:cNvSpPr>
            <a:spLocks noGrp="1"/>
          </p:cNvSpPr>
          <p:nvPr>
            <p:ph type="ftr" sz="quarter" idx="29"/>
          </p:nvPr>
        </p:nvSpPr>
        <p:spPr/>
        <p:txBody>
          <a:bodyPr/>
          <a:lstStyle/>
          <a:p>
            <a:pPr>
              <a:defRPr/>
            </a:pPr>
            <a:r>
              <a:rPr lang="en-US"/>
              <a:t>FOOTER / PRESENTATION NAME</a:t>
            </a:r>
          </a:p>
        </p:txBody>
      </p:sp>
      <p:sp>
        <p:nvSpPr>
          <p:cNvPr id="10" name="Slide Number Placeholder 9"/>
          <p:cNvSpPr>
            <a:spLocks noGrp="1"/>
          </p:cNvSpPr>
          <p:nvPr>
            <p:ph type="sldNum" sz="quarter" idx="30"/>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751285141"/>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2" y="3"/>
            <a:ext cx="6096001" cy="6857474"/>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2" name="Titel 1"/>
          <p:cNvSpPr>
            <a:spLocks noGrp="1"/>
          </p:cNvSpPr>
          <p:nvPr>
            <p:ph type="title"/>
          </p:nvPr>
        </p:nvSpPr>
        <p:spPr bwMode="gray">
          <a:xfrm>
            <a:off x="380149" y="3809941"/>
            <a:ext cx="5334656" cy="1523066"/>
          </a:xfrm>
        </p:spPr>
        <p:txBody>
          <a:bodyPr/>
          <a:lstStyle>
            <a:lvl1pPr>
              <a:defRPr sz="4234" b="0" i="0">
                <a:solidFill>
                  <a:schemeClr val="bg1"/>
                </a:solidFill>
                <a:latin typeface="adineue TEXT Black" panose="020B0A03020201060004" pitchFamily="34" charset="0"/>
              </a:defRPr>
            </a:lvl1pPr>
          </a:lstStyle>
          <a:p>
            <a:r>
              <a:rPr lang="en-US" noProof="0"/>
              <a:t>Click to edit Master title style</a:t>
            </a:r>
          </a:p>
        </p:txBody>
      </p:sp>
      <p:sp>
        <p:nvSpPr>
          <p:cNvPr id="9" name="Picture Placeholder 5"/>
          <p:cNvSpPr>
            <a:spLocks noGrp="1"/>
          </p:cNvSpPr>
          <p:nvPr>
            <p:ph type="pic" sz="quarter" idx="28"/>
          </p:nvPr>
        </p:nvSpPr>
        <p:spPr>
          <a:xfrm>
            <a:off x="6095999" y="526"/>
            <a:ext cx="6096351" cy="6857476"/>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6" name="Picture Placeholder 5"/>
          <p:cNvSpPr>
            <a:spLocks noGrp="1"/>
          </p:cNvSpPr>
          <p:nvPr>
            <p:ph type="pic" sz="quarter" idx="27"/>
          </p:nvPr>
        </p:nvSpPr>
        <p:spPr>
          <a:xfrm>
            <a:off x="6857346" y="1143350"/>
            <a:ext cx="3429721" cy="3810118"/>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7" name="Date Placeholder 6"/>
          <p:cNvSpPr>
            <a:spLocks noGrp="1"/>
          </p:cNvSpPr>
          <p:nvPr>
            <p:ph type="dt" sz="half" idx="29"/>
          </p:nvPr>
        </p:nvSpPr>
        <p:spPr/>
        <p:txBody>
          <a:bodyPr/>
          <a:lstStyle>
            <a:lvl1pPr>
              <a:defRPr>
                <a:solidFill>
                  <a:schemeClr val="bg1"/>
                </a:solidFill>
              </a:defRPr>
            </a:lvl1pPr>
          </a:lstStyle>
          <a:p>
            <a:pPr>
              <a:defRPr/>
            </a:pPr>
            <a:fld id="{936018C1-7141-4754-82C3-B3EDE5019697}" type="datetime5">
              <a:rPr lang="en-US" smtClean="0"/>
              <a:t>6-Oct-21</a:t>
            </a:fld>
            <a:endParaRPr lang="en-US"/>
          </a:p>
        </p:txBody>
      </p:sp>
      <p:sp>
        <p:nvSpPr>
          <p:cNvPr id="8" name="Footer Placeholder 7"/>
          <p:cNvSpPr>
            <a:spLocks noGrp="1"/>
          </p:cNvSpPr>
          <p:nvPr>
            <p:ph type="ftr" sz="quarter" idx="30"/>
          </p:nvPr>
        </p:nvSpPr>
        <p:spPr/>
        <p:txBody>
          <a:bodyPr/>
          <a:lstStyle>
            <a:lvl1pPr>
              <a:defRPr>
                <a:solidFill>
                  <a:schemeClr val="bg1"/>
                </a:solidFill>
              </a:defRPr>
            </a:lvl1pPr>
          </a:lstStyle>
          <a:p>
            <a:pPr>
              <a:defRPr/>
            </a:pPr>
            <a:r>
              <a:rPr lang="en-US"/>
              <a:t>FOOTER / PRESENTATION NAME</a:t>
            </a:r>
          </a:p>
        </p:txBody>
      </p:sp>
      <p:sp>
        <p:nvSpPr>
          <p:cNvPr id="11" name="Slide Number Placeholder 10"/>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519648329"/>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mages split">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2" y="3"/>
            <a:ext cx="12192000" cy="6858000"/>
          </a:xfrm>
          <a:solidFill>
            <a:schemeClr val="bg2">
              <a:lumMod val="60000"/>
              <a:lumOff val="40000"/>
            </a:schemeClr>
          </a:solidFill>
        </p:spPr>
        <p:txBody>
          <a:bodyPr anchor="ctr"/>
          <a:lstStyle>
            <a:lvl1pPr algn="ctr">
              <a:defRPr b="0" i="0">
                <a:solidFill>
                  <a:schemeClr val="tx1"/>
                </a:solidFill>
              </a:defRPr>
            </a:lvl1pPr>
          </a:lstStyle>
          <a:p>
            <a:r>
              <a:rPr lang="en-US" noProof="0"/>
              <a:t>Click icon to add picture</a:t>
            </a:r>
          </a:p>
        </p:txBody>
      </p:sp>
      <p:sp>
        <p:nvSpPr>
          <p:cNvPr id="2" name="Titel 1"/>
          <p:cNvSpPr>
            <a:spLocks noGrp="1"/>
          </p:cNvSpPr>
          <p:nvPr>
            <p:ph type="title"/>
          </p:nvPr>
        </p:nvSpPr>
        <p:spPr bwMode="gray">
          <a:xfrm>
            <a:off x="760296" y="382169"/>
            <a:ext cx="10669312" cy="760133"/>
          </a:xfrm>
        </p:spPr>
        <p:txBody>
          <a:bodyPr/>
          <a:lstStyle>
            <a:lvl1pPr algn="ctr">
              <a:defRPr b="0" i="0">
                <a:solidFill>
                  <a:schemeClr val="bg1"/>
                </a:solidFill>
                <a:latin typeface="adineue TEXT Black" panose="020B0A03020201060004" pitchFamily="34" charset="0"/>
              </a:defRPr>
            </a:lvl1pPr>
          </a:lstStyle>
          <a:p>
            <a:r>
              <a:rPr lang="en-US" noProof="0"/>
              <a:t>Click to edit Master title style</a:t>
            </a:r>
          </a:p>
        </p:txBody>
      </p:sp>
      <p:sp>
        <p:nvSpPr>
          <p:cNvPr id="6" name="Picture Placeholder 5"/>
          <p:cNvSpPr>
            <a:spLocks noGrp="1"/>
          </p:cNvSpPr>
          <p:nvPr>
            <p:ph type="pic" sz="quarter" idx="27"/>
          </p:nvPr>
        </p:nvSpPr>
        <p:spPr>
          <a:xfrm>
            <a:off x="760296" y="1524040"/>
            <a:ext cx="5335707" cy="4191661"/>
          </a:xfrm>
          <a:solidFill>
            <a:schemeClr val="bg2"/>
          </a:solidFill>
        </p:spPr>
        <p:txBody>
          <a:bodyPr anchor="ctr"/>
          <a:lstStyle>
            <a:lvl1pPr algn="ctr">
              <a:defRPr b="0" i="0">
                <a:solidFill>
                  <a:schemeClr val="bg1"/>
                </a:solidFill>
              </a:defRPr>
            </a:lvl1pPr>
          </a:lstStyle>
          <a:p>
            <a:r>
              <a:rPr lang="en-US" noProof="0"/>
              <a:t>Click icon to add picture</a:t>
            </a:r>
          </a:p>
        </p:txBody>
      </p:sp>
      <p:sp>
        <p:nvSpPr>
          <p:cNvPr id="9" name="Picture Placeholder 5"/>
          <p:cNvSpPr>
            <a:spLocks noGrp="1"/>
          </p:cNvSpPr>
          <p:nvPr>
            <p:ph type="pic" sz="quarter" idx="28"/>
          </p:nvPr>
        </p:nvSpPr>
        <p:spPr>
          <a:xfrm>
            <a:off x="6096001" y="1524040"/>
            <a:ext cx="5335011" cy="4191661"/>
          </a:xfrm>
          <a:solidFill>
            <a:schemeClr val="bg2">
              <a:lumMod val="40000"/>
              <a:lumOff val="60000"/>
            </a:schemeClr>
          </a:solidFill>
        </p:spPr>
        <p:txBody>
          <a:bodyPr anchor="ctr"/>
          <a:lstStyle>
            <a:lvl1pPr algn="ctr">
              <a:defRPr b="0" i="0"/>
            </a:lvl1pPr>
          </a:lstStyle>
          <a:p>
            <a:r>
              <a:rPr lang="en-US" noProof="0"/>
              <a:t>Click icon to add picture</a:t>
            </a:r>
          </a:p>
        </p:txBody>
      </p:sp>
      <p:sp>
        <p:nvSpPr>
          <p:cNvPr id="7" name="Date Placeholder 6"/>
          <p:cNvSpPr>
            <a:spLocks noGrp="1"/>
          </p:cNvSpPr>
          <p:nvPr>
            <p:ph type="dt" sz="half" idx="29"/>
          </p:nvPr>
        </p:nvSpPr>
        <p:spPr/>
        <p:txBody>
          <a:bodyPr/>
          <a:lstStyle/>
          <a:p>
            <a:pPr>
              <a:defRPr/>
            </a:pPr>
            <a:fld id="{4F0E754A-4F12-43FB-9DA0-1BBF8A36AF4D}" type="datetime5">
              <a:rPr lang="en-US" smtClean="0"/>
              <a:t>6-Oct-21</a:t>
            </a:fld>
            <a:endParaRPr lang="en-US"/>
          </a:p>
        </p:txBody>
      </p:sp>
      <p:sp>
        <p:nvSpPr>
          <p:cNvPr id="8" name="Footer Placeholder 7"/>
          <p:cNvSpPr>
            <a:spLocks noGrp="1"/>
          </p:cNvSpPr>
          <p:nvPr>
            <p:ph type="ftr" sz="quarter" idx="30"/>
          </p:nvPr>
        </p:nvSpPr>
        <p:spPr/>
        <p:txBody>
          <a:bodyPr/>
          <a:lstStyle/>
          <a:p>
            <a:pPr>
              <a:defRPr/>
            </a:pPr>
            <a:r>
              <a:rPr lang="en-US"/>
              <a:t>FOOTER / PRESENTATION NAME</a:t>
            </a:r>
          </a:p>
        </p:txBody>
      </p:sp>
      <p:sp>
        <p:nvSpPr>
          <p:cNvPr id="11" name="Slide Number Placeholder 10"/>
          <p:cNvSpPr>
            <a:spLocks noGrp="1"/>
          </p:cNvSpPr>
          <p:nvPr>
            <p:ph type="sldNum" sz="quarter" idx="31"/>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484522211"/>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X-GUIDES">
    <p:spTree>
      <p:nvGrpSpPr>
        <p:cNvPr id="1" name=""/>
        <p:cNvGrpSpPr/>
        <p:nvPr/>
      </p:nvGrpSpPr>
      <p:grpSpPr>
        <a:xfrm>
          <a:off x="0" y="0"/>
          <a:ext cx="0" cy="0"/>
          <a:chOff x="0" y="0"/>
          <a:chExt cx="0" cy="0"/>
        </a:xfrm>
      </p:grpSpPr>
      <p:grpSp>
        <p:nvGrpSpPr>
          <p:cNvPr id="2" name="Group 2"/>
          <p:cNvGrpSpPr>
            <a:grpSpLocks/>
          </p:cNvGrpSpPr>
          <p:nvPr userDrawn="1"/>
        </p:nvGrpSpPr>
        <p:grpSpPr bwMode="auto">
          <a:xfrm>
            <a:off x="95251" y="1212479"/>
            <a:ext cx="11999382" cy="4441512"/>
            <a:chOff x="9468829" y="902018"/>
            <a:chExt cx="1008112" cy="3306445"/>
          </a:xfrm>
        </p:grpSpPr>
        <p:cxnSp>
          <p:nvCxnSpPr>
            <p:cNvPr id="3" name="Straight Connector 42"/>
            <p:cNvCxnSpPr/>
            <p:nvPr/>
          </p:nvCxnSpPr>
          <p:spPr bwMode="gray">
            <a:xfrm>
              <a:off x="9468829" y="338145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4" name="Straight Connector 43"/>
            <p:cNvCxnSpPr/>
            <p:nvPr/>
          </p:nvCxnSpPr>
          <p:spPr bwMode="gray">
            <a:xfrm>
              <a:off x="9468829" y="255287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5" name="Straight Connector 44"/>
            <p:cNvCxnSpPr/>
            <p:nvPr/>
          </p:nvCxnSpPr>
          <p:spPr bwMode="gray">
            <a:xfrm>
              <a:off x="9468829" y="4208463"/>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6" name="Straight Connector 56"/>
            <p:cNvCxnSpPr/>
            <p:nvPr/>
          </p:nvCxnSpPr>
          <p:spPr bwMode="gray">
            <a:xfrm>
              <a:off x="9468829" y="1724297"/>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7" name="Straight Connector 57"/>
            <p:cNvCxnSpPr/>
            <p:nvPr/>
          </p:nvCxnSpPr>
          <p:spPr bwMode="gray">
            <a:xfrm>
              <a:off x="9468829" y="90201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grpSp>
      <p:grpSp>
        <p:nvGrpSpPr>
          <p:cNvPr id="8" name="Group 1"/>
          <p:cNvGrpSpPr>
            <a:grpSpLocks/>
          </p:cNvGrpSpPr>
          <p:nvPr userDrawn="1"/>
        </p:nvGrpSpPr>
        <p:grpSpPr bwMode="auto">
          <a:xfrm>
            <a:off x="2" y="3"/>
            <a:ext cx="12192000" cy="6858000"/>
            <a:chOff x="0" y="0"/>
            <a:chExt cx="9072564" cy="5105402"/>
          </a:xfrm>
        </p:grpSpPr>
        <p:cxnSp>
          <p:nvCxnSpPr>
            <p:cNvPr id="9" name="Straight Connector 64"/>
            <p:cNvCxnSpPr/>
            <p:nvPr userDrawn="1"/>
          </p:nvCxnSpPr>
          <p:spPr bwMode="gray">
            <a:xfrm>
              <a:off x="1512360"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0" name="Straight Connector 65"/>
            <p:cNvCxnSpPr/>
            <p:nvPr userDrawn="1"/>
          </p:nvCxnSpPr>
          <p:spPr bwMode="gray">
            <a:xfrm>
              <a:off x="302472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1" name="Straight Connector 66"/>
            <p:cNvCxnSpPr/>
            <p:nvPr userDrawn="1"/>
          </p:nvCxnSpPr>
          <p:spPr bwMode="gray">
            <a:xfrm>
              <a:off x="604784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2" name="Straight Connector 67"/>
            <p:cNvCxnSpPr/>
            <p:nvPr userDrawn="1"/>
          </p:nvCxnSpPr>
          <p:spPr bwMode="gray">
            <a:xfrm>
              <a:off x="7560204"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3" name="Straight Connector 71"/>
            <p:cNvCxnSpPr/>
            <p:nvPr userDrawn="1"/>
          </p:nvCxnSpPr>
          <p:spPr bwMode="gray">
            <a:xfrm>
              <a:off x="453708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4" name="Straight Connector 45"/>
            <p:cNvCxnSpPr/>
            <p:nvPr userDrawn="1"/>
          </p:nvCxnSpPr>
          <p:spPr bwMode="gray">
            <a:xfrm flipH="1">
              <a:off x="0"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5" name="Straight Connector 46"/>
            <p:cNvCxnSpPr/>
            <p:nvPr userDrawn="1"/>
          </p:nvCxnSpPr>
          <p:spPr bwMode="gray">
            <a:xfrm flipH="1">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6" name="Straight Connector 47"/>
            <p:cNvCxnSpPr/>
            <p:nvPr userDrawn="1"/>
          </p:nvCxnSpPr>
          <p:spPr bwMode="gray">
            <a:xfrm flipH="1">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7" name="Straight Connector 48"/>
            <p:cNvCxnSpPr/>
            <p:nvPr userDrawn="1"/>
          </p:nvCxnSpPr>
          <p:spPr bwMode="gray">
            <a:xfrm>
              <a:off x="0" y="0"/>
              <a:ext cx="45370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8" name="Straight Connector 49"/>
            <p:cNvCxnSpPr/>
            <p:nvPr userDrawn="1"/>
          </p:nvCxnSpPr>
          <p:spPr bwMode="gray">
            <a:xfrm>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9" name="Straight Connector 50"/>
            <p:cNvCxnSpPr/>
            <p:nvPr userDrawn="1"/>
          </p:nvCxnSpPr>
          <p:spPr bwMode="gray">
            <a:xfrm>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20" name="Straight Connector 52"/>
            <p:cNvCxnSpPr/>
            <p:nvPr userDrawn="1"/>
          </p:nvCxnSpPr>
          <p:spPr bwMode="gray">
            <a:xfrm flipV="1">
              <a:off x="0"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1" name="Straight Connector 53"/>
            <p:cNvCxnSpPr/>
            <p:nvPr userDrawn="1"/>
          </p:nvCxnSpPr>
          <p:spPr bwMode="gray">
            <a:xfrm>
              <a:off x="0" y="2553510"/>
              <a:ext cx="4537082" cy="255189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2" name="Straight Connector 54"/>
            <p:cNvCxnSpPr/>
            <p:nvPr userDrawn="1"/>
          </p:nvCxnSpPr>
          <p:spPr bwMode="gray">
            <a:xfrm flipH="1">
              <a:off x="4537082" y="2547038"/>
              <a:ext cx="4535482" cy="2558364"/>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3" name="Straight Connector 61"/>
            <p:cNvCxnSpPr/>
            <p:nvPr userDrawn="1"/>
          </p:nvCxnSpPr>
          <p:spPr bwMode="gray">
            <a:xfrm flipH="1" flipV="1">
              <a:off x="4537082"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grpSp>
      <p:sp>
        <p:nvSpPr>
          <p:cNvPr id="24" name="Oval 72"/>
          <p:cNvSpPr/>
          <p:nvPr userDrawn="1"/>
        </p:nvSpPr>
        <p:spPr bwMode="gray">
          <a:xfrm>
            <a:off x="5990168" y="3322144"/>
            <a:ext cx="211667"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5" name="Oval 73"/>
          <p:cNvSpPr/>
          <p:nvPr userDrawn="1"/>
        </p:nvSpPr>
        <p:spPr bwMode="gray">
          <a:xfrm>
            <a:off x="8987369" y="3322144"/>
            <a:ext cx="213785"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6" name="Oval 78"/>
          <p:cNvSpPr/>
          <p:nvPr userDrawn="1"/>
        </p:nvSpPr>
        <p:spPr bwMode="gray">
          <a:xfrm>
            <a:off x="9988550" y="4435167"/>
            <a:ext cx="211667"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7" name="Oval 38"/>
          <p:cNvSpPr/>
          <p:nvPr userDrawn="1"/>
        </p:nvSpPr>
        <p:spPr bwMode="gray">
          <a:xfrm>
            <a:off x="8987369" y="4987445"/>
            <a:ext cx="213785" cy="213717"/>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8" name="Oval 63"/>
          <p:cNvSpPr/>
          <p:nvPr userDrawn="1"/>
        </p:nvSpPr>
        <p:spPr bwMode="gray">
          <a:xfrm>
            <a:off x="7975602" y="4435167"/>
            <a:ext cx="213785"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9" name="Oval 80"/>
          <p:cNvSpPr/>
          <p:nvPr userDrawn="1"/>
        </p:nvSpPr>
        <p:spPr bwMode="gray">
          <a:xfrm>
            <a:off x="9988550" y="2209120"/>
            <a:ext cx="211667"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30" name="Oval 82"/>
          <p:cNvSpPr/>
          <p:nvPr userDrawn="1"/>
        </p:nvSpPr>
        <p:spPr bwMode="gray">
          <a:xfrm>
            <a:off x="8987369" y="1650493"/>
            <a:ext cx="213785"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31" name="Oval 83"/>
          <p:cNvSpPr/>
          <p:nvPr userDrawn="1"/>
        </p:nvSpPr>
        <p:spPr bwMode="gray">
          <a:xfrm>
            <a:off x="7981951" y="2209120"/>
            <a:ext cx="213783"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87" tIns="95987" rIns="95987" bIns="95987" anchor="ctr"/>
          <a:lstStyle/>
          <a:p>
            <a:pPr algn="ctr" defTabSz="1219007"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Tree>
    <p:extLst>
      <p:ext uri="{BB962C8B-B14F-4D97-AF65-F5344CB8AC3E}">
        <p14:creationId xmlns:p14="http://schemas.microsoft.com/office/powerpoint/2010/main" val="261511522"/>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RE R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8EB7E47-58F9-4E01-8782-1ED32E0F0080}"/>
              </a:ext>
            </a:extLst>
          </p:cNvPr>
          <p:cNvSpPr/>
          <p:nvPr userDrawn="1"/>
        </p:nvSpPr>
        <p:spPr bwMode="gray">
          <a:xfrm>
            <a:off x="0" y="3"/>
            <a:ext cx="2031999" cy="6858000"/>
          </a:xfrm>
          <a:prstGeom prst="rect">
            <a:avLst/>
          </a:prstGeom>
          <a:solidFill>
            <a:schemeClr val="accent1"/>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52" tIns="95252" rIns="95252" bIns="95252"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7" name="Rectangle 6">
            <a:extLst>
              <a:ext uri="{FF2B5EF4-FFF2-40B4-BE49-F238E27FC236}">
                <a16:creationId xmlns:a16="http://schemas.microsoft.com/office/drawing/2014/main" id="{97061792-4EBB-449C-B551-E8C0281CA55D}"/>
              </a:ext>
            </a:extLst>
          </p:cNvPr>
          <p:cNvSpPr/>
          <p:nvPr userDrawn="1"/>
        </p:nvSpPr>
        <p:spPr bwMode="gray">
          <a:xfrm>
            <a:off x="2032000" y="3"/>
            <a:ext cx="2031999" cy="6858000"/>
          </a:xfrm>
          <a:prstGeom prst="rect">
            <a:avLst/>
          </a:prstGeom>
          <a:solidFill>
            <a:schemeClr val="accent2"/>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52" tIns="95252" rIns="95252" bIns="95252"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8" name="Rectangle 7">
            <a:extLst>
              <a:ext uri="{FF2B5EF4-FFF2-40B4-BE49-F238E27FC236}">
                <a16:creationId xmlns:a16="http://schemas.microsoft.com/office/drawing/2014/main" id="{32D66342-C4E5-4E6A-B602-C83DAAC0C118}"/>
              </a:ext>
            </a:extLst>
          </p:cNvPr>
          <p:cNvSpPr/>
          <p:nvPr userDrawn="1"/>
        </p:nvSpPr>
        <p:spPr bwMode="gray">
          <a:xfrm>
            <a:off x="4064000" y="3"/>
            <a:ext cx="2031999" cy="6858000"/>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52" tIns="95252" rIns="95252" bIns="95252"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9" name="Rectangle 8">
            <a:extLst>
              <a:ext uri="{FF2B5EF4-FFF2-40B4-BE49-F238E27FC236}">
                <a16:creationId xmlns:a16="http://schemas.microsoft.com/office/drawing/2014/main" id="{16F15D0B-0313-4703-8E3E-0A01F24ADF77}"/>
              </a:ext>
            </a:extLst>
          </p:cNvPr>
          <p:cNvSpPr/>
          <p:nvPr userDrawn="1"/>
        </p:nvSpPr>
        <p:spPr bwMode="gray">
          <a:xfrm>
            <a:off x="6096001" y="3"/>
            <a:ext cx="2031999" cy="6858000"/>
          </a:xfrm>
          <a:prstGeom prst="rect">
            <a:avLst/>
          </a:prstGeom>
          <a:solidFill>
            <a:schemeClr val="accent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52" tIns="95252" rIns="95252" bIns="95252"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10" name="Rectangle 9">
            <a:extLst>
              <a:ext uri="{FF2B5EF4-FFF2-40B4-BE49-F238E27FC236}">
                <a16:creationId xmlns:a16="http://schemas.microsoft.com/office/drawing/2014/main" id="{6EEA44E1-E041-4262-8E28-C4320552C8BF}"/>
              </a:ext>
            </a:extLst>
          </p:cNvPr>
          <p:cNvSpPr/>
          <p:nvPr userDrawn="1"/>
        </p:nvSpPr>
        <p:spPr bwMode="gray">
          <a:xfrm>
            <a:off x="8128000" y="3"/>
            <a:ext cx="2031999" cy="6858000"/>
          </a:xfrm>
          <a:prstGeom prst="rect">
            <a:avLst/>
          </a:prstGeom>
          <a:solidFill>
            <a:schemeClr val="accent5"/>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52" tIns="95252" rIns="95252" bIns="95252"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11" name="Rectangle 10">
            <a:extLst>
              <a:ext uri="{FF2B5EF4-FFF2-40B4-BE49-F238E27FC236}">
                <a16:creationId xmlns:a16="http://schemas.microsoft.com/office/drawing/2014/main" id="{5F255E2C-855C-4365-895D-7CC01F8F7921}"/>
              </a:ext>
            </a:extLst>
          </p:cNvPr>
          <p:cNvSpPr/>
          <p:nvPr userDrawn="1"/>
        </p:nvSpPr>
        <p:spPr bwMode="gray">
          <a:xfrm>
            <a:off x="10160001" y="3"/>
            <a:ext cx="2031999" cy="6858000"/>
          </a:xfrm>
          <a:prstGeom prst="rect">
            <a:avLst/>
          </a:prstGeom>
          <a:solidFill>
            <a:schemeClr val="accent6"/>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52" tIns="95252" rIns="95252" bIns="95252"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Tree>
    <p:extLst>
      <p:ext uri="{BB962C8B-B14F-4D97-AF65-F5344CB8AC3E}">
        <p14:creationId xmlns:p14="http://schemas.microsoft.com/office/powerpoint/2010/main" val="1158333946"/>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AE516-B82B-472E-A1F7-35F87BC3E007}"/>
              </a:ext>
            </a:extLst>
          </p:cNvPr>
          <p:cNvSpPr>
            <a:spLocks noGrp="1"/>
          </p:cNvSpPr>
          <p:nvPr>
            <p:ph type="ctrTitle"/>
          </p:nvPr>
        </p:nvSpPr>
        <p:spPr>
          <a:xfrm>
            <a:off x="1524002" y="1122363"/>
            <a:ext cx="9144002" cy="2387600"/>
          </a:xfrm>
        </p:spPr>
        <p:txBody>
          <a:bodyPr anchor="b"/>
          <a:lstStyle>
            <a:lvl1pPr algn="ctr">
              <a:defRPr sz="5997"/>
            </a:lvl1pPr>
          </a:lstStyle>
          <a:p>
            <a:r>
              <a:rPr lang="en-US"/>
              <a:t>Click to edit Master title style</a:t>
            </a:r>
            <a:endParaRPr lang="de-DE"/>
          </a:p>
        </p:txBody>
      </p:sp>
      <p:sp>
        <p:nvSpPr>
          <p:cNvPr id="3" name="Subtitle 2">
            <a:extLst>
              <a:ext uri="{FF2B5EF4-FFF2-40B4-BE49-F238E27FC236}">
                <a16:creationId xmlns:a16="http://schemas.microsoft.com/office/drawing/2014/main" id="{A21F5EA3-2593-4E05-A3E9-3EF8A7040C0F}"/>
              </a:ext>
            </a:extLst>
          </p:cNvPr>
          <p:cNvSpPr>
            <a:spLocks noGrp="1"/>
          </p:cNvSpPr>
          <p:nvPr>
            <p:ph type="subTitle" idx="1"/>
          </p:nvPr>
        </p:nvSpPr>
        <p:spPr>
          <a:xfrm>
            <a:off x="1524002" y="3602038"/>
            <a:ext cx="9144002" cy="1655762"/>
          </a:xfrm>
        </p:spPr>
        <p:txBody>
          <a:bodyPr/>
          <a:lstStyle>
            <a:lvl1pPr marL="0" indent="0" algn="ctr">
              <a:buNone/>
              <a:defRPr sz="2398"/>
            </a:lvl1pPr>
            <a:lvl2pPr marL="457026" indent="0" algn="ctr">
              <a:buNone/>
              <a:defRPr sz="2000"/>
            </a:lvl2pPr>
            <a:lvl3pPr marL="914053" indent="0" algn="ctr">
              <a:buNone/>
              <a:defRPr sz="1800"/>
            </a:lvl3pPr>
            <a:lvl4pPr marL="1371078" indent="0" algn="ctr">
              <a:buNone/>
              <a:defRPr sz="1599"/>
            </a:lvl4pPr>
            <a:lvl5pPr marL="1828104" indent="0" algn="ctr">
              <a:buNone/>
              <a:defRPr sz="1599"/>
            </a:lvl5pPr>
            <a:lvl6pPr marL="2285128" indent="0" algn="ctr">
              <a:buNone/>
              <a:defRPr sz="1599"/>
            </a:lvl6pPr>
            <a:lvl7pPr marL="2742154" indent="0" algn="ctr">
              <a:buNone/>
              <a:defRPr sz="1599"/>
            </a:lvl7pPr>
            <a:lvl8pPr marL="3199180" indent="0" algn="ctr">
              <a:buNone/>
              <a:defRPr sz="1599"/>
            </a:lvl8pPr>
            <a:lvl9pPr marL="3656207" indent="0" algn="ctr">
              <a:buNone/>
              <a:defRPr sz="1599"/>
            </a:lvl9pPr>
          </a:lstStyle>
          <a:p>
            <a:r>
              <a:rPr lang="en-US"/>
              <a:t>Click to edit Master subtitle style</a:t>
            </a:r>
            <a:endParaRPr lang="de-DE"/>
          </a:p>
        </p:txBody>
      </p:sp>
      <p:sp>
        <p:nvSpPr>
          <p:cNvPr id="4" name="Date Placeholder 3">
            <a:extLst>
              <a:ext uri="{FF2B5EF4-FFF2-40B4-BE49-F238E27FC236}">
                <a16:creationId xmlns:a16="http://schemas.microsoft.com/office/drawing/2014/main" id="{1DBA32B8-7BAB-4400-B47F-558063B4E3F4}"/>
              </a:ext>
            </a:extLst>
          </p:cNvPr>
          <p:cNvSpPr>
            <a:spLocks noGrp="1"/>
          </p:cNvSpPr>
          <p:nvPr>
            <p:ph type="dt" sz="half" idx="10"/>
          </p:nvPr>
        </p:nvSpPr>
        <p:spPr/>
        <p:txBody>
          <a:bodyPr/>
          <a:lstStyle/>
          <a:p>
            <a:fld id="{89453354-4863-41BC-81EA-77A698052C34}" type="datetime5">
              <a:rPr lang="en-US" smtClean="0"/>
              <a:t>6-Oct-21</a:t>
            </a:fld>
            <a:endParaRPr lang="de-DE"/>
          </a:p>
        </p:txBody>
      </p:sp>
      <p:sp>
        <p:nvSpPr>
          <p:cNvPr id="5" name="Footer Placeholder 4">
            <a:extLst>
              <a:ext uri="{FF2B5EF4-FFF2-40B4-BE49-F238E27FC236}">
                <a16:creationId xmlns:a16="http://schemas.microsoft.com/office/drawing/2014/main" id="{D8A57390-034F-4A47-8130-A698A5E84F74}"/>
              </a:ext>
            </a:extLst>
          </p:cNvPr>
          <p:cNvSpPr>
            <a:spLocks noGrp="1"/>
          </p:cNvSpPr>
          <p:nvPr>
            <p:ph type="ftr" sz="quarter" idx="11"/>
          </p:nvPr>
        </p:nvSpPr>
        <p:spPr/>
        <p:txBody>
          <a:bodyPr/>
          <a:lstStyle/>
          <a:p>
            <a:r>
              <a:rPr lang="de-DE"/>
              <a:t>FOOTER / PRESENTATION NAME</a:t>
            </a:r>
          </a:p>
        </p:txBody>
      </p:sp>
      <p:sp>
        <p:nvSpPr>
          <p:cNvPr id="6" name="Slide Number Placeholder 5">
            <a:extLst>
              <a:ext uri="{FF2B5EF4-FFF2-40B4-BE49-F238E27FC236}">
                <a16:creationId xmlns:a16="http://schemas.microsoft.com/office/drawing/2014/main" id="{1DC4BA5A-B542-4D14-B68C-D6224EB3F1B8}"/>
              </a:ext>
            </a:extLst>
          </p:cNvPr>
          <p:cNvSpPr>
            <a:spLocks noGrp="1"/>
          </p:cNvSpPr>
          <p:nvPr>
            <p:ph type="sldNum" sz="quarter" idx="12"/>
          </p:nvPr>
        </p:nvSpPr>
        <p:spPr/>
        <p:txBody>
          <a:bodyPr/>
          <a:lstStyle/>
          <a:p>
            <a:fld id="{0F3D03EC-60AE-401E-8105-B9D459924E6E}" type="slidenum">
              <a:rPr lang="de-DE" smtClean="0"/>
              <a:t>‹#›</a:t>
            </a:fld>
            <a:endParaRPr lang="de-DE"/>
          </a:p>
        </p:txBody>
      </p:sp>
    </p:spTree>
    <p:extLst>
      <p:ext uri="{BB962C8B-B14F-4D97-AF65-F5344CB8AC3E}">
        <p14:creationId xmlns:p14="http://schemas.microsoft.com/office/powerpoint/2010/main" val="36659661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 Text">
    <p:spTree>
      <p:nvGrpSpPr>
        <p:cNvPr id="1" name=""/>
        <p:cNvGrpSpPr/>
        <p:nvPr/>
      </p:nvGrpSpPr>
      <p:grpSpPr>
        <a:xfrm>
          <a:off x="0" y="0"/>
          <a:ext cx="0" cy="0"/>
          <a:chOff x="0" y="0"/>
          <a:chExt cx="0" cy="0"/>
        </a:xfrm>
      </p:grpSpPr>
      <p:sp>
        <p:nvSpPr>
          <p:cNvPr id="16" name="Text Placeholder 15"/>
          <p:cNvSpPr>
            <a:spLocks noGrp="1"/>
          </p:cNvSpPr>
          <p:nvPr>
            <p:ph type="body" sz="quarter" idx="25"/>
          </p:nvPr>
        </p:nvSpPr>
        <p:spPr bwMode="gray">
          <a:xfrm>
            <a:off x="380670" y="1524284"/>
            <a:ext cx="8001469" cy="45714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5F191EB-D249-41BF-9D6B-80504B2736D8}"/>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BAB6CD1F-3B5B-4B59-A9F6-256DD84CEE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C52B199-2206-4D3D-BC84-D1FA2CCF450E}"/>
              </a:ext>
            </a:extLst>
          </p:cNvPr>
          <p:cNvSpPr>
            <a:spLocks noGrp="1"/>
          </p:cNvSpPr>
          <p:nvPr>
            <p:ph type="dt" sz="half" idx="30"/>
          </p:nvPr>
        </p:nvSpPr>
        <p:spPr/>
        <p:txBody>
          <a:bodyPr/>
          <a:lstStyle/>
          <a:p>
            <a:fld id="{B745CEF4-DC7F-401C-857B-C04FBBD5278C}" type="datetime5">
              <a:rPr lang="en-US" smtClean="0"/>
              <a:t>6-Oct-21</a:t>
            </a:fld>
            <a:endParaRPr lang="en-US"/>
          </a:p>
        </p:txBody>
      </p:sp>
      <p:sp>
        <p:nvSpPr>
          <p:cNvPr id="4" name="Footer Placeholder 3">
            <a:extLst>
              <a:ext uri="{FF2B5EF4-FFF2-40B4-BE49-F238E27FC236}">
                <a16:creationId xmlns:a16="http://schemas.microsoft.com/office/drawing/2014/main" id="{54F2F4FF-1657-47A8-8899-25727D9E9201}"/>
              </a:ext>
            </a:extLst>
          </p:cNvPr>
          <p:cNvSpPr>
            <a:spLocks noGrp="1"/>
          </p:cNvSpPr>
          <p:nvPr>
            <p:ph type="ftr" sz="quarter" idx="31"/>
          </p:nvPr>
        </p:nvSpPr>
        <p:spPr/>
        <p:txBody>
          <a:bodyPr/>
          <a:lstStyle/>
          <a:p>
            <a:pPr defTabSz="1218764">
              <a:lnSpc>
                <a:spcPct val="80000"/>
              </a:lnSpc>
            </a:pPr>
            <a:r>
              <a:rPr lang="en-US"/>
              <a:t>FOOTER / PRESENTATION NAME</a:t>
            </a:r>
          </a:p>
        </p:txBody>
      </p:sp>
      <p:sp>
        <p:nvSpPr>
          <p:cNvPr id="9" name="Text Placeholder 15">
            <a:extLst>
              <a:ext uri="{FF2B5EF4-FFF2-40B4-BE49-F238E27FC236}">
                <a16:creationId xmlns:a16="http://schemas.microsoft.com/office/drawing/2014/main" id="{4623F181-7AAA-40D1-941D-32DC32669AF1}"/>
              </a:ext>
            </a:extLst>
          </p:cNvPr>
          <p:cNvSpPr>
            <a:spLocks noGrp="1"/>
          </p:cNvSpPr>
          <p:nvPr>
            <p:ph type="body" sz="quarter" idx="29"/>
          </p:nvPr>
        </p:nvSpPr>
        <p:spPr bwMode="gray">
          <a:xfrm>
            <a:off x="380670" y="784272"/>
            <a:ext cx="10286542"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2383739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4" name="Titel 1"/>
          <p:cNvSpPr>
            <a:spLocks noGrp="1"/>
          </p:cNvSpPr>
          <p:nvPr>
            <p:ph type="title" hasCustomPrompt="1"/>
          </p:nvPr>
        </p:nvSpPr>
        <p:spPr bwMode="gray">
          <a:xfrm>
            <a:off x="423985" y="44530"/>
            <a:ext cx="9394092" cy="575821"/>
          </a:xfrm>
        </p:spPr>
        <p:txBody>
          <a:bodyPr/>
          <a:lstStyle>
            <a:lvl1pPr>
              <a:defRPr/>
            </a:lvl1pPr>
          </a:lstStyle>
          <a:p>
            <a:r>
              <a:rPr lang="de-DE"/>
              <a:t>Kernaussage/Fazit der Folie durch Klicken bearbeiten</a:t>
            </a:r>
          </a:p>
        </p:txBody>
      </p:sp>
      <p:sp>
        <p:nvSpPr>
          <p:cNvPr id="2" name="Fußzeilenplatzhalter 1"/>
          <p:cNvSpPr>
            <a:spLocks noGrp="1"/>
          </p:cNvSpPr>
          <p:nvPr>
            <p:ph type="ftr" sz="quarter" idx="10"/>
          </p:nvPr>
        </p:nvSpPr>
        <p:spPr/>
        <p:txBody>
          <a:bodyPr/>
          <a:lstStyle/>
          <a:p>
            <a:r>
              <a:rPr lang="de-DE"/>
              <a:t>FOOTER / PRESENTATION NAME</a:t>
            </a:r>
          </a:p>
        </p:txBody>
      </p:sp>
      <p:sp>
        <p:nvSpPr>
          <p:cNvPr id="3" name="Foliennummernplatzhalter 2"/>
          <p:cNvSpPr>
            <a:spLocks noGrp="1"/>
          </p:cNvSpPr>
          <p:nvPr>
            <p:ph type="sldNum" sz="quarter" idx="11"/>
          </p:nvPr>
        </p:nvSpPr>
        <p:spPr/>
        <p:txBody>
          <a:bodyPr/>
          <a:lstStyle/>
          <a:p>
            <a:fld id="{369A084B-84B6-4F15-B0F5-CCDC4176846B}" type="slidenum">
              <a:rPr lang="de-DE" smtClean="0"/>
              <a:pPr/>
              <a:t>‹#›</a:t>
            </a:fld>
            <a:endParaRPr lang="de-DE"/>
          </a:p>
        </p:txBody>
      </p:sp>
      <p:sp>
        <p:nvSpPr>
          <p:cNvPr id="5" name="Rectangle 3"/>
          <p:cNvSpPr>
            <a:spLocks noGrp="1"/>
          </p:cNvSpPr>
          <p:nvPr>
            <p:ph type="dt" sz="half" idx="2"/>
          </p:nvPr>
        </p:nvSpPr>
        <p:spPr>
          <a:xfrm>
            <a:off x="423987" y="6584851"/>
            <a:ext cx="744715" cy="216000"/>
          </a:xfrm>
          <a:prstGeom prst="rect">
            <a:avLst/>
          </a:prstGeom>
        </p:spPr>
        <p:txBody>
          <a:bodyPr wrap="none" lIns="0" tIns="0" rIns="0" bIns="0" anchor="ctr"/>
          <a:lstStyle>
            <a:lvl1pPr eaLnBrk="1" latinLnBrk="0" hangingPunct="1">
              <a:defRPr kumimoji="0" lang="de-DE" sz="800">
                <a:solidFill>
                  <a:schemeClr val="tx2"/>
                </a:solidFill>
              </a:defRPr>
            </a:lvl1pPr>
            <a:extLst/>
          </a:lstStyle>
          <a:p>
            <a:fld id="{C4A02693-E573-4E22-BD30-FC531A45E472}" type="datetime5">
              <a:rPr lang="en-US" smtClean="0"/>
              <a:t>6-Oct-21</a:t>
            </a:fld>
            <a:endParaRPr lang="de-DE"/>
          </a:p>
        </p:txBody>
      </p:sp>
    </p:spTree>
    <p:extLst>
      <p:ext uri="{BB962C8B-B14F-4D97-AF65-F5344CB8AC3E}">
        <p14:creationId xmlns:p14="http://schemas.microsoft.com/office/powerpoint/2010/main" val="134312633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678733" anchor="ctr" anchorCtr="0"/>
          <a:lstStyle>
            <a:lvl1pPr algn="ctr">
              <a:lnSpc>
                <a:spcPct val="100000"/>
              </a:lnSpc>
              <a:spcAft>
                <a:spcPts val="0"/>
              </a:spcAft>
              <a:defRPr sz="1344">
                <a:solidFill>
                  <a:schemeClr val="bg2"/>
                </a:solidFill>
              </a:defRPr>
            </a:lvl1pPr>
          </a:lstStyle>
          <a:p>
            <a:pPr lvl="0"/>
            <a:r>
              <a:rPr lang="en-US" noProof="0"/>
              <a:t>Click icon to add picture</a:t>
            </a:r>
          </a:p>
        </p:txBody>
      </p:sp>
      <p:sp>
        <p:nvSpPr>
          <p:cNvPr id="9"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a:t>Click to edit Master subtitle style</a:t>
            </a:r>
          </a:p>
        </p:txBody>
      </p:sp>
      <p:sp>
        <p:nvSpPr>
          <p:cNvPr id="2" name="Title 1"/>
          <p:cNvSpPr>
            <a:spLocks noGrp="1"/>
          </p:cNvSpPr>
          <p:nvPr>
            <p:ph type="title" hasCustomPrompt="1"/>
          </p:nvPr>
        </p:nvSpPr>
        <p:spPr>
          <a:xfrm>
            <a:off x="1142542" y="2286174"/>
            <a:ext cx="6477197" cy="2444863"/>
          </a:xfrm>
        </p:spPr>
        <p:txBody>
          <a:bodyPr tIns="0" anchor="b"/>
          <a:lstStyle>
            <a:lvl1pPr>
              <a:lnSpc>
                <a:spcPct val="70000"/>
              </a:lnSpc>
              <a:defRPr sz="6349" b="0" i="0">
                <a:solidFill>
                  <a:schemeClr val="tx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FF528410-BD7D-4DA4-A4DB-6CD69809D8D5}" type="datetime5">
              <a:rPr lang="en-US" smtClean="0"/>
              <a:t>6-Oct-21</a:t>
            </a:fld>
            <a:endParaRPr lang="en-US"/>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11"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152946212"/>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Badge of Sport">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a:t>Global Template</a:t>
            </a:r>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
        <p:nvSpPr>
          <p:cNvPr id="10" name="Date Placeholder 2"/>
          <p:cNvSpPr>
            <a:spLocks noGrp="1"/>
          </p:cNvSpPr>
          <p:nvPr>
            <p:ph type="dt" sz="half" idx="15"/>
          </p:nvPr>
        </p:nvSpPr>
        <p:spPr>
          <a:xfrm>
            <a:off x="10287794" y="6951653"/>
            <a:ext cx="1143218" cy="379993"/>
          </a:xfrm>
        </p:spPr>
        <p:txBody>
          <a:bodyPr/>
          <a:lstStyle/>
          <a:p>
            <a:pPr>
              <a:defRPr/>
            </a:pPr>
            <a:fld id="{CE0E0D48-761D-4A8F-A168-F3653C89D312}" type="datetime5">
              <a:rPr lang="en-US" smtClean="0"/>
              <a:t>6-Oct-21</a:t>
            </a:fld>
            <a:endParaRPr lang="en-US"/>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06094712"/>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1E82C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F7D8908C-6178-4BFA-A4FC-0B4966C48038}" type="datetime5">
              <a:rPr lang="en-US" smtClean="0"/>
              <a:t>6-Oct-21</a:t>
            </a:fld>
            <a:endParaRPr lang="en-US"/>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Tree>
    <p:extLst>
      <p:ext uri="{BB962C8B-B14F-4D97-AF65-F5344CB8AC3E}">
        <p14:creationId xmlns:p14="http://schemas.microsoft.com/office/powerpoint/2010/main" val="3320849224"/>
      </p:ext>
    </p:extLst>
  </p:cSld>
  <p:clrMapOvr>
    <a:masterClrMapping/>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Y-3">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F3932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7370EE92-F285-40B0-9B45-A2E706242701}" type="datetime5">
              <a:rPr lang="en-US" smtClean="0"/>
              <a:t>6-Oct-21</a:t>
            </a:fld>
            <a:endParaRPr lang="en-US"/>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Tree>
    <p:extLst>
      <p:ext uri="{BB962C8B-B14F-4D97-AF65-F5344CB8AC3E}">
        <p14:creationId xmlns:p14="http://schemas.microsoft.com/office/powerpoint/2010/main" val="4119484226"/>
      </p:ext>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Stella">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D27C4CF3-134E-4159-BB3B-EC018561BFE3}" type="datetime5">
              <a:rPr lang="en-US" smtClean="0"/>
              <a:t>6-Oct-21</a:t>
            </a:fld>
            <a:endParaRPr lang="en-US"/>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p>
        </p:txBody>
      </p:sp>
    </p:spTree>
    <p:extLst>
      <p:ext uri="{BB962C8B-B14F-4D97-AF65-F5344CB8AC3E}">
        <p14:creationId xmlns:p14="http://schemas.microsoft.com/office/powerpoint/2010/main" val="4284624608"/>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1"/>
            <a:ext cx="12192000" cy="6858000"/>
          </a:xfrm>
          <a:solidFill>
            <a:schemeClr val="bg2"/>
          </a:solidFill>
        </p:spPr>
        <p:txBody>
          <a:bodyPr anchor="ctr"/>
          <a:lstStyle>
            <a:lvl1pPr algn="ctr">
              <a:defRPr>
                <a:solidFill>
                  <a:schemeClr val="bg1"/>
                </a:solidFill>
              </a:defRPr>
            </a:lvl1pPr>
          </a:lstStyle>
          <a:p>
            <a:r>
              <a:rPr lang="en-US" noProof="0"/>
              <a:t>Click icon to add picture</a:t>
            </a:r>
          </a:p>
        </p:txBody>
      </p:sp>
      <p:sp>
        <p:nvSpPr>
          <p:cNvPr id="2" name="Title 1"/>
          <p:cNvSpPr>
            <a:spLocks noGrp="1"/>
          </p:cNvSpPr>
          <p:nvPr>
            <p:ph type="ctrTitle" hasCustomPrompt="1"/>
          </p:nvPr>
        </p:nvSpPr>
        <p:spPr bwMode="gray">
          <a:xfrm>
            <a:off x="1142062" y="1143048"/>
            <a:ext cx="5335134" cy="1143653"/>
          </a:xfrm>
        </p:spPr>
        <p:txBody>
          <a:bodyPr lIns="0" anchor="t"/>
          <a:lstStyle>
            <a:lvl1pPr algn="l">
              <a:lnSpc>
                <a:spcPct val="100000"/>
              </a:lnSpc>
              <a:defRPr sz="5291" b="0" i="0" cap="all" spc="0" baseline="0">
                <a:solidFill>
                  <a:schemeClr val="bg1"/>
                </a:solidFill>
                <a:latin typeface="adineue TEXT Black" panose="020B0A03020201060004" pitchFamily="34" charset="0"/>
              </a:defRPr>
            </a:lvl1pPr>
          </a:lstStyle>
          <a:p>
            <a:r>
              <a:rPr lang="en-US" noProof="0"/>
              <a:t>Content</a:t>
            </a:r>
          </a:p>
        </p:txBody>
      </p:sp>
      <p:sp>
        <p:nvSpPr>
          <p:cNvPr id="6" name="Text Placeholder 5"/>
          <p:cNvSpPr>
            <a:spLocks noGrp="1"/>
          </p:cNvSpPr>
          <p:nvPr>
            <p:ph type="body" sz="quarter" idx="10" hasCustomPrompt="1"/>
          </p:nvPr>
        </p:nvSpPr>
        <p:spPr bwMode="gray">
          <a:xfrm>
            <a:off x="2667579" y="2667015"/>
            <a:ext cx="6476999" cy="3428752"/>
          </a:xfrm>
        </p:spPr>
        <p:txBody>
          <a:bodyPr anchor="t" anchorCtr="0"/>
          <a:lstStyle>
            <a:lvl1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defRPr>
            </a:lvl1pPr>
            <a:lvl2pPr marL="0" indent="0" algn="l">
              <a:lnSpc>
                <a:spcPct val="80000"/>
              </a:lnSpc>
              <a:spcBef>
                <a:spcPts val="0"/>
              </a:spcBef>
              <a:spcAft>
                <a:spcPts val="1323"/>
              </a:spcAft>
              <a:buClrTx/>
              <a:buSzPct val="90000"/>
              <a:buFont typeface="+mj-lt"/>
              <a:buNone/>
              <a:defRPr sz="1587" b="0" i="0" cap="all" baseline="0">
                <a:solidFill>
                  <a:schemeClr val="bg1"/>
                </a:solidFill>
                <a:latin typeface="+mn-lt"/>
                <a:cs typeface="AdihausDIN" panose="020B0504020101020102" pitchFamily="34" charset="0"/>
              </a:defRPr>
            </a:lvl2pPr>
            <a:lvl3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3pPr>
            <a:lvl4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4pPr>
            <a:lvl5pPr marL="380938" indent="-380938" algn="l">
              <a:lnSpc>
                <a:spcPct val="80000"/>
              </a:lnSpc>
              <a:spcBef>
                <a:spcPts val="0"/>
              </a:spcBef>
              <a:spcAft>
                <a:spcPts val="1323"/>
              </a:spcAft>
              <a:buClrTx/>
              <a:buSzPct val="90000"/>
              <a:defRPr sz="1587" b="0" i="0" cap="all" baseline="0">
                <a:solidFill>
                  <a:schemeClr val="bg1"/>
                </a:solidFill>
                <a:latin typeface="+mn-lt"/>
                <a:cs typeface="AdihausDIN" panose="020B0504020101020102" pitchFamily="34" charset="0"/>
              </a:defRPr>
            </a:lvl5pPr>
            <a:lvl6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6pPr>
            <a:lvl7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7pPr>
            <a:lvl8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8pPr>
            <a:lvl9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9pPr>
          </a:lstStyle>
          <a:p>
            <a:pPr lvl="0"/>
            <a:r>
              <a:rPr lang="en-US" noProof="0"/>
              <a:t>ADD AN AGENDA POINT HERE</a:t>
            </a:r>
          </a:p>
        </p:txBody>
      </p:sp>
      <p:sp>
        <p:nvSpPr>
          <p:cNvPr id="8" name="Date Placeholder 2"/>
          <p:cNvSpPr>
            <a:spLocks noGrp="1"/>
          </p:cNvSpPr>
          <p:nvPr>
            <p:ph type="dt" sz="half" idx="15"/>
          </p:nvPr>
        </p:nvSpPr>
        <p:spPr>
          <a:xfrm>
            <a:off x="10287794" y="6951653"/>
            <a:ext cx="1143218" cy="379993"/>
          </a:xfrm>
        </p:spPr>
        <p:txBody>
          <a:bodyPr/>
          <a:lstStyle/>
          <a:p>
            <a:pPr>
              <a:defRPr/>
            </a:pPr>
            <a:fld id="{11577448-73CB-4270-9370-4E84335D2557}" type="datetime5">
              <a:rPr lang="en-US" smtClean="0"/>
              <a:t>6-Oct-21</a:t>
            </a:fld>
            <a:endParaRPr lang="en-US"/>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907163142"/>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 Focus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0294" y="762235"/>
            <a:ext cx="10669312" cy="5333533"/>
          </a:xfrm>
          <a:custGeom>
            <a:avLst/>
            <a:gdLst/>
            <a:ahLst/>
            <a:cxnLst/>
            <a:rect l="l" t="t" r="r" b="b"/>
            <a:pathLst>
              <a:path w="8064500" h="4032119">
                <a:moveTo>
                  <a:pt x="0" y="0"/>
                </a:moveTo>
                <a:lnTo>
                  <a:pt x="8064500" y="0"/>
                </a:lnTo>
                <a:lnTo>
                  <a:pt x="8064500" y="4032119"/>
                </a:lnTo>
                <a:lnTo>
                  <a:pt x="0" y="4032119"/>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p>
        </p:txBody>
      </p:sp>
      <p:sp>
        <p:nvSpPr>
          <p:cNvPr id="3" name="Titel 2"/>
          <p:cNvSpPr>
            <a:spLocks noGrp="1"/>
          </p:cNvSpPr>
          <p:nvPr>
            <p:ph type="title" hasCustomPrompt="1"/>
          </p:nvPr>
        </p:nvSpPr>
        <p:spPr bwMode="gray">
          <a:xfrm>
            <a:off x="2285082" y="3048933"/>
            <a:ext cx="7619736" cy="1904533"/>
          </a:xfrm>
        </p:spPr>
        <p:txBody>
          <a:bodyPr/>
          <a:lstStyle>
            <a:lvl1pPr algn="ctr">
              <a:defRPr sz="4233" b="0" i="0">
                <a:solidFill>
                  <a:schemeClr val="bg1"/>
                </a:solidFill>
                <a:latin typeface="adineue TEXT Black" panose="020B0A03020201060004" pitchFamily="34" charset="0"/>
              </a:defRPr>
            </a:lvl1pPr>
          </a:lstStyle>
          <a:p>
            <a:r>
              <a:rPr lang="en-US"/>
              <a:t>Click to edit Master </a:t>
            </a:r>
            <a:br>
              <a:rPr lang="en-US"/>
            </a:br>
            <a:r>
              <a:rPr lang="en-US"/>
              <a:t>title style</a:t>
            </a:r>
            <a:endParaRPr lang="de-DE"/>
          </a:p>
        </p:txBody>
      </p:sp>
      <p:sp>
        <p:nvSpPr>
          <p:cNvPr id="4"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
        <p:nvSpPr>
          <p:cNvPr id="8" name="Date Placeholder 2"/>
          <p:cNvSpPr>
            <a:spLocks noGrp="1"/>
          </p:cNvSpPr>
          <p:nvPr>
            <p:ph type="dt" sz="half" idx="15"/>
          </p:nvPr>
        </p:nvSpPr>
        <p:spPr>
          <a:xfrm>
            <a:off x="10287794" y="6951653"/>
            <a:ext cx="1143218" cy="379993"/>
          </a:xfrm>
        </p:spPr>
        <p:txBody>
          <a:bodyPr/>
          <a:lstStyle/>
          <a:p>
            <a:pPr>
              <a:defRPr/>
            </a:pPr>
            <a:fld id="{876C3B50-DCAF-47E7-842B-7F76FA313048}" type="datetime5">
              <a:rPr lang="en-US" smtClean="0"/>
              <a:t>6-Oct-21</a:t>
            </a:fld>
            <a:endParaRPr lang="en-US"/>
          </a:p>
        </p:txBody>
      </p:sp>
      <p:sp>
        <p:nvSpPr>
          <p:cNvPr id="9"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11"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529883839"/>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Messeging / Highlight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39201" y="139158"/>
            <a:ext cx="11913600" cy="6579685"/>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p>
        </p:txBody>
      </p:sp>
      <p:sp>
        <p:nvSpPr>
          <p:cNvPr id="3" name="Titel 2"/>
          <p:cNvSpPr>
            <a:spLocks noGrp="1"/>
          </p:cNvSpPr>
          <p:nvPr>
            <p:ph type="title" hasCustomPrompt="1"/>
          </p:nvPr>
        </p:nvSpPr>
        <p:spPr bwMode="gray">
          <a:xfrm>
            <a:off x="2285082" y="3048933"/>
            <a:ext cx="7619736" cy="2251003"/>
          </a:xfrm>
        </p:spPr>
        <p:txBody>
          <a:bodyPr/>
          <a:lstStyle>
            <a:lvl1pPr algn="ctr">
              <a:defRPr sz="4233" b="0" i="0">
                <a:solidFill>
                  <a:schemeClr val="bg1"/>
                </a:solidFill>
                <a:latin typeface="adineue TEXT Black" panose="020B0A03020201060004" pitchFamily="34" charset="0"/>
              </a:defRPr>
            </a:lvl1pPr>
          </a:lstStyle>
          <a:p>
            <a:r>
              <a:rPr lang="en-US"/>
              <a:t>Click to edit Master </a:t>
            </a:r>
            <a:br>
              <a:rPr lang="en-US"/>
            </a:br>
            <a:r>
              <a:rPr lang="en-US"/>
              <a:t>title style</a:t>
            </a:r>
            <a:endParaRPr lang="de-DE"/>
          </a:p>
        </p:txBody>
      </p:sp>
      <p:sp>
        <p:nvSpPr>
          <p:cNvPr id="8"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
        <p:nvSpPr>
          <p:cNvPr id="9" name="Date Placeholder 2"/>
          <p:cNvSpPr>
            <a:spLocks noGrp="1"/>
          </p:cNvSpPr>
          <p:nvPr>
            <p:ph type="dt" sz="half" idx="15"/>
          </p:nvPr>
        </p:nvSpPr>
        <p:spPr>
          <a:xfrm>
            <a:off x="10287794" y="6951653"/>
            <a:ext cx="1143218" cy="379993"/>
          </a:xfrm>
        </p:spPr>
        <p:txBody>
          <a:bodyPr/>
          <a:lstStyle/>
          <a:p>
            <a:pPr>
              <a:defRPr/>
            </a:pPr>
            <a:fld id="{8B69C6BC-42F9-46C3-8180-C75DA4FB1FA6}" type="datetime5">
              <a:rPr lang="en-US" smtClean="0"/>
              <a:t>6-Oct-21</a:t>
            </a:fld>
            <a:endParaRPr lang="en-US"/>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a:t>FOOTER / PRESENTATION NAME</a:t>
            </a:r>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425242556"/>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148" y="382168"/>
            <a:ext cx="6477896" cy="760132"/>
          </a:xfrm>
        </p:spPr>
        <p:txBody>
          <a:bodyPr/>
          <a:lstStyle>
            <a:lvl1pPr>
              <a:defRPr b="0"/>
            </a:lvl1pPr>
          </a:lstStyle>
          <a:p>
            <a:r>
              <a:rPr lang="en-US" noProof="0"/>
              <a:t>Click to edit Master title style</a:t>
            </a:r>
          </a:p>
        </p:txBody>
      </p:sp>
      <p:sp>
        <p:nvSpPr>
          <p:cNvPr id="10" name="Date Placeholder 9"/>
          <p:cNvSpPr>
            <a:spLocks noGrp="1"/>
          </p:cNvSpPr>
          <p:nvPr>
            <p:ph type="dt" sz="half" idx="15"/>
          </p:nvPr>
        </p:nvSpPr>
        <p:spPr/>
        <p:txBody>
          <a:bodyPr/>
          <a:lstStyle/>
          <a:p>
            <a:pPr>
              <a:defRPr/>
            </a:pPr>
            <a:fld id="{562986B7-ADB4-49EC-89D7-242420DDAAE1}" type="datetime5">
              <a:rPr lang="en-US" smtClean="0"/>
              <a:t>6-Oct-21</a:t>
            </a:fld>
            <a:endParaRPr lang="en-US"/>
          </a:p>
        </p:txBody>
      </p:sp>
      <p:sp>
        <p:nvSpPr>
          <p:cNvPr id="11" name="Footer Placeholder 10"/>
          <p:cNvSpPr>
            <a:spLocks noGrp="1"/>
          </p:cNvSpPr>
          <p:nvPr>
            <p:ph type="ftr" sz="quarter" idx="16"/>
          </p:nvPr>
        </p:nvSpPr>
        <p:spPr/>
        <p:txBody>
          <a:bodyPr/>
          <a:lstStyle/>
          <a:p>
            <a:pPr>
              <a:defRPr/>
            </a:pPr>
            <a:r>
              <a:rPr lang="en-US"/>
              <a:t>FOOTER / PRESENTATION NAME</a:t>
            </a:r>
          </a:p>
        </p:txBody>
      </p:sp>
      <p:sp>
        <p:nvSpPr>
          <p:cNvPr id="12" name="Slide Number Placeholder 11"/>
          <p:cNvSpPr>
            <a:spLocks noGrp="1"/>
          </p:cNvSpPr>
          <p:nvPr>
            <p:ph type="sldNum" sz="quarter" idx="17"/>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66767274"/>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477066" y="381455"/>
            <a:ext cx="5334787" cy="5334245"/>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endParaRPr lang="en-US" noProof="0" dirty="0"/>
          </a:p>
        </p:txBody>
      </p:sp>
      <p:sp>
        <p:nvSpPr>
          <p:cNvPr id="9" name="Slide Number Placeholder 8">
            <a:extLst>
              <a:ext uri="{FF2B5EF4-FFF2-40B4-BE49-F238E27FC236}">
                <a16:creationId xmlns:a16="http://schemas.microsoft.com/office/drawing/2014/main" id="{C24B1C9A-788D-4CFC-8317-79E132313D1E}"/>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5E2AB8A2-7F4C-4516-94E4-39422487270F}"/>
              </a:ext>
            </a:extLst>
          </p:cNvPr>
          <p:cNvSpPr>
            <a:spLocks noGrp="1"/>
          </p:cNvSpPr>
          <p:nvPr>
            <p:ph type="body" sz="quarter" idx="18"/>
          </p:nvPr>
        </p:nvSpPr>
        <p:spPr bwMode="gray">
          <a:xfrm>
            <a:off x="1142148" y="3809067"/>
            <a:ext cx="3048394"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itle 19">
            <a:extLst>
              <a:ext uri="{FF2B5EF4-FFF2-40B4-BE49-F238E27FC236}">
                <a16:creationId xmlns:a16="http://schemas.microsoft.com/office/drawing/2014/main" id="{BC338D8D-474C-4D54-9AD6-37E614127D97}"/>
              </a:ext>
            </a:extLst>
          </p:cNvPr>
          <p:cNvSpPr>
            <a:spLocks noGrp="1"/>
          </p:cNvSpPr>
          <p:nvPr>
            <p:ph type="title" hasCustomPrompt="1"/>
          </p:nvPr>
        </p:nvSpPr>
        <p:spPr bwMode="gray">
          <a:xfrm>
            <a:off x="1142149" y="381455"/>
            <a:ext cx="4572786" cy="3427612"/>
          </a:xfrm>
        </p:spPr>
        <p:txBody>
          <a:bodyPr bIns="144000" anchor="b"/>
          <a:lstStyle>
            <a:lvl1pPr>
              <a:lnSpc>
                <a:spcPct val="75000"/>
              </a:lnSpc>
              <a:defRPr sz="6349" baseline="0"/>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dirty="0"/>
              <a:t>Big long Key Message over four lines </a:t>
            </a:r>
            <a:br>
              <a:rPr lang="en-US" dirty="0"/>
            </a:br>
            <a:r>
              <a:rPr lang="en-US" dirty="0"/>
              <a:t>or less.</a:t>
            </a:r>
            <a:endParaRPr lang="en-US"/>
          </a:p>
        </p:txBody>
      </p:sp>
      <p:sp>
        <p:nvSpPr>
          <p:cNvPr id="2" name="Date Placeholder 1">
            <a:extLst>
              <a:ext uri="{FF2B5EF4-FFF2-40B4-BE49-F238E27FC236}">
                <a16:creationId xmlns:a16="http://schemas.microsoft.com/office/drawing/2014/main" id="{0DC3981A-8D56-4030-B542-A89800A108E4}"/>
              </a:ext>
            </a:extLst>
          </p:cNvPr>
          <p:cNvSpPr>
            <a:spLocks noGrp="1"/>
          </p:cNvSpPr>
          <p:nvPr>
            <p:ph type="dt" sz="half" idx="19"/>
          </p:nvPr>
        </p:nvSpPr>
        <p:spPr/>
        <p:txBody>
          <a:bodyPr/>
          <a:lstStyle/>
          <a:p>
            <a:fld id="{A85B9875-0AAA-47C8-AE37-535700C04420}" type="datetime5">
              <a:rPr lang="en-US" smtClean="0"/>
              <a:t>6-Oct-21</a:t>
            </a:fld>
            <a:endParaRPr lang="en-US" dirty="0"/>
          </a:p>
        </p:txBody>
      </p:sp>
      <p:sp>
        <p:nvSpPr>
          <p:cNvPr id="3" name="Footer Placeholder 2">
            <a:extLst>
              <a:ext uri="{FF2B5EF4-FFF2-40B4-BE49-F238E27FC236}">
                <a16:creationId xmlns:a16="http://schemas.microsoft.com/office/drawing/2014/main" id="{731C44BC-0E99-4375-A74B-9998BD9CD45B}"/>
              </a:ext>
            </a:extLst>
          </p:cNvPr>
          <p:cNvSpPr>
            <a:spLocks noGrp="1"/>
          </p:cNvSpPr>
          <p:nvPr>
            <p:ph type="ftr" sz="quarter" idx="20"/>
          </p:nvPr>
        </p:nvSpPr>
        <p:spPr/>
        <p:txBody>
          <a:bodyPr/>
          <a:lstStyle/>
          <a:p>
            <a:pPr defTabSz="1218764">
              <a:lnSpc>
                <a:spcPct val="80000"/>
              </a:lnSpc>
            </a:pPr>
            <a:r>
              <a:rPr lang="en-US"/>
              <a:t>FOOTER / PRESENTATION NAME</a:t>
            </a:r>
            <a:endParaRPr lang="en-US" dirty="0"/>
          </a:p>
        </p:txBody>
      </p:sp>
    </p:spTree>
    <p:extLst>
      <p:ext uri="{BB962C8B-B14F-4D97-AF65-F5344CB8AC3E}">
        <p14:creationId xmlns:p14="http://schemas.microsoft.com/office/powerpoint/2010/main" val="199917670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b="0">
                <a:solidFill>
                  <a:schemeClr val="tx1"/>
                </a:solidFill>
              </a:defRPr>
            </a:lvl1pPr>
          </a:lstStyle>
          <a:p>
            <a:r>
              <a:rPr lang="en-US" noProof="0"/>
              <a:t>Click to edit Master title style</a:t>
            </a:r>
          </a:p>
        </p:txBody>
      </p:sp>
      <p:sp>
        <p:nvSpPr>
          <p:cNvPr id="3" name="Date Placeholder 2"/>
          <p:cNvSpPr>
            <a:spLocks noGrp="1"/>
          </p:cNvSpPr>
          <p:nvPr>
            <p:ph type="dt" sz="half" idx="22"/>
          </p:nvPr>
        </p:nvSpPr>
        <p:spPr/>
        <p:txBody>
          <a:bodyPr/>
          <a:lstStyle/>
          <a:p>
            <a:pPr>
              <a:defRPr/>
            </a:pPr>
            <a:fld id="{E08D8F8F-F201-4591-89A9-43432191E571}" type="datetime5">
              <a:rPr lang="en-US" smtClean="0"/>
              <a:t>6-Oct-21</a:t>
            </a:fld>
            <a:endParaRPr lang="en-US"/>
          </a:p>
        </p:txBody>
      </p:sp>
      <p:sp>
        <p:nvSpPr>
          <p:cNvPr id="13" name="Footer Placeholder 12"/>
          <p:cNvSpPr>
            <a:spLocks noGrp="1"/>
          </p:cNvSpPr>
          <p:nvPr>
            <p:ph type="ftr" sz="quarter" idx="23"/>
          </p:nvPr>
        </p:nvSpPr>
        <p:spPr/>
        <p:txBody>
          <a:bodyPr/>
          <a:lstStyle/>
          <a:p>
            <a:pPr>
              <a:defRPr/>
            </a:pPr>
            <a:r>
              <a:rPr lang="en-US"/>
              <a:t>FOOTER / PRESENTATION NAME</a:t>
            </a:r>
          </a:p>
        </p:txBody>
      </p:sp>
      <p:sp>
        <p:nvSpPr>
          <p:cNvPr id="14" name="Slide Number Placeholder 13"/>
          <p:cNvSpPr>
            <a:spLocks noGrp="1"/>
          </p:cNvSpPr>
          <p:nvPr>
            <p:ph type="sldNum" sz="quarter" idx="24"/>
          </p:nvPr>
        </p:nvSpPr>
        <p:spPr/>
        <p:txBody>
          <a:bodyPr/>
          <a:lstStyle/>
          <a:p>
            <a:pPr>
              <a:defRPr/>
            </a:pPr>
            <a:fld id="{66C8B3C2-955F-42B1-8DED-EE47D723596C}" type="slidenum">
              <a:rPr lang="en-US" smtClean="0"/>
              <a:pPr>
                <a:defRPr/>
              </a:pPr>
              <a:t>‹#›</a:t>
            </a:fld>
            <a:endParaRPr lang="en-US"/>
          </a:p>
        </p:txBody>
      </p:sp>
      <p:sp>
        <p:nvSpPr>
          <p:cNvPr id="16" name="Text Placeholder 15"/>
          <p:cNvSpPr>
            <a:spLocks noGrp="1"/>
          </p:cNvSpPr>
          <p:nvPr>
            <p:ph type="body" sz="quarter" idx="25"/>
          </p:nvPr>
        </p:nvSpPr>
        <p:spPr>
          <a:xfrm>
            <a:off x="760293" y="1524466"/>
            <a:ext cx="9906919" cy="4571301"/>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5704600"/>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19738" y="1"/>
            <a:ext cx="4572263"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el 1"/>
          <p:cNvSpPr>
            <a:spLocks noGrp="1"/>
          </p:cNvSpPr>
          <p:nvPr>
            <p:ph type="title"/>
          </p:nvPr>
        </p:nvSpPr>
        <p:spPr bwMode="gray">
          <a:xfrm>
            <a:off x="380672" y="382168"/>
            <a:ext cx="6477373" cy="761182"/>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Text Placeholder 3"/>
          <p:cNvSpPr>
            <a:spLocks noGrp="1"/>
          </p:cNvSpPr>
          <p:nvPr>
            <p:ph type="body" sz="quarter" idx="18"/>
          </p:nvPr>
        </p:nvSpPr>
        <p:spPr>
          <a:xfrm>
            <a:off x="760293" y="1524466"/>
            <a:ext cx="6097050" cy="4571477"/>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3"/>
          </p:nvPr>
        </p:nvSpPr>
        <p:spPr/>
        <p:txBody>
          <a:bodyPr/>
          <a:lstStyle/>
          <a:p>
            <a:pPr>
              <a:defRPr/>
            </a:pPr>
            <a:fld id="{A5B657D9-AF66-4FA5-94A0-1A8A086E58AB}" type="datetime5">
              <a:rPr lang="en-US" smtClean="0"/>
              <a:t>6-Oct-21</a:t>
            </a:fld>
            <a:endParaRPr lang="en-US"/>
          </a:p>
        </p:txBody>
      </p:sp>
      <p:sp>
        <p:nvSpPr>
          <p:cNvPr id="6" name="Footer Placeholder 5"/>
          <p:cNvSpPr>
            <a:spLocks noGrp="1"/>
          </p:cNvSpPr>
          <p:nvPr>
            <p:ph type="ftr" sz="quarter" idx="24"/>
          </p:nvPr>
        </p:nvSpPr>
        <p:spPr/>
        <p:txBody>
          <a:bodyPr/>
          <a:lstStyle/>
          <a:p>
            <a:pPr>
              <a:defRPr/>
            </a:pPr>
            <a:r>
              <a:rPr lang="en-US"/>
              <a:t>FOOTER / PRESENTATION NAME</a:t>
            </a:r>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274613779"/>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334656" y="1"/>
            <a:ext cx="6857344"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3" name="Titel 2"/>
          <p:cNvSpPr>
            <a:spLocks noGrp="1"/>
          </p:cNvSpPr>
          <p:nvPr>
            <p:ph type="title"/>
          </p:nvPr>
        </p:nvSpPr>
        <p:spPr bwMode="gray">
          <a:xfrm>
            <a:off x="380673" y="382168"/>
            <a:ext cx="4572263" cy="761182"/>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Text Placeholder 3"/>
          <p:cNvSpPr>
            <a:spLocks noGrp="1"/>
          </p:cNvSpPr>
          <p:nvPr>
            <p:ph type="body" sz="quarter" idx="18"/>
          </p:nvPr>
        </p:nvSpPr>
        <p:spPr>
          <a:xfrm>
            <a:off x="760293" y="1524466"/>
            <a:ext cx="4192116" cy="4571301"/>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3"/>
          </p:nvPr>
        </p:nvSpPr>
        <p:spPr/>
        <p:txBody>
          <a:bodyPr/>
          <a:lstStyle/>
          <a:p>
            <a:pPr>
              <a:defRPr/>
            </a:pPr>
            <a:fld id="{B47812B2-A8AE-4AEA-A747-B5A02CD40611}" type="datetime5">
              <a:rPr lang="en-US" smtClean="0"/>
              <a:t>6-Oct-21</a:t>
            </a:fld>
            <a:endParaRPr lang="en-US"/>
          </a:p>
        </p:txBody>
      </p:sp>
      <p:sp>
        <p:nvSpPr>
          <p:cNvPr id="6" name="Footer Placeholder 5"/>
          <p:cNvSpPr>
            <a:spLocks noGrp="1"/>
          </p:cNvSpPr>
          <p:nvPr>
            <p:ph type="ftr" sz="quarter" idx="24"/>
          </p:nvPr>
        </p:nvSpPr>
        <p:spPr/>
        <p:txBody>
          <a:bodyPr/>
          <a:lstStyle/>
          <a:p>
            <a:pPr>
              <a:defRPr/>
            </a:pPr>
            <a:r>
              <a:rPr lang="en-US"/>
              <a:t>FOOTER / PRESENTATION NAME</a:t>
            </a:r>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28921207"/>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477197" y="1"/>
            <a:ext cx="571480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Picture Placeholder 3"/>
          <p:cNvSpPr>
            <a:spLocks noGrp="1"/>
          </p:cNvSpPr>
          <p:nvPr>
            <p:ph type="pic" sz="quarter" idx="18"/>
          </p:nvPr>
        </p:nvSpPr>
        <p:spPr>
          <a:xfrm>
            <a:off x="5714978" y="1143349"/>
            <a:ext cx="4952234" cy="45723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2" name="Text Placeholder 11"/>
          <p:cNvSpPr>
            <a:spLocks noGrp="1"/>
          </p:cNvSpPr>
          <p:nvPr>
            <p:ph type="body" sz="quarter" idx="19"/>
          </p:nvPr>
        </p:nvSpPr>
        <p:spPr>
          <a:xfrm>
            <a:off x="760293" y="1524467"/>
            <a:ext cx="4192116"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4"/>
          </p:nvPr>
        </p:nvSpPr>
        <p:spPr/>
        <p:txBody>
          <a:bodyPr/>
          <a:lstStyle/>
          <a:p>
            <a:pPr>
              <a:defRPr/>
            </a:pPr>
            <a:fld id="{7CB14E7B-17CB-4C72-95B3-A402022F472B}" type="datetime5">
              <a:rPr lang="en-US" smtClean="0"/>
              <a:t>6-Oct-21</a:t>
            </a:fld>
            <a:endParaRPr lang="en-US"/>
          </a:p>
        </p:txBody>
      </p:sp>
      <p:sp>
        <p:nvSpPr>
          <p:cNvPr id="6" name="Footer Placeholder 5"/>
          <p:cNvSpPr>
            <a:spLocks noGrp="1"/>
          </p:cNvSpPr>
          <p:nvPr>
            <p:ph type="ftr" sz="quarter" idx="25"/>
          </p:nvPr>
        </p:nvSpPr>
        <p:spPr/>
        <p:txBody>
          <a:bodyPr/>
          <a:lstStyle/>
          <a:p>
            <a:pPr>
              <a:defRPr/>
            </a:pPr>
            <a:r>
              <a:rPr lang="en-US"/>
              <a:t>FOOTER / PRESENTATION NAME</a:t>
            </a:r>
          </a:p>
        </p:txBody>
      </p:sp>
      <p:sp>
        <p:nvSpPr>
          <p:cNvPr id="7" name="Slide Number Placeholder 6"/>
          <p:cNvSpPr>
            <a:spLocks noGrp="1"/>
          </p:cNvSpPr>
          <p:nvPr>
            <p:ph type="sldNum" sz="quarter" idx="26"/>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951319564"/>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Text + Image (2)">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4" name="Picture Placeholder 3"/>
          <p:cNvSpPr>
            <a:spLocks noGrp="1"/>
          </p:cNvSpPr>
          <p:nvPr>
            <p:ph type="pic" sz="quarter" idx="18"/>
          </p:nvPr>
        </p:nvSpPr>
        <p:spPr>
          <a:xfrm>
            <a:off x="6857344" y="525"/>
            <a:ext cx="5334655" cy="3428477"/>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2" name="Text Placeholder 11"/>
          <p:cNvSpPr>
            <a:spLocks noGrp="1"/>
          </p:cNvSpPr>
          <p:nvPr>
            <p:ph type="body" sz="quarter" idx="19"/>
          </p:nvPr>
        </p:nvSpPr>
        <p:spPr>
          <a:xfrm>
            <a:off x="760293" y="1524467"/>
            <a:ext cx="5335707"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3"/>
          <p:cNvSpPr>
            <a:spLocks noGrp="1"/>
          </p:cNvSpPr>
          <p:nvPr>
            <p:ph type="pic" sz="quarter" idx="23"/>
          </p:nvPr>
        </p:nvSpPr>
        <p:spPr>
          <a:xfrm>
            <a:off x="6858045" y="3429002"/>
            <a:ext cx="5333956" cy="3428474"/>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7" name="Date Placeholder 6"/>
          <p:cNvSpPr>
            <a:spLocks noGrp="1"/>
          </p:cNvSpPr>
          <p:nvPr>
            <p:ph type="dt" sz="half" idx="25"/>
          </p:nvPr>
        </p:nvSpPr>
        <p:spPr/>
        <p:txBody>
          <a:bodyPr/>
          <a:lstStyle/>
          <a:p>
            <a:pPr>
              <a:defRPr/>
            </a:pPr>
            <a:fld id="{9142DC51-DC3C-495D-9F6A-5FF17D18C5B5}" type="datetime5">
              <a:rPr lang="en-US" smtClean="0"/>
              <a:t>6-Oct-21</a:t>
            </a:fld>
            <a:endParaRPr lang="en-US"/>
          </a:p>
        </p:txBody>
      </p:sp>
      <p:sp>
        <p:nvSpPr>
          <p:cNvPr id="8" name="Footer Placeholder 7"/>
          <p:cNvSpPr>
            <a:spLocks noGrp="1"/>
          </p:cNvSpPr>
          <p:nvPr>
            <p:ph type="ftr" sz="quarter" idx="26"/>
          </p:nvPr>
        </p:nvSpPr>
        <p:spPr/>
        <p:txBody>
          <a:bodyPr/>
          <a:lstStyle/>
          <a:p>
            <a:pPr>
              <a:defRPr/>
            </a:pPr>
            <a:r>
              <a:rPr lang="en-US"/>
              <a:t>FOOTER / PRESENTATION NAME</a:t>
            </a:r>
          </a:p>
        </p:txBody>
      </p:sp>
      <p:sp>
        <p:nvSpPr>
          <p:cNvPr id="9" name="Slide Number Placeholder 8"/>
          <p:cNvSpPr>
            <a:spLocks noGrp="1"/>
          </p:cNvSpPr>
          <p:nvPr>
            <p:ph type="sldNum" sz="quarter" idx="27"/>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385772333"/>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 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5332557" y="525"/>
            <a:ext cx="3811967" cy="34293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1" name="Picture Placeholder 3"/>
          <p:cNvSpPr>
            <a:spLocks noGrp="1"/>
          </p:cNvSpPr>
          <p:nvPr>
            <p:ph type="pic" sz="quarter" idx="23"/>
          </p:nvPr>
        </p:nvSpPr>
        <p:spPr>
          <a:xfrm>
            <a:off x="9144177" y="525"/>
            <a:ext cx="3047823" cy="342847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5332557" y="3429002"/>
            <a:ext cx="2287181"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7620088" y="3429001"/>
            <a:ext cx="4572263" cy="3428474"/>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p:cNvSpPr>
            <a:spLocks noGrp="1"/>
          </p:cNvSpPr>
          <p:nvPr>
            <p:ph type="dt" sz="half" idx="27"/>
          </p:nvPr>
        </p:nvSpPr>
        <p:spPr/>
        <p:txBody>
          <a:bodyPr/>
          <a:lstStyle/>
          <a:p>
            <a:pPr>
              <a:defRPr/>
            </a:pPr>
            <a:fld id="{BD99169B-20C4-44AE-A94C-72F400701C7B}" type="datetime5">
              <a:rPr lang="en-US" smtClean="0"/>
              <a:t>6-Oct-21</a:t>
            </a:fld>
            <a:endParaRPr lang="en-US"/>
          </a:p>
        </p:txBody>
      </p:sp>
      <p:sp>
        <p:nvSpPr>
          <p:cNvPr id="8" name="Footer Placeholder 7"/>
          <p:cNvSpPr>
            <a:spLocks noGrp="1"/>
          </p:cNvSpPr>
          <p:nvPr>
            <p:ph type="ftr" sz="quarter" idx="28"/>
          </p:nvPr>
        </p:nvSpPr>
        <p:spPr/>
        <p:txBody>
          <a:bodyPr/>
          <a:lstStyle/>
          <a:p>
            <a:pPr>
              <a:defRPr/>
            </a:pPr>
            <a:r>
              <a:rPr lang="en-US"/>
              <a:t>FOOTER / PRESENTATION NAME</a:t>
            </a:r>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351754817"/>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 Collage (2)">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857344" y="1"/>
            <a:ext cx="5334656"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1" name="Picture Placeholder 3"/>
          <p:cNvSpPr>
            <a:spLocks noGrp="1"/>
          </p:cNvSpPr>
          <p:nvPr>
            <p:ph type="pic" sz="quarter" idx="23"/>
          </p:nvPr>
        </p:nvSpPr>
        <p:spPr>
          <a:xfrm>
            <a:off x="9144177" y="762234"/>
            <a:ext cx="1905108" cy="266676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7620088" y="3429001"/>
            <a:ext cx="3427271" cy="2667466"/>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a:t>Click to edit Master title style</a:t>
            </a:r>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p:cNvSpPr>
            <a:spLocks noGrp="1"/>
          </p:cNvSpPr>
          <p:nvPr>
            <p:ph type="dt" sz="half" idx="27"/>
          </p:nvPr>
        </p:nvSpPr>
        <p:spPr/>
        <p:txBody>
          <a:bodyPr/>
          <a:lstStyle/>
          <a:p>
            <a:pPr>
              <a:defRPr/>
            </a:pPr>
            <a:fld id="{893EDF63-5482-4669-810B-D34A64D68F1C}" type="datetime5">
              <a:rPr lang="en-US" smtClean="0"/>
              <a:t>6-Oct-21</a:t>
            </a:fld>
            <a:endParaRPr lang="en-US"/>
          </a:p>
        </p:txBody>
      </p:sp>
      <p:sp>
        <p:nvSpPr>
          <p:cNvPr id="8" name="Footer Placeholder 7"/>
          <p:cNvSpPr>
            <a:spLocks noGrp="1"/>
          </p:cNvSpPr>
          <p:nvPr>
            <p:ph type="ftr" sz="quarter" idx="28"/>
          </p:nvPr>
        </p:nvSpPr>
        <p:spPr/>
        <p:txBody>
          <a:bodyPr/>
          <a:lstStyle/>
          <a:p>
            <a:pPr>
              <a:defRPr/>
            </a:pPr>
            <a:r>
              <a:rPr lang="en-US"/>
              <a:t>FOOTER / PRESENTATION NAME</a:t>
            </a:r>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893343020"/>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le 1"/>
          <p:cNvSpPr>
            <a:spLocks noGrp="1"/>
          </p:cNvSpPr>
          <p:nvPr>
            <p:ph type="title" hasCustomPrompt="1"/>
          </p:nvPr>
        </p:nvSpPr>
        <p:spPr>
          <a:xfrm>
            <a:off x="7239592" y="2287375"/>
            <a:ext cx="3810240" cy="761058"/>
          </a:xfrm>
        </p:spPr>
        <p:txBody>
          <a:bodyPr anchor="b"/>
          <a:lstStyle>
            <a:lvl1pPr algn="ctr">
              <a:lnSpc>
                <a:spcPct val="70000"/>
              </a:lnSpc>
              <a:defRPr sz="3174"/>
            </a:lvl1pPr>
          </a:lstStyle>
          <a:p>
            <a:r>
              <a:rPr lang="en-US"/>
              <a:t>Slide title</a:t>
            </a:r>
          </a:p>
        </p:txBody>
      </p:sp>
      <p:sp>
        <p:nvSpPr>
          <p:cNvPr id="3" name="Date Placeholder 2"/>
          <p:cNvSpPr>
            <a:spLocks noGrp="1"/>
          </p:cNvSpPr>
          <p:nvPr>
            <p:ph type="dt" sz="half" idx="10"/>
          </p:nvPr>
        </p:nvSpPr>
        <p:spPr/>
        <p:txBody>
          <a:bodyPr/>
          <a:lstStyle/>
          <a:p>
            <a:pPr>
              <a:defRPr/>
            </a:pPr>
            <a:fld id="{C1A4FBB2-A969-4545-AD1B-A149BE41F247}"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cxnSp>
        <p:nvCxnSpPr>
          <p:cNvPr id="8" name="Straight Connector 7"/>
          <p:cNvCxnSpPr>
            <a:cxnSpLocks/>
          </p:cNvCxnSpPr>
          <p:nvPr userDrawn="1"/>
        </p:nvCxnSpPr>
        <p:spPr>
          <a:xfrm>
            <a:off x="8762278"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723959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1744301917"/>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le 1"/>
          <p:cNvSpPr>
            <a:spLocks noGrp="1"/>
          </p:cNvSpPr>
          <p:nvPr>
            <p:ph type="title" hasCustomPrompt="1"/>
          </p:nvPr>
        </p:nvSpPr>
        <p:spPr>
          <a:xfrm>
            <a:off x="1142063" y="2287375"/>
            <a:ext cx="3810240" cy="761058"/>
          </a:xfrm>
        </p:spPr>
        <p:txBody>
          <a:bodyPr anchor="b"/>
          <a:lstStyle>
            <a:lvl1pPr algn="ctr">
              <a:lnSpc>
                <a:spcPct val="70000"/>
              </a:lnSpc>
              <a:defRPr sz="3174"/>
            </a:lvl1pPr>
          </a:lstStyle>
          <a:p>
            <a:r>
              <a:rPr lang="en-US"/>
              <a:t>Slide title</a:t>
            </a:r>
          </a:p>
        </p:txBody>
      </p:sp>
      <p:sp>
        <p:nvSpPr>
          <p:cNvPr id="3" name="Date Placeholder 2"/>
          <p:cNvSpPr>
            <a:spLocks noGrp="1"/>
          </p:cNvSpPr>
          <p:nvPr>
            <p:ph type="dt" sz="half" idx="10"/>
          </p:nvPr>
        </p:nvSpPr>
        <p:spPr/>
        <p:txBody>
          <a:bodyPr/>
          <a:lstStyle/>
          <a:p>
            <a:pPr>
              <a:defRPr/>
            </a:pPr>
            <a:fld id="{899F4E16-FCF2-494B-B7FD-94650AEECCAF}"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cxnSp>
        <p:nvCxnSpPr>
          <p:cNvPr id="8" name="Straight Connector 7"/>
          <p:cNvCxnSpPr>
            <a:cxnSpLocks/>
          </p:cNvCxnSpPr>
          <p:nvPr userDrawn="1"/>
        </p:nvCxnSpPr>
        <p:spPr>
          <a:xfrm>
            <a:off x="2664749"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1142062"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62690215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mage + Text (3)">
    <p:spTree>
      <p:nvGrpSpPr>
        <p:cNvPr id="1" name=""/>
        <p:cNvGrpSpPr/>
        <p:nvPr/>
      </p:nvGrpSpPr>
      <p:grpSpPr>
        <a:xfrm>
          <a:off x="0" y="0"/>
          <a:ext cx="0" cy="0"/>
          <a:chOff x="0" y="0"/>
          <a:chExt cx="0" cy="0"/>
        </a:xfrm>
      </p:grpSpPr>
      <p:sp>
        <p:nvSpPr>
          <p:cNvPr id="15" name="Picture Placeholder 3"/>
          <p:cNvSpPr>
            <a:spLocks noGrp="1"/>
          </p:cNvSpPr>
          <p:nvPr>
            <p:ph type="pic" sz="quarter" idx="18"/>
          </p:nvPr>
        </p:nvSpPr>
        <p:spPr>
          <a:xfrm>
            <a:off x="6097052" y="0"/>
            <a:ext cx="1904935" cy="342899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6" name="Picture Placeholder 3"/>
          <p:cNvSpPr>
            <a:spLocks noGrp="1"/>
          </p:cNvSpPr>
          <p:nvPr>
            <p:ph type="pic" sz="quarter" idx="23"/>
          </p:nvPr>
        </p:nvSpPr>
        <p:spPr>
          <a:xfrm>
            <a:off x="8001984"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10287069"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6097050" y="3429001"/>
            <a:ext cx="6094950" cy="3428925"/>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2" name="Title 1"/>
          <p:cNvSpPr>
            <a:spLocks noGrp="1"/>
          </p:cNvSpPr>
          <p:nvPr>
            <p:ph type="title" hasCustomPrompt="1"/>
          </p:nvPr>
        </p:nvSpPr>
        <p:spPr>
          <a:xfrm>
            <a:off x="1142542" y="2287375"/>
            <a:ext cx="3810240" cy="761058"/>
          </a:xfrm>
        </p:spPr>
        <p:txBody>
          <a:bodyPr anchor="b"/>
          <a:lstStyle>
            <a:lvl1pPr algn="ctr">
              <a:lnSpc>
                <a:spcPct val="70000"/>
              </a:lnSpc>
              <a:defRPr sz="3174">
                <a:solidFill>
                  <a:schemeClr val="bg1"/>
                </a:solidFill>
              </a:defRPr>
            </a:lvl1pPr>
          </a:lstStyle>
          <a:p>
            <a:r>
              <a:rPr lang="en-US"/>
              <a:t>Slide title</a:t>
            </a:r>
          </a:p>
        </p:txBody>
      </p:sp>
      <p:sp>
        <p:nvSpPr>
          <p:cNvPr id="3" name="Date Placeholder 2"/>
          <p:cNvSpPr>
            <a:spLocks noGrp="1"/>
          </p:cNvSpPr>
          <p:nvPr>
            <p:ph type="dt" sz="half" idx="10"/>
          </p:nvPr>
        </p:nvSpPr>
        <p:spPr/>
        <p:txBody>
          <a:bodyPr/>
          <a:lstStyle>
            <a:lvl1pPr>
              <a:defRPr>
                <a:solidFill>
                  <a:schemeClr val="bg1"/>
                </a:solidFill>
              </a:defRPr>
            </a:lvl1pPr>
          </a:lstStyle>
          <a:p>
            <a:pPr>
              <a:defRPr/>
            </a:pPr>
            <a:fld id="{43A597DD-9D0A-4FB2-BDA8-7AAC9842B236}" type="datetime5">
              <a:rPr lang="en-US" smtClean="0"/>
              <a:t>6-Oct-21</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pPr>
              <a:defRPr/>
            </a:pPr>
            <a:r>
              <a:rPr lang="en-US"/>
              <a:t>FOOTER / PRESENTATION NAM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
        <p:nvSpPr>
          <p:cNvPr id="11" name="Text Placeholder 9"/>
          <p:cNvSpPr>
            <a:spLocks noGrp="1"/>
          </p:cNvSpPr>
          <p:nvPr>
            <p:ph type="body" sz="quarter" idx="13" hasCustomPrompt="1"/>
          </p:nvPr>
        </p:nvSpPr>
        <p:spPr>
          <a:xfrm>
            <a:off x="114254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a:t>Edit Master text styles</a:t>
            </a:r>
          </a:p>
        </p:txBody>
      </p:sp>
    </p:spTree>
    <p:extLst>
      <p:ext uri="{BB962C8B-B14F-4D97-AF65-F5344CB8AC3E}">
        <p14:creationId xmlns:p14="http://schemas.microsoft.com/office/powerpoint/2010/main" val="14771257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 + 2 Images (M)">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5714068" y="381455"/>
            <a:ext cx="6097282" cy="304754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endParaRPr lang="en-US" noProof="0" dirty="0"/>
          </a:p>
        </p:txBody>
      </p:sp>
      <p:sp>
        <p:nvSpPr>
          <p:cNvPr id="12" name="Text Placeholder 11"/>
          <p:cNvSpPr>
            <a:spLocks noGrp="1"/>
          </p:cNvSpPr>
          <p:nvPr>
            <p:ph type="body" sz="quarter" idx="19"/>
          </p:nvPr>
        </p:nvSpPr>
        <p:spPr bwMode="gray">
          <a:xfrm>
            <a:off x="380672" y="1524284"/>
            <a:ext cx="4572132"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noProof="0" dirty="0"/>
          </a:p>
        </p:txBody>
      </p:sp>
      <p:sp>
        <p:nvSpPr>
          <p:cNvPr id="11" name="Picture Placeholder 3"/>
          <p:cNvSpPr>
            <a:spLocks noGrp="1"/>
          </p:cNvSpPr>
          <p:nvPr>
            <p:ph type="pic" sz="quarter" idx="23"/>
          </p:nvPr>
        </p:nvSpPr>
        <p:spPr bwMode="gray">
          <a:xfrm>
            <a:off x="5714935" y="3429002"/>
            <a:ext cx="6096415" cy="30479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endParaRPr lang="en-US" noProof="0" dirty="0"/>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53C7E6E0-F836-4EAB-8A75-37AAF7FDD02F}"/>
              </a:ext>
            </a:extLst>
          </p:cNvPr>
          <p:cNvSpPr>
            <a:spLocks noGrp="1"/>
          </p:cNvSpPr>
          <p:nvPr>
            <p:ph type="title"/>
          </p:nvPr>
        </p:nvSpPr>
        <p:spPr>
          <a:xfrm>
            <a:off x="380672" y="381455"/>
            <a:ext cx="4572132" cy="380943"/>
          </a:xfrm>
        </p:spPr>
        <p:txBody>
          <a:body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AD360260-EB3C-4A05-874E-6BB4FE9A35AA}"/>
              </a:ext>
            </a:extLst>
          </p:cNvPr>
          <p:cNvSpPr>
            <a:spLocks noGrp="1"/>
          </p:cNvSpPr>
          <p:nvPr>
            <p:ph type="dt" sz="half" idx="30"/>
          </p:nvPr>
        </p:nvSpPr>
        <p:spPr/>
        <p:txBody>
          <a:bodyPr/>
          <a:lstStyle/>
          <a:p>
            <a:fld id="{346EC373-F52C-4BBA-A969-228F652816AF}" type="datetime5">
              <a:rPr lang="en-US" smtClean="0"/>
              <a:t>6-Oct-21</a:t>
            </a:fld>
            <a:endParaRPr lang="en-US" dirty="0"/>
          </a:p>
        </p:txBody>
      </p:sp>
      <p:sp>
        <p:nvSpPr>
          <p:cNvPr id="3" name="Footer Placeholder 2">
            <a:extLst>
              <a:ext uri="{FF2B5EF4-FFF2-40B4-BE49-F238E27FC236}">
                <a16:creationId xmlns:a16="http://schemas.microsoft.com/office/drawing/2014/main" id="{EE3356E6-58B4-4E8A-992C-DA8DBA4537F0}"/>
              </a:ext>
            </a:extLst>
          </p:cNvPr>
          <p:cNvSpPr>
            <a:spLocks noGrp="1"/>
          </p:cNvSpPr>
          <p:nvPr>
            <p:ph type="ftr" sz="quarter" idx="31"/>
          </p:nvPr>
        </p:nvSpPr>
        <p:spPr/>
        <p:txBody>
          <a:bodyPr/>
          <a:lstStyle/>
          <a:p>
            <a:pPr defTabSz="1218764">
              <a:lnSpc>
                <a:spcPct val="80000"/>
              </a:lnSpc>
            </a:pPr>
            <a:r>
              <a:rPr lang="en-US"/>
              <a:t>FOOTER / PRESENTATION NAME</a:t>
            </a:r>
            <a:endParaRPr lang="en-US" dirty="0"/>
          </a:p>
        </p:txBody>
      </p:sp>
      <p:sp>
        <p:nvSpPr>
          <p:cNvPr id="13" name="Text Placeholder 15">
            <a:extLst>
              <a:ext uri="{FF2B5EF4-FFF2-40B4-BE49-F238E27FC236}">
                <a16:creationId xmlns:a16="http://schemas.microsoft.com/office/drawing/2014/main" id="{C377903C-2A71-494B-BCBB-A6A16110065E}"/>
              </a:ext>
            </a:extLst>
          </p:cNvPr>
          <p:cNvSpPr>
            <a:spLocks noGrp="1"/>
          </p:cNvSpPr>
          <p:nvPr>
            <p:ph type="body" sz="quarter" idx="29"/>
          </p:nvPr>
        </p:nvSpPr>
        <p:spPr bwMode="gray">
          <a:xfrm>
            <a:off x="380671" y="784272"/>
            <a:ext cx="4572133"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dirty="0"/>
              <a:t>Click to edit Master text style</a:t>
            </a:r>
            <a:endParaRPr lang="en-US"/>
          </a:p>
        </p:txBody>
      </p:sp>
    </p:spTree>
    <p:extLst>
      <p:ext uri="{BB962C8B-B14F-4D97-AF65-F5344CB8AC3E}">
        <p14:creationId xmlns:p14="http://schemas.microsoft.com/office/powerpoint/2010/main" val="404687985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mage + Text (4)">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15" name="Picture Placeholder 3"/>
          <p:cNvSpPr>
            <a:spLocks noGrp="1"/>
          </p:cNvSpPr>
          <p:nvPr>
            <p:ph type="pic" sz="quarter" idx="18"/>
          </p:nvPr>
        </p:nvSpPr>
        <p:spPr>
          <a:xfrm>
            <a:off x="1" y="0"/>
            <a:ext cx="1904935" cy="342899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6" name="Picture Placeholder 3"/>
          <p:cNvSpPr>
            <a:spLocks noGrp="1"/>
          </p:cNvSpPr>
          <p:nvPr>
            <p:ph type="pic" sz="quarter" idx="23"/>
          </p:nvPr>
        </p:nvSpPr>
        <p:spPr>
          <a:xfrm>
            <a:off x="1904935"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4190016"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0" y="3429001"/>
            <a:ext cx="6094950" cy="3428925"/>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2" name="Title 1"/>
          <p:cNvSpPr>
            <a:spLocks noGrp="1"/>
          </p:cNvSpPr>
          <p:nvPr>
            <p:ph type="title" hasCustomPrompt="1"/>
          </p:nvPr>
        </p:nvSpPr>
        <p:spPr>
          <a:xfrm>
            <a:off x="7239698" y="2287375"/>
            <a:ext cx="3810240" cy="761058"/>
          </a:xfrm>
        </p:spPr>
        <p:txBody>
          <a:bodyPr anchor="b"/>
          <a:lstStyle>
            <a:lvl1pPr algn="ctr">
              <a:lnSpc>
                <a:spcPct val="70000"/>
              </a:lnSpc>
              <a:defRPr sz="3174">
                <a:solidFill>
                  <a:schemeClr val="bg1"/>
                </a:solidFill>
              </a:defRPr>
            </a:lvl1pPr>
          </a:lstStyle>
          <a:p>
            <a:r>
              <a:rPr lang="en-US"/>
              <a:t>Slide title</a:t>
            </a:r>
          </a:p>
        </p:txBody>
      </p:sp>
      <p:sp>
        <p:nvSpPr>
          <p:cNvPr id="3" name="Date Placeholder 2"/>
          <p:cNvSpPr>
            <a:spLocks noGrp="1"/>
          </p:cNvSpPr>
          <p:nvPr>
            <p:ph type="dt" sz="half" idx="10"/>
          </p:nvPr>
        </p:nvSpPr>
        <p:spPr/>
        <p:txBody>
          <a:bodyPr/>
          <a:lstStyle>
            <a:lvl1pPr>
              <a:defRPr>
                <a:solidFill>
                  <a:schemeClr val="bg2"/>
                </a:solidFill>
              </a:defRPr>
            </a:lvl1pPr>
          </a:lstStyle>
          <a:p>
            <a:pPr>
              <a:defRPr/>
            </a:pPr>
            <a:fld id="{2D69D5C6-096D-40B5-83B1-9849D5280D11}" type="datetime5">
              <a:rPr lang="en-US" smtClean="0"/>
              <a:t>6-Oct-21</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pPr>
              <a:defRPr/>
            </a:pPr>
            <a:r>
              <a:rPr lang="en-US"/>
              <a:t>FOOTER / PRESENTATION NAME</a:t>
            </a:r>
          </a:p>
        </p:txBody>
      </p:sp>
      <p:sp>
        <p:nvSpPr>
          <p:cNvPr id="5" name="Slide Number Placeholder 4"/>
          <p:cNvSpPr>
            <a:spLocks noGrp="1"/>
          </p:cNvSpPr>
          <p:nvPr>
            <p:ph type="sldNum" sz="quarter" idx="12"/>
          </p:nvPr>
        </p:nvSpPr>
        <p:spPr/>
        <p:txBody>
          <a:bodyPr/>
          <a:lstStyle>
            <a:lvl1pPr>
              <a:defRPr>
                <a:solidFill>
                  <a:schemeClr val="bg2"/>
                </a:solidFill>
              </a:defRPr>
            </a:lvl1pPr>
          </a:lstStyle>
          <a:p>
            <a:pPr>
              <a:defRPr/>
            </a:pPr>
            <a:fld id="{66C8B3C2-955F-42B1-8DED-EE47D723596C}" type="slidenum">
              <a:rPr lang="en-US" smtClean="0"/>
              <a:pPr>
                <a:defRPr/>
              </a:pPr>
              <a:t>‹#›</a:t>
            </a:fld>
            <a:endParaRPr lang="en-US"/>
          </a:p>
        </p:txBody>
      </p:sp>
      <p:sp>
        <p:nvSpPr>
          <p:cNvPr id="11" name="Text Placeholder 9"/>
          <p:cNvSpPr>
            <a:spLocks noGrp="1"/>
          </p:cNvSpPr>
          <p:nvPr>
            <p:ph type="body" sz="quarter" idx="13" hasCustomPrompt="1"/>
          </p:nvPr>
        </p:nvSpPr>
        <p:spPr>
          <a:xfrm>
            <a:off x="7239697"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a:t>Edit Master text styles</a:t>
            </a:r>
          </a:p>
        </p:txBody>
      </p:sp>
    </p:spTree>
    <p:extLst>
      <p:ext uri="{BB962C8B-B14F-4D97-AF65-F5344CB8AC3E}">
        <p14:creationId xmlns:p14="http://schemas.microsoft.com/office/powerpoint/2010/main" val="115178135"/>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3429021" cy="419165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3" name="Picture Placeholder 3"/>
          <p:cNvSpPr>
            <a:spLocks noGrp="1"/>
          </p:cNvSpPr>
          <p:nvPr>
            <p:ph type="pic" sz="quarter" idx="23"/>
          </p:nvPr>
        </p:nvSpPr>
        <p:spPr>
          <a:xfrm>
            <a:off x="3809870" y="1142300"/>
            <a:ext cx="3427624" cy="4191659"/>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a:xfrm>
            <a:off x="7238191" y="1142300"/>
            <a:ext cx="3430675" cy="419165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A6ACAB28-07CC-4E27-81A2-6B749AA84F7D}"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sp>
        <p:nvSpPr>
          <p:cNvPr id="17" name="Text Placeholder 15"/>
          <p:cNvSpPr>
            <a:spLocks noGrp="1"/>
          </p:cNvSpPr>
          <p:nvPr>
            <p:ph type="body" sz="quarter" idx="25" hasCustomPrompt="1"/>
          </p:nvPr>
        </p:nvSpPr>
        <p:spPr>
          <a:xfrm>
            <a:off x="380149"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2" name="Text Placeholder 15"/>
          <p:cNvSpPr>
            <a:spLocks noGrp="1"/>
          </p:cNvSpPr>
          <p:nvPr>
            <p:ph type="body" sz="quarter" idx="26" hasCustomPrompt="1"/>
          </p:nvPr>
        </p:nvSpPr>
        <p:spPr>
          <a:xfrm>
            <a:off x="3809870"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3" name="Text Placeholder 15"/>
          <p:cNvSpPr>
            <a:spLocks noGrp="1"/>
          </p:cNvSpPr>
          <p:nvPr>
            <p:ph type="body" sz="quarter" idx="27" hasCustomPrompt="1"/>
          </p:nvPr>
        </p:nvSpPr>
        <p:spPr>
          <a:xfrm>
            <a:off x="7239066"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Tree>
    <p:extLst>
      <p:ext uri="{BB962C8B-B14F-4D97-AF65-F5344CB8AC3E}">
        <p14:creationId xmlns:p14="http://schemas.microsoft.com/office/powerpoint/2010/main" val="1314371401"/>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2665223" cy="4191659"/>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3" name="Picture Placeholder 3"/>
          <p:cNvSpPr>
            <a:spLocks noGrp="1"/>
          </p:cNvSpPr>
          <p:nvPr>
            <p:ph type="pic" sz="quarter" idx="23"/>
          </p:nvPr>
        </p:nvSpPr>
        <p:spPr>
          <a:xfrm>
            <a:off x="3045373" y="1142300"/>
            <a:ext cx="2669555" cy="4191659"/>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a:xfrm>
            <a:off x="5714801" y="1142300"/>
            <a:ext cx="2667329" cy="419165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2" name="Picture Placeholder 3"/>
          <p:cNvSpPr>
            <a:spLocks noGrp="1"/>
          </p:cNvSpPr>
          <p:nvPr>
            <p:ph type="pic" sz="quarter" idx="28"/>
          </p:nvPr>
        </p:nvSpPr>
        <p:spPr>
          <a:xfrm>
            <a:off x="8382130" y="1142300"/>
            <a:ext cx="2667329" cy="4191659"/>
          </a:xfrm>
          <a:solidFill>
            <a:schemeClr val="bg2">
              <a:lumMod val="20000"/>
              <a:lumOff val="80000"/>
            </a:schemeClr>
          </a:solidFill>
        </p:spPr>
        <p:txBody>
          <a:bodyPr anchor="ctr"/>
          <a:lstStyle>
            <a:lvl1pPr algn="ctr">
              <a:defRPr b="0">
                <a:solidFill>
                  <a:schemeClr val="tx1"/>
                </a:solidFill>
              </a:defRPr>
            </a:lvl1pPr>
          </a:lstStyle>
          <a:p>
            <a:r>
              <a:rPr lang="en-US" noProof="0"/>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29C4DC96-AFE9-42BC-916B-4BFCBFF7A038}"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sp>
        <p:nvSpPr>
          <p:cNvPr id="28" name="Text Placeholder 15"/>
          <p:cNvSpPr>
            <a:spLocks noGrp="1"/>
          </p:cNvSpPr>
          <p:nvPr>
            <p:ph type="body" sz="quarter" idx="25" hasCustomPrompt="1"/>
          </p:nvPr>
        </p:nvSpPr>
        <p:spPr>
          <a:xfrm>
            <a:off x="380149"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9" name="Text Placeholder 15"/>
          <p:cNvSpPr>
            <a:spLocks noGrp="1"/>
          </p:cNvSpPr>
          <p:nvPr>
            <p:ph type="body" sz="quarter" idx="29" hasCustomPrompt="1"/>
          </p:nvPr>
        </p:nvSpPr>
        <p:spPr>
          <a:xfrm>
            <a:off x="3045373"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30" name="Text Placeholder 15"/>
          <p:cNvSpPr>
            <a:spLocks noGrp="1"/>
          </p:cNvSpPr>
          <p:nvPr>
            <p:ph type="body" sz="quarter" idx="30" hasCustomPrompt="1"/>
          </p:nvPr>
        </p:nvSpPr>
        <p:spPr>
          <a:xfrm>
            <a:off x="5714801"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31" name="Text Placeholder 15"/>
          <p:cNvSpPr>
            <a:spLocks noGrp="1"/>
          </p:cNvSpPr>
          <p:nvPr>
            <p:ph type="body" sz="quarter" idx="31" hasCustomPrompt="1"/>
          </p:nvPr>
        </p:nvSpPr>
        <p:spPr>
          <a:xfrm>
            <a:off x="8382132"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Tree>
    <p:extLst>
      <p:ext uri="{BB962C8B-B14F-4D97-AF65-F5344CB8AC3E}">
        <p14:creationId xmlns:p14="http://schemas.microsoft.com/office/powerpoint/2010/main" val="2064503336"/>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904B269A-1B25-4685-B85D-C2225FF81E6A}" type="datetime5">
              <a:rPr lang="en-US" smtClean="0"/>
              <a:t>6-Oct-21</a:t>
            </a:fld>
            <a:endParaRPr lang="en-US"/>
          </a:p>
        </p:txBody>
      </p:sp>
      <p:sp>
        <p:nvSpPr>
          <p:cNvPr id="4" name="Footer Placeholder 3"/>
          <p:cNvSpPr>
            <a:spLocks noGrp="1"/>
          </p:cNvSpPr>
          <p:nvPr>
            <p:ph type="ftr" sz="quarter" idx="11"/>
          </p:nvPr>
        </p:nvSpPr>
        <p:spPr/>
        <p:txBody>
          <a:bodyPr/>
          <a:lstStyle/>
          <a:p>
            <a:pPr>
              <a:defRPr/>
            </a:pPr>
            <a:r>
              <a:rPr lang="en-US"/>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a:p>
        </p:txBody>
      </p:sp>
      <p:grpSp>
        <p:nvGrpSpPr>
          <p:cNvPr id="9" name="Group 4"/>
          <p:cNvGrpSpPr>
            <a:grpSpLocks noChangeAspect="1"/>
          </p:cNvGrpSpPr>
          <p:nvPr userDrawn="1"/>
        </p:nvGrpSpPr>
        <p:grpSpPr bwMode="auto">
          <a:xfrm>
            <a:off x="760296" y="1524040"/>
            <a:ext cx="556566" cy="382167"/>
            <a:chOff x="760" y="163"/>
            <a:chExt cx="4288" cy="2945"/>
          </a:xfrm>
        </p:grpSpPr>
        <p:sp>
          <p:nvSpPr>
            <p:cNvPr id="10" name="Freeform 9"/>
            <p:cNvSpPr>
              <a:spLocks/>
            </p:cNvSpPr>
            <p:nvPr/>
          </p:nvSpPr>
          <p:spPr bwMode="auto">
            <a:xfrm>
              <a:off x="760" y="163"/>
              <a:ext cx="4288" cy="2945"/>
            </a:xfrm>
            <a:custGeom>
              <a:avLst/>
              <a:gdLst>
                <a:gd name="T0" fmla="*/ 1818 w 1818"/>
                <a:gd name="T1" fmla="*/ 624 h 1249"/>
                <a:gd name="T2" fmla="*/ 912 w 1818"/>
                <a:gd name="T3" fmla="*/ 1249 h 1249"/>
                <a:gd name="T4" fmla="*/ 0 w 1818"/>
                <a:gd name="T5" fmla="*/ 624 h 1249"/>
                <a:gd name="T6" fmla="*/ 906 w 1818"/>
                <a:gd name="T7" fmla="*/ 0 h 1249"/>
                <a:gd name="T8" fmla="*/ 1818 w 1818"/>
                <a:gd name="T9" fmla="*/ 624 h 1249"/>
              </a:gdLst>
              <a:ahLst/>
              <a:cxnLst>
                <a:cxn ang="0">
                  <a:pos x="T0" y="T1"/>
                </a:cxn>
                <a:cxn ang="0">
                  <a:pos x="T2" y="T3"/>
                </a:cxn>
                <a:cxn ang="0">
                  <a:pos x="T4" y="T5"/>
                </a:cxn>
                <a:cxn ang="0">
                  <a:pos x="T6" y="T7"/>
                </a:cxn>
                <a:cxn ang="0">
                  <a:pos x="T8" y="T9"/>
                </a:cxn>
              </a:cxnLst>
              <a:rect l="0" t="0" r="r" b="b"/>
              <a:pathLst>
                <a:path w="1818" h="1249">
                  <a:moveTo>
                    <a:pt x="1818" y="624"/>
                  </a:moveTo>
                  <a:cubicBezTo>
                    <a:pt x="1818" y="624"/>
                    <a:pt x="1414" y="1249"/>
                    <a:pt x="912" y="1249"/>
                  </a:cubicBezTo>
                  <a:cubicBezTo>
                    <a:pt x="411" y="1249"/>
                    <a:pt x="0" y="624"/>
                    <a:pt x="0" y="624"/>
                  </a:cubicBezTo>
                  <a:cubicBezTo>
                    <a:pt x="0" y="624"/>
                    <a:pt x="404" y="0"/>
                    <a:pt x="906" y="0"/>
                  </a:cubicBezTo>
                  <a:cubicBezTo>
                    <a:pt x="1407" y="0"/>
                    <a:pt x="1818" y="624"/>
                    <a:pt x="1818" y="624"/>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1" name="Freeform 10"/>
            <p:cNvSpPr>
              <a:spLocks/>
            </p:cNvSpPr>
            <p:nvPr/>
          </p:nvSpPr>
          <p:spPr bwMode="auto">
            <a:xfrm>
              <a:off x="2281" y="1009"/>
              <a:ext cx="1276" cy="1252"/>
            </a:xfrm>
            <a:custGeom>
              <a:avLst/>
              <a:gdLst>
                <a:gd name="T0" fmla="*/ 270 w 541"/>
                <a:gd name="T1" fmla="*/ 0 h 531"/>
                <a:gd name="T2" fmla="*/ 155 w 541"/>
                <a:gd name="T3" fmla="*/ 26 h 531"/>
                <a:gd name="T4" fmla="*/ 180 w 541"/>
                <a:gd name="T5" fmla="*/ 100 h 531"/>
                <a:gd name="T6" fmla="*/ 59 w 541"/>
                <a:gd name="T7" fmla="*/ 221 h 531"/>
                <a:gd name="T8" fmla="*/ 6 w 541"/>
                <a:gd name="T9" fmla="*/ 209 h 531"/>
                <a:gd name="T10" fmla="*/ 0 w 541"/>
                <a:gd name="T11" fmla="*/ 265 h 531"/>
                <a:gd name="T12" fmla="*/ 270 w 541"/>
                <a:gd name="T13" fmla="*/ 531 h 531"/>
                <a:gd name="T14" fmla="*/ 541 w 541"/>
                <a:gd name="T15" fmla="*/ 265 h 531"/>
                <a:gd name="T16" fmla="*/ 270 w 541"/>
                <a:gd name="T17"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1" h="531">
                  <a:moveTo>
                    <a:pt x="270" y="0"/>
                  </a:moveTo>
                  <a:cubicBezTo>
                    <a:pt x="229" y="0"/>
                    <a:pt x="190" y="9"/>
                    <a:pt x="155" y="26"/>
                  </a:cubicBezTo>
                  <a:cubicBezTo>
                    <a:pt x="170" y="46"/>
                    <a:pt x="180" y="72"/>
                    <a:pt x="180" y="100"/>
                  </a:cubicBezTo>
                  <a:cubicBezTo>
                    <a:pt x="180" y="167"/>
                    <a:pt x="126" y="221"/>
                    <a:pt x="59" y="221"/>
                  </a:cubicBezTo>
                  <a:cubicBezTo>
                    <a:pt x="40" y="221"/>
                    <a:pt x="22" y="217"/>
                    <a:pt x="6" y="209"/>
                  </a:cubicBezTo>
                  <a:cubicBezTo>
                    <a:pt x="2" y="227"/>
                    <a:pt x="0" y="246"/>
                    <a:pt x="0" y="265"/>
                  </a:cubicBezTo>
                  <a:cubicBezTo>
                    <a:pt x="0" y="412"/>
                    <a:pt x="121" y="531"/>
                    <a:pt x="270" y="531"/>
                  </a:cubicBezTo>
                  <a:cubicBezTo>
                    <a:pt x="420" y="531"/>
                    <a:pt x="541" y="412"/>
                    <a:pt x="541" y="265"/>
                  </a:cubicBezTo>
                  <a:cubicBezTo>
                    <a:pt x="541" y="119"/>
                    <a:pt x="420" y="0"/>
                    <a:pt x="270" y="0"/>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2" name="Freeform 11"/>
            <p:cNvSpPr>
              <a:spLocks/>
            </p:cNvSpPr>
            <p:nvPr/>
          </p:nvSpPr>
          <p:spPr bwMode="auto">
            <a:xfrm>
              <a:off x="3557" y="623"/>
              <a:ext cx="559" cy="2049"/>
            </a:xfrm>
            <a:custGeom>
              <a:avLst/>
              <a:gdLst>
                <a:gd name="T0" fmla="*/ 0 w 237"/>
                <a:gd name="T1" fmla="*/ 869 h 869"/>
                <a:gd name="T2" fmla="*/ 237 w 237"/>
                <a:gd name="T3" fmla="*/ 436 h 869"/>
                <a:gd name="T4" fmla="*/ 0 w 237"/>
                <a:gd name="T5" fmla="*/ 0 h 869"/>
              </a:gdLst>
              <a:ahLst/>
              <a:cxnLst>
                <a:cxn ang="0">
                  <a:pos x="T0" y="T1"/>
                </a:cxn>
                <a:cxn ang="0">
                  <a:pos x="T2" y="T3"/>
                </a:cxn>
                <a:cxn ang="0">
                  <a:pos x="T4" y="T5"/>
                </a:cxn>
              </a:cxnLst>
              <a:rect l="0" t="0" r="r" b="b"/>
              <a:pathLst>
                <a:path w="237" h="869">
                  <a:moveTo>
                    <a:pt x="0" y="869"/>
                  </a:moveTo>
                  <a:cubicBezTo>
                    <a:pt x="142" y="790"/>
                    <a:pt x="237" y="617"/>
                    <a:pt x="237" y="436"/>
                  </a:cubicBezTo>
                  <a:cubicBezTo>
                    <a:pt x="237" y="254"/>
                    <a:pt x="142" y="79"/>
                    <a:pt x="0" y="0"/>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3" name="Freeform 12"/>
            <p:cNvSpPr>
              <a:spLocks/>
            </p:cNvSpPr>
            <p:nvPr/>
          </p:nvSpPr>
          <p:spPr bwMode="auto">
            <a:xfrm>
              <a:off x="1692" y="623"/>
              <a:ext cx="558" cy="2049"/>
            </a:xfrm>
            <a:custGeom>
              <a:avLst/>
              <a:gdLst>
                <a:gd name="T0" fmla="*/ 237 w 237"/>
                <a:gd name="T1" fmla="*/ 0 h 869"/>
                <a:gd name="T2" fmla="*/ 0 w 237"/>
                <a:gd name="T3" fmla="*/ 436 h 869"/>
                <a:gd name="T4" fmla="*/ 237 w 237"/>
                <a:gd name="T5" fmla="*/ 869 h 869"/>
              </a:gdLst>
              <a:ahLst/>
              <a:cxnLst>
                <a:cxn ang="0">
                  <a:pos x="T0" y="T1"/>
                </a:cxn>
                <a:cxn ang="0">
                  <a:pos x="T2" y="T3"/>
                </a:cxn>
                <a:cxn ang="0">
                  <a:pos x="T4" y="T5"/>
                </a:cxn>
              </a:cxnLst>
              <a:rect l="0" t="0" r="r" b="b"/>
              <a:pathLst>
                <a:path w="237" h="869">
                  <a:moveTo>
                    <a:pt x="237" y="0"/>
                  </a:moveTo>
                  <a:cubicBezTo>
                    <a:pt x="95" y="79"/>
                    <a:pt x="0" y="254"/>
                    <a:pt x="0" y="436"/>
                  </a:cubicBezTo>
                  <a:cubicBezTo>
                    <a:pt x="0" y="617"/>
                    <a:pt x="95" y="790"/>
                    <a:pt x="237" y="869"/>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grpSp>
      <p:grpSp>
        <p:nvGrpSpPr>
          <p:cNvPr id="14" name="Group 11"/>
          <p:cNvGrpSpPr>
            <a:grpSpLocks noChangeAspect="1"/>
          </p:cNvGrpSpPr>
          <p:nvPr userDrawn="1"/>
        </p:nvGrpSpPr>
        <p:grpSpPr bwMode="auto">
          <a:xfrm>
            <a:off x="4190640" y="1524039"/>
            <a:ext cx="431579" cy="382171"/>
            <a:chOff x="1110" y="47"/>
            <a:chExt cx="3587" cy="3177"/>
          </a:xfrm>
        </p:grpSpPr>
        <p:sp>
          <p:nvSpPr>
            <p:cNvPr id="15" name="Freeform 12"/>
            <p:cNvSpPr>
              <a:spLocks/>
            </p:cNvSpPr>
            <p:nvPr/>
          </p:nvSpPr>
          <p:spPr bwMode="auto">
            <a:xfrm>
              <a:off x="1110" y="535"/>
              <a:ext cx="3587" cy="2689"/>
            </a:xfrm>
            <a:custGeom>
              <a:avLst/>
              <a:gdLst>
                <a:gd name="T0" fmla="*/ 2447 w 3587"/>
                <a:gd name="T1" fmla="*/ 0 h 2689"/>
                <a:gd name="T2" fmla="*/ 3587 w 3587"/>
                <a:gd name="T3" fmla="*/ 0 h 2689"/>
                <a:gd name="T4" fmla="*/ 3587 w 3587"/>
                <a:gd name="T5" fmla="*/ 2689 h 2689"/>
                <a:gd name="T6" fmla="*/ 0 w 3587"/>
                <a:gd name="T7" fmla="*/ 2689 h 2689"/>
                <a:gd name="T8" fmla="*/ 0 w 3587"/>
                <a:gd name="T9" fmla="*/ 0 h 2689"/>
                <a:gd name="T10" fmla="*/ 1305 w 3587"/>
                <a:gd name="T11" fmla="*/ 0 h 2689"/>
              </a:gdLst>
              <a:ahLst/>
              <a:cxnLst>
                <a:cxn ang="0">
                  <a:pos x="T0" y="T1"/>
                </a:cxn>
                <a:cxn ang="0">
                  <a:pos x="T2" y="T3"/>
                </a:cxn>
                <a:cxn ang="0">
                  <a:pos x="T4" y="T5"/>
                </a:cxn>
                <a:cxn ang="0">
                  <a:pos x="T6" y="T7"/>
                </a:cxn>
                <a:cxn ang="0">
                  <a:pos x="T8" y="T9"/>
                </a:cxn>
                <a:cxn ang="0">
                  <a:pos x="T10" y="T11"/>
                </a:cxn>
              </a:cxnLst>
              <a:rect l="0" t="0" r="r" b="b"/>
              <a:pathLst>
                <a:path w="3587" h="2689">
                  <a:moveTo>
                    <a:pt x="2447" y="0"/>
                  </a:moveTo>
                  <a:lnTo>
                    <a:pt x="3587" y="0"/>
                  </a:lnTo>
                  <a:lnTo>
                    <a:pt x="3587" y="2689"/>
                  </a:lnTo>
                  <a:lnTo>
                    <a:pt x="0" y="2689"/>
                  </a:lnTo>
                  <a:lnTo>
                    <a:pt x="0" y="0"/>
                  </a:lnTo>
                  <a:lnTo>
                    <a:pt x="1305" y="0"/>
                  </a:lnTo>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6" name="Rectangle 13"/>
            <p:cNvSpPr>
              <a:spLocks noChangeArrowheads="1"/>
            </p:cNvSpPr>
            <p:nvPr/>
          </p:nvSpPr>
          <p:spPr bwMode="auto">
            <a:xfrm>
              <a:off x="1516" y="1268"/>
              <a:ext cx="1305" cy="1548"/>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7" name="Freeform 14"/>
            <p:cNvSpPr>
              <a:spLocks/>
            </p:cNvSpPr>
            <p:nvPr/>
          </p:nvSpPr>
          <p:spPr bwMode="auto">
            <a:xfrm>
              <a:off x="1516" y="2331"/>
              <a:ext cx="1305" cy="485"/>
            </a:xfrm>
            <a:custGeom>
              <a:avLst/>
              <a:gdLst>
                <a:gd name="T0" fmla="*/ 277 w 553"/>
                <a:gd name="T1" fmla="*/ 206 h 206"/>
                <a:gd name="T2" fmla="*/ 553 w 553"/>
                <a:gd name="T3" fmla="*/ 206 h 206"/>
                <a:gd name="T4" fmla="*/ 553 w 553"/>
                <a:gd name="T5" fmla="*/ 88 h 206"/>
                <a:gd name="T6" fmla="*/ 277 w 553"/>
                <a:gd name="T7" fmla="*/ 0 h 206"/>
                <a:gd name="T8" fmla="*/ 0 w 553"/>
                <a:gd name="T9" fmla="*/ 88 h 206"/>
                <a:gd name="T10" fmla="*/ 0 w 553"/>
                <a:gd name="T11" fmla="*/ 206 h 206"/>
                <a:gd name="T12" fmla="*/ 277 w 55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553" h="206">
                  <a:moveTo>
                    <a:pt x="277" y="206"/>
                  </a:moveTo>
                  <a:cubicBezTo>
                    <a:pt x="553" y="206"/>
                    <a:pt x="553" y="206"/>
                    <a:pt x="553" y="206"/>
                  </a:cubicBezTo>
                  <a:cubicBezTo>
                    <a:pt x="553" y="88"/>
                    <a:pt x="553" y="88"/>
                    <a:pt x="553" y="88"/>
                  </a:cubicBezTo>
                  <a:cubicBezTo>
                    <a:pt x="540" y="74"/>
                    <a:pt x="405" y="0"/>
                    <a:pt x="277" y="0"/>
                  </a:cubicBezTo>
                  <a:cubicBezTo>
                    <a:pt x="149" y="0"/>
                    <a:pt x="13" y="74"/>
                    <a:pt x="0" y="88"/>
                  </a:cubicBezTo>
                  <a:cubicBezTo>
                    <a:pt x="0" y="206"/>
                    <a:pt x="0" y="206"/>
                    <a:pt x="0" y="206"/>
                  </a:cubicBezTo>
                  <a:lnTo>
                    <a:pt x="277" y="206"/>
                  </a:ln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8" name="Freeform 15"/>
            <p:cNvSpPr>
              <a:spLocks/>
            </p:cNvSpPr>
            <p:nvPr/>
          </p:nvSpPr>
          <p:spPr bwMode="auto">
            <a:xfrm>
              <a:off x="1924" y="1513"/>
              <a:ext cx="491" cy="573"/>
            </a:xfrm>
            <a:custGeom>
              <a:avLst/>
              <a:gdLst>
                <a:gd name="T0" fmla="*/ 104 w 208"/>
                <a:gd name="T1" fmla="*/ 0 h 243"/>
                <a:gd name="T2" fmla="*/ 104 w 208"/>
                <a:gd name="T3" fmla="*/ 0 h 243"/>
                <a:gd name="T4" fmla="*/ 0 w 208"/>
                <a:gd name="T5" fmla="*/ 105 h 243"/>
                <a:gd name="T6" fmla="*/ 0 w 208"/>
                <a:gd name="T7" fmla="*/ 138 h 243"/>
                <a:gd name="T8" fmla="*/ 104 w 208"/>
                <a:gd name="T9" fmla="*/ 243 h 243"/>
                <a:gd name="T10" fmla="*/ 104 w 208"/>
                <a:gd name="T11" fmla="*/ 243 h 243"/>
                <a:gd name="T12" fmla="*/ 208 w 208"/>
                <a:gd name="T13" fmla="*/ 138 h 243"/>
                <a:gd name="T14" fmla="*/ 208 w 208"/>
                <a:gd name="T15" fmla="*/ 105 h 243"/>
                <a:gd name="T16" fmla="*/ 104 w 208"/>
                <a:gd name="T17"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243">
                  <a:moveTo>
                    <a:pt x="104" y="0"/>
                  </a:moveTo>
                  <a:cubicBezTo>
                    <a:pt x="104" y="0"/>
                    <a:pt x="104" y="0"/>
                    <a:pt x="104" y="0"/>
                  </a:cubicBezTo>
                  <a:cubicBezTo>
                    <a:pt x="47" y="0"/>
                    <a:pt x="0" y="47"/>
                    <a:pt x="0" y="105"/>
                  </a:cubicBezTo>
                  <a:cubicBezTo>
                    <a:pt x="0" y="138"/>
                    <a:pt x="0" y="138"/>
                    <a:pt x="0" y="138"/>
                  </a:cubicBezTo>
                  <a:cubicBezTo>
                    <a:pt x="0" y="196"/>
                    <a:pt x="47" y="243"/>
                    <a:pt x="104" y="243"/>
                  </a:cubicBezTo>
                  <a:cubicBezTo>
                    <a:pt x="104" y="243"/>
                    <a:pt x="104" y="243"/>
                    <a:pt x="104" y="243"/>
                  </a:cubicBezTo>
                  <a:cubicBezTo>
                    <a:pt x="161" y="243"/>
                    <a:pt x="208" y="196"/>
                    <a:pt x="208" y="138"/>
                  </a:cubicBezTo>
                  <a:cubicBezTo>
                    <a:pt x="208" y="105"/>
                    <a:pt x="208" y="105"/>
                    <a:pt x="208" y="105"/>
                  </a:cubicBezTo>
                  <a:cubicBezTo>
                    <a:pt x="208" y="47"/>
                    <a:pt x="161" y="0"/>
                    <a:pt x="104" y="0"/>
                  </a:cubicBez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9" name="Line 16"/>
            <p:cNvSpPr>
              <a:spLocks noChangeShapeType="1"/>
            </p:cNvSpPr>
            <p:nvPr/>
          </p:nvSpPr>
          <p:spPr bwMode="auto">
            <a:xfrm>
              <a:off x="3229" y="1595"/>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0" name="Line 17"/>
            <p:cNvSpPr>
              <a:spLocks noChangeShapeType="1"/>
            </p:cNvSpPr>
            <p:nvPr/>
          </p:nvSpPr>
          <p:spPr bwMode="auto">
            <a:xfrm>
              <a:off x="3229" y="1921"/>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1" name="Line 18"/>
            <p:cNvSpPr>
              <a:spLocks noChangeShapeType="1"/>
            </p:cNvSpPr>
            <p:nvPr/>
          </p:nvSpPr>
          <p:spPr bwMode="auto">
            <a:xfrm>
              <a:off x="3229" y="2246"/>
              <a:ext cx="571"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2" name="Line 19"/>
            <p:cNvSpPr>
              <a:spLocks noChangeShapeType="1"/>
            </p:cNvSpPr>
            <p:nvPr/>
          </p:nvSpPr>
          <p:spPr bwMode="auto">
            <a:xfrm>
              <a:off x="2333" y="862"/>
              <a:ext cx="1305"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3" name="Line 20"/>
            <p:cNvSpPr>
              <a:spLocks noChangeShapeType="1"/>
            </p:cNvSpPr>
            <p:nvPr/>
          </p:nvSpPr>
          <p:spPr bwMode="auto">
            <a:xfrm flipH="1">
              <a:off x="2007"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4" name="Line 21"/>
            <p:cNvSpPr>
              <a:spLocks noChangeShapeType="1"/>
            </p:cNvSpPr>
            <p:nvPr/>
          </p:nvSpPr>
          <p:spPr bwMode="auto">
            <a:xfrm>
              <a:off x="3800"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5" name="Rectangle 22"/>
            <p:cNvSpPr>
              <a:spLocks noChangeArrowheads="1"/>
            </p:cNvSpPr>
            <p:nvPr/>
          </p:nvSpPr>
          <p:spPr bwMode="auto">
            <a:xfrm>
              <a:off x="2658" y="47"/>
              <a:ext cx="654" cy="815"/>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grpSp>
      <p:grpSp>
        <p:nvGrpSpPr>
          <p:cNvPr id="26" name="Group 25"/>
          <p:cNvGrpSpPr>
            <a:grpSpLocks noChangeAspect="1"/>
          </p:cNvGrpSpPr>
          <p:nvPr userDrawn="1"/>
        </p:nvGrpSpPr>
        <p:grpSpPr bwMode="auto">
          <a:xfrm>
            <a:off x="7620290" y="1423855"/>
            <a:ext cx="343892" cy="482351"/>
            <a:chOff x="1875" y="24852"/>
            <a:chExt cx="2050" cy="364666"/>
          </a:xfrm>
        </p:grpSpPr>
        <p:sp>
          <p:nvSpPr>
            <p:cNvPr id="27" name="Freeform 26"/>
            <p:cNvSpPr>
              <a:spLocks/>
            </p:cNvSpPr>
            <p:nvPr/>
          </p:nvSpPr>
          <p:spPr bwMode="auto">
            <a:xfrm>
              <a:off x="2260" y="24852"/>
              <a:ext cx="1280" cy="73035"/>
            </a:xfrm>
            <a:custGeom>
              <a:avLst/>
              <a:gdLst>
                <a:gd name="T0" fmla="*/ 347 w 542"/>
                <a:gd name="T1" fmla="*/ 108 h 244"/>
                <a:gd name="T2" fmla="*/ 352 w 542"/>
                <a:gd name="T3" fmla="*/ 81 h 244"/>
                <a:gd name="T4" fmla="*/ 271 w 542"/>
                <a:gd name="T5" fmla="*/ 0 h 244"/>
                <a:gd name="T6" fmla="*/ 190 w 542"/>
                <a:gd name="T7" fmla="*/ 81 h 244"/>
                <a:gd name="T8" fmla="*/ 195 w 542"/>
                <a:gd name="T9" fmla="*/ 108 h 244"/>
                <a:gd name="T10" fmla="*/ 0 w 542"/>
                <a:gd name="T11" fmla="*/ 108 h 244"/>
                <a:gd name="T12" fmla="*/ 0 w 542"/>
                <a:gd name="T13" fmla="*/ 244 h 244"/>
                <a:gd name="T14" fmla="*/ 542 w 542"/>
                <a:gd name="T15" fmla="*/ 244 h 244"/>
                <a:gd name="T16" fmla="*/ 542 w 542"/>
                <a:gd name="T17" fmla="*/ 108 h 244"/>
                <a:gd name="T18" fmla="*/ 347 w 542"/>
                <a:gd name="T19" fmla="*/ 1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2" h="244">
                  <a:moveTo>
                    <a:pt x="347" y="108"/>
                  </a:moveTo>
                  <a:cubicBezTo>
                    <a:pt x="350" y="100"/>
                    <a:pt x="352" y="91"/>
                    <a:pt x="352" y="81"/>
                  </a:cubicBezTo>
                  <a:cubicBezTo>
                    <a:pt x="352" y="36"/>
                    <a:pt x="316" y="0"/>
                    <a:pt x="271" y="0"/>
                  </a:cubicBezTo>
                  <a:cubicBezTo>
                    <a:pt x="226" y="0"/>
                    <a:pt x="190" y="36"/>
                    <a:pt x="190" y="81"/>
                  </a:cubicBezTo>
                  <a:cubicBezTo>
                    <a:pt x="190" y="91"/>
                    <a:pt x="192" y="100"/>
                    <a:pt x="195" y="108"/>
                  </a:cubicBezTo>
                  <a:cubicBezTo>
                    <a:pt x="0" y="108"/>
                    <a:pt x="0" y="108"/>
                    <a:pt x="0" y="108"/>
                  </a:cubicBezTo>
                  <a:cubicBezTo>
                    <a:pt x="0" y="244"/>
                    <a:pt x="0" y="244"/>
                    <a:pt x="0" y="244"/>
                  </a:cubicBezTo>
                  <a:cubicBezTo>
                    <a:pt x="542" y="244"/>
                    <a:pt x="542" y="244"/>
                    <a:pt x="542" y="244"/>
                  </a:cubicBezTo>
                  <a:cubicBezTo>
                    <a:pt x="542" y="108"/>
                    <a:pt x="542" y="108"/>
                    <a:pt x="542" y="108"/>
                  </a:cubicBezTo>
                  <a:lnTo>
                    <a:pt x="347" y="108"/>
                  </a:ln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8" name="Freeform 27"/>
            <p:cNvSpPr>
              <a:spLocks/>
            </p:cNvSpPr>
            <p:nvPr/>
          </p:nvSpPr>
          <p:spPr bwMode="auto">
            <a:xfrm>
              <a:off x="1875" y="73669"/>
              <a:ext cx="2050" cy="315849"/>
            </a:xfrm>
            <a:custGeom>
              <a:avLst/>
              <a:gdLst>
                <a:gd name="T0" fmla="*/ 1665 w 2050"/>
                <a:gd name="T1" fmla="*/ 0 h 2491"/>
                <a:gd name="T2" fmla="*/ 2050 w 2050"/>
                <a:gd name="T3" fmla="*/ 0 h 2491"/>
                <a:gd name="T4" fmla="*/ 2050 w 2050"/>
                <a:gd name="T5" fmla="*/ 2491 h 2491"/>
                <a:gd name="T6" fmla="*/ 0 w 2050"/>
                <a:gd name="T7" fmla="*/ 2491 h 2491"/>
                <a:gd name="T8" fmla="*/ 0 w 2050"/>
                <a:gd name="T9" fmla="*/ 0 h 2491"/>
                <a:gd name="T10" fmla="*/ 385 w 2050"/>
                <a:gd name="T11" fmla="*/ 0 h 2491"/>
              </a:gdLst>
              <a:ahLst/>
              <a:cxnLst>
                <a:cxn ang="0">
                  <a:pos x="T0" y="T1"/>
                </a:cxn>
                <a:cxn ang="0">
                  <a:pos x="T2" y="T3"/>
                </a:cxn>
                <a:cxn ang="0">
                  <a:pos x="T4" y="T5"/>
                </a:cxn>
                <a:cxn ang="0">
                  <a:pos x="T6" y="T7"/>
                </a:cxn>
                <a:cxn ang="0">
                  <a:pos x="T8" y="T9"/>
                </a:cxn>
                <a:cxn ang="0">
                  <a:pos x="T10" y="T11"/>
                </a:cxn>
              </a:cxnLst>
              <a:rect l="0" t="0" r="r" b="b"/>
              <a:pathLst>
                <a:path w="2050" h="2491">
                  <a:moveTo>
                    <a:pt x="1665" y="0"/>
                  </a:moveTo>
                  <a:lnTo>
                    <a:pt x="2050" y="0"/>
                  </a:lnTo>
                  <a:lnTo>
                    <a:pt x="2050" y="2491"/>
                  </a:lnTo>
                  <a:lnTo>
                    <a:pt x="0" y="2491"/>
                  </a:lnTo>
                  <a:lnTo>
                    <a:pt x="0" y="0"/>
                  </a:lnTo>
                  <a:lnTo>
                    <a:pt x="385"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9" name="Freeform 28"/>
            <p:cNvSpPr>
              <a:spLocks/>
            </p:cNvSpPr>
            <p:nvPr/>
          </p:nvSpPr>
          <p:spPr bwMode="auto">
            <a:xfrm>
              <a:off x="2196" y="154565"/>
              <a:ext cx="513" cy="64920"/>
            </a:xfrm>
            <a:custGeom>
              <a:avLst/>
              <a:gdLst>
                <a:gd name="T0" fmla="*/ 513 w 513"/>
                <a:gd name="T1" fmla="*/ 382 h 512"/>
                <a:gd name="T2" fmla="*/ 513 w 513"/>
                <a:gd name="T3" fmla="*/ 512 h 512"/>
                <a:gd name="T4" fmla="*/ 0 w 513"/>
                <a:gd name="T5" fmla="*/ 512 h 512"/>
                <a:gd name="T6" fmla="*/ 0 w 513"/>
                <a:gd name="T7" fmla="*/ 0 h 512"/>
                <a:gd name="T8" fmla="*/ 319 w 513"/>
                <a:gd name="T9" fmla="*/ 0 h 512"/>
              </a:gdLst>
              <a:ahLst/>
              <a:cxnLst>
                <a:cxn ang="0">
                  <a:pos x="T0" y="T1"/>
                </a:cxn>
                <a:cxn ang="0">
                  <a:pos x="T2" y="T3"/>
                </a:cxn>
                <a:cxn ang="0">
                  <a:pos x="T4" y="T5"/>
                </a:cxn>
                <a:cxn ang="0">
                  <a:pos x="T6" y="T7"/>
                </a:cxn>
                <a:cxn ang="0">
                  <a:pos x="T8" y="T9"/>
                </a:cxn>
              </a:cxnLst>
              <a:rect l="0" t="0" r="r" b="b"/>
              <a:pathLst>
                <a:path w="513" h="512">
                  <a:moveTo>
                    <a:pt x="513" y="382"/>
                  </a:moveTo>
                  <a:lnTo>
                    <a:pt x="513" y="512"/>
                  </a:lnTo>
                  <a:lnTo>
                    <a:pt x="0" y="512"/>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0" name="Freeform 29"/>
            <p:cNvSpPr>
              <a:spLocks/>
            </p:cNvSpPr>
            <p:nvPr/>
          </p:nvSpPr>
          <p:spPr bwMode="auto">
            <a:xfrm>
              <a:off x="2388" y="150380"/>
              <a:ext cx="479" cy="44632"/>
            </a:xfrm>
            <a:custGeom>
              <a:avLst/>
              <a:gdLst>
                <a:gd name="T0" fmla="*/ 0 w 479"/>
                <a:gd name="T1" fmla="*/ 224 h 352"/>
                <a:gd name="T2" fmla="*/ 127 w 479"/>
                <a:gd name="T3" fmla="*/ 352 h 352"/>
                <a:gd name="T4" fmla="*/ 479 w 479"/>
                <a:gd name="T5" fmla="*/ 0 h 352"/>
              </a:gdLst>
              <a:ahLst/>
              <a:cxnLst>
                <a:cxn ang="0">
                  <a:pos x="T0" y="T1"/>
                </a:cxn>
                <a:cxn ang="0">
                  <a:pos x="T2" y="T3"/>
                </a:cxn>
                <a:cxn ang="0">
                  <a:pos x="T4" y="T5"/>
                </a:cxn>
              </a:cxnLst>
              <a:rect l="0" t="0" r="r" b="b"/>
              <a:pathLst>
                <a:path w="479" h="352">
                  <a:moveTo>
                    <a:pt x="0" y="224"/>
                  </a:moveTo>
                  <a:lnTo>
                    <a:pt x="127" y="352"/>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1" name="Freeform 30"/>
            <p:cNvSpPr>
              <a:spLocks/>
            </p:cNvSpPr>
            <p:nvPr/>
          </p:nvSpPr>
          <p:spPr bwMode="auto">
            <a:xfrm>
              <a:off x="2196" y="267920"/>
              <a:ext cx="513" cy="64793"/>
            </a:xfrm>
            <a:custGeom>
              <a:avLst/>
              <a:gdLst>
                <a:gd name="T0" fmla="*/ 513 w 513"/>
                <a:gd name="T1" fmla="*/ 384 h 511"/>
                <a:gd name="T2" fmla="*/ 513 w 513"/>
                <a:gd name="T3" fmla="*/ 511 h 511"/>
                <a:gd name="T4" fmla="*/ 0 w 513"/>
                <a:gd name="T5" fmla="*/ 511 h 511"/>
                <a:gd name="T6" fmla="*/ 0 w 513"/>
                <a:gd name="T7" fmla="*/ 0 h 511"/>
                <a:gd name="T8" fmla="*/ 319 w 513"/>
                <a:gd name="T9" fmla="*/ 0 h 511"/>
              </a:gdLst>
              <a:ahLst/>
              <a:cxnLst>
                <a:cxn ang="0">
                  <a:pos x="T0" y="T1"/>
                </a:cxn>
                <a:cxn ang="0">
                  <a:pos x="T2" y="T3"/>
                </a:cxn>
                <a:cxn ang="0">
                  <a:pos x="T4" y="T5"/>
                </a:cxn>
                <a:cxn ang="0">
                  <a:pos x="T6" y="T7"/>
                </a:cxn>
                <a:cxn ang="0">
                  <a:pos x="T8" y="T9"/>
                </a:cxn>
              </a:cxnLst>
              <a:rect l="0" t="0" r="r" b="b"/>
              <a:pathLst>
                <a:path w="513" h="511">
                  <a:moveTo>
                    <a:pt x="513" y="384"/>
                  </a:moveTo>
                  <a:lnTo>
                    <a:pt x="513" y="511"/>
                  </a:lnTo>
                  <a:lnTo>
                    <a:pt x="0" y="511"/>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2" name="Freeform 31"/>
            <p:cNvSpPr>
              <a:spLocks/>
            </p:cNvSpPr>
            <p:nvPr/>
          </p:nvSpPr>
          <p:spPr bwMode="auto">
            <a:xfrm>
              <a:off x="2388" y="263990"/>
              <a:ext cx="479" cy="44505"/>
            </a:xfrm>
            <a:custGeom>
              <a:avLst/>
              <a:gdLst>
                <a:gd name="T0" fmla="*/ 0 w 479"/>
                <a:gd name="T1" fmla="*/ 224 h 351"/>
                <a:gd name="T2" fmla="*/ 127 w 479"/>
                <a:gd name="T3" fmla="*/ 351 h 351"/>
                <a:gd name="T4" fmla="*/ 479 w 479"/>
                <a:gd name="T5" fmla="*/ 0 h 351"/>
              </a:gdLst>
              <a:ahLst/>
              <a:cxnLst>
                <a:cxn ang="0">
                  <a:pos x="T0" y="T1"/>
                </a:cxn>
                <a:cxn ang="0">
                  <a:pos x="T2" y="T3"/>
                </a:cxn>
                <a:cxn ang="0">
                  <a:pos x="T4" y="T5"/>
                </a:cxn>
              </a:cxnLst>
              <a:rect l="0" t="0" r="r" b="b"/>
              <a:pathLst>
                <a:path w="479" h="351">
                  <a:moveTo>
                    <a:pt x="0" y="224"/>
                  </a:moveTo>
                  <a:lnTo>
                    <a:pt x="127" y="351"/>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3" name="Line 32"/>
            <p:cNvSpPr>
              <a:spLocks noChangeShapeType="1"/>
            </p:cNvSpPr>
            <p:nvPr/>
          </p:nvSpPr>
          <p:spPr bwMode="auto">
            <a:xfrm>
              <a:off x="3028" y="170794"/>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4" name="Line 33"/>
            <p:cNvSpPr>
              <a:spLocks noChangeShapeType="1"/>
            </p:cNvSpPr>
            <p:nvPr/>
          </p:nvSpPr>
          <p:spPr bwMode="auto">
            <a:xfrm>
              <a:off x="3028" y="203001"/>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5" name="Line 34"/>
            <p:cNvSpPr>
              <a:spLocks noChangeShapeType="1"/>
            </p:cNvSpPr>
            <p:nvPr/>
          </p:nvSpPr>
          <p:spPr bwMode="auto">
            <a:xfrm>
              <a:off x="3028" y="284277"/>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6" name="Line 35"/>
            <p:cNvSpPr>
              <a:spLocks noChangeShapeType="1"/>
            </p:cNvSpPr>
            <p:nvPr/>
          </p:nvSpPr>
          <p:spPr bwMode="auto">
            <a:xfrm>
              <a:off x="3028" y="316822"/>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grpSp>
      <p:sp>
        <p:nvSpPr>
          <p:cNvPr id="40" name="Text Placeholder 39"/>
          <p:cNvSpPr>
            <a:spLocks noGrp="1"/>
          </p:cNvSpPr>
          <p:nvPr>
            <p:ph type="body" sz="quarter" idx="13"/>
          </p:nvPr>
        </p:nvSpPr>
        <p:spPr>
          <a:xfrm>
            <a:off x="760294"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a:xfrm>
            <a:off x="4189643"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a:xfrm>
            <a:off x="7620289"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623657"/>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4" name="Picture Placeholder 3"/>
          <p:cNvSpPr>
            <a:spLocks noGrp="1"/>
          </p:cNvSpPr>
          <p:nvPr>
            <p:ph type="pic" sz="quarter" idx="28"/>
          </p:nvPr>
        </p:nvSpPr>
        <p:spPr>
          <a:xfrm>
            <a:off x="5714803" y="525"/>
            <a:ext cx="6478070" cy="6857475"/>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97505911-0C35-40AF-A96C-F54BC35CB9D8}" type="datetime5">
              <a:rPr lang="en-US" smtClean="0"/>
              <a:t>6-Oct-21</a:t>
            </a:fld>
            <a:endParaRPr lang="en-US"/>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a:t>FOOTER / PRESENTATION NAME</a:t>
            </a:r>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923293285"/>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p>
        </p:txBody>
      </p:sp>
      <p:sp>
        <p:nvSpPr>
          <p:cNvPr id="21" name="Picture Placeholder 3"/>
          <p:cNvSpPr>
            <a:spLocks noGrp="1"/>
          </p:cNvSpPr>
          <p:nvPr>
            <p:ph type="pic" sz="quarter" idx="26"/>
          </p:nvPr>
        </p:nvSpPr>
        <p:spPr>
          <a:xfrm>
            <a:off x="5715327" y="524"/>
            <a:ext cx="3046950" cy="3428476"/>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23" name="Picture Placeholder 3"/>
          <p:cNvSpPr>
            <a:spLocks noGrp="1"/>
          </p:cNvSpPr>
          <p:nvPr>
            <p:ph type="pic" sz="quarter" idx="27"/>
          </p:nvPr>
        </p:nvSpPr>
        <p:spPr>
          <a:xfrm>
            <a:off x="5713753" y="3429001"/>
            <a:ext cx="3047474" cy="3428473"/>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24" name="Picture Placeholder 3"/>
          <p:cNvSpPr>
            <a:spLocks noGrp="1"/>
          </p:cNvSpPr>
          <p:nvPr>
            <p:ph type="pic" sz="quarter" idx="28"/>
          </p:nvPr>
        </p:nvSpPr>
        <p:spPr>
          <a:xfrm>
            <a:off x="8763153" y="525"/>
            <a:ext cx="3429720" cy="685747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DD13CB68-EEA8-4667-96A4-D0960767637B}" type="datetime5">
              <a:rPr lang="en-US" smtClean="0"/>
              <a:t>6-Oct-21</a:t>
            </a:fld>
            <a:endParaRPr lang="en-US"/>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a:t>FOOTER / PRESENTATION NAME</a:t>
            </a:r>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799544183"/>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10" name="Picture Placeholder 3"/>
          <p:cNvSpPr>
            <a:spLocks noGrp="1"/>
          </p:cNvSpPr>
          <p:nvPr>
            <p:ph type="pic" sz="quarter" idx="27"/>
          </p:nvPr>
        </p:nvSpPr>
        <p:spPr>
          <a:xfrm>
            <a:off x="762220" y="762234"/>
            <a:ext cx="1904583" cy="5333533"/>
          </a:xfrm>
          <a:solidFill>
            <a:schemeClr val="bg2">
              <a:lumMod val="60000"/>
              <a:lumOff val="40000"/>
            </a:schemeClr>
          </a:solidFill>
        </p:spPr>
        <p:txBody>
          <a:bodyPr anchor="ctr"/>
          <a:lstStyle>
            <a:lvl1pPr algn="ctr">
              <a:defRPr b="0">
                <a:solidFill>
                  <a:schemeClr val="bg1"/>
                </a:solidFill>
              </a:defRPr>
            </a:lvl1pPr>
          </a:lstStyle>
          <a:p>
            <a:r>
              <a:rPr lang="en-US" noProof="0"/>
              <a:t>Click icon to add picture</a:t>
            </a:r>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1" name="Picture Placeholder 3"/>
          <p:cNvSpPr>
            <a:spLocks noGrp="1"/>
          </p:cNvSpPr>
          <p:nvPr>
            <p:ph type="pic" sz="quarter" idx="23"/>
          </p:nvPr>
        </p:nvSpPr>
        <p:spPr>
          <a:xfrm>
            <a:off x="9144176" y="762234"/>
            <a:ext cx="2286130" cy="266676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a:xfrm>
            <a:off x="7620088" y="3429001"/>
            <a:ext cx="3809518" cy="2667466"/>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3" name="Titel 2"/>
          <p:cNvSpPr>
            <a:spLocks noGrp="1"/>
          </p:cNvSpPr>
          <p:nvPr>
            <p:ph type="title"/>
          </p:nvPr>
        </p:nvSpPr>
        <p:spPr bwMode="gray">
          <a:xfrm>
            <a:off x="760293" y="381466"/>
            <a:ext cx="5335707" cy="380942"/>
          </a:xfrm>
        </p:spPr>
        <p:txBody>
          <a:bodyPr/>
          <a:lstStyle>
            <a:lvl1pPr>
              <a:defRPr b="0" i="0">
                <a:latin typeface="adineue TEXT Black" panose="020B0A03020201060004" pitchFamily="34" charset="0"/>
              </a:defRPr>
            </a:lvl1pPr>
          </a:lstStyle>
          <a:p>
            <a:r>
              <a:rPr lang="en-US" noProof="0"/>
              <a:t>Click to edit Master title style</a:t>
            </a:r>
          </a:p>
        </p:txBody>
      </p:sp>
      <p:sp>
        <p:nvSpPr>
          <p:cNvPr id="14" name="Picture Placeholder 3"/>
          <p:cNvSpPr>
            <a:spLocks noGrp="1"/>
          </p:cNvSpPr>
          <p:nvPr>
            <p:ph type="pic" sz="quarter" idx="28"/>
          </p:nvPr>
        </p:nvSpPr>
        <p:spPr>
          <a:xfrm>
            <a:off x="2667679" y="762234"/>
            <a:ext cx="2664878" cy="1524467"/>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15" name="Picture Placeholder 3"/>
          <p:cNvSpPr>
            <a:spLocks noGrp="1"/>
          </p:cNvSpPr>
          <p:nvPr>
            <p:ph type="pic" sz="quarter" idx="29"/>
          </p:nvPr>
        </p:nvSpPr>
        <p:spPr>
          <a:xfrm>
            <a:off x="2667330" y="2285827"/>
            <a:ext cx="2665228" cy="1905407"/>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16" name="Picture Placeholder 3"/>
          <p:cNvSpPr>
            <a:spLocks noGrp="1"/>
          </p:cNvSpPr>
          <p:nvPr>
            <p:ph type="pic" sz="quarter" idx="30"/>
          </p:nvPr>
        </p:nvSpPr>
        <p:spPr>
          <a:xfrm>
            <a:off x="2667679" y="4191234"/>
            <a:ext cx="2664878" cy="1904534"/>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2" name="Date Placeholder 1"/>
          <p:cNvSpPr>
            <a:spLocks noGrp="1"/>
          </p:cNvSpPr>
          <p:nvPr>
            <p:ph type="dt" sz="half" idx="31"/>
          </p:nvPr>
        </p:nvSpPr>
        <p:spPr/>
        <p:txBody>
          <a:bodyPr/>
          <a:lstStyle/>
          <a:p>
            <a:pPr>
              <a:defRPr/>
            </a:pPr>
            <a:fld id="{B81F42A3-4FA2-4AA8-8DB5-2513CBF9F6C9}" type="datetime5">
              <a:rPr lang="en-US" smtClean="0"/>
              <a:t>6-Oct-21</a:t>
            </a:fld>
            <a:endParaRPr lang="en-US"/>
          </a:p>
        </p:txBody>
      </p:sp>
      <p:sp>
        <p:nvSpPr>
          <p:cNvPr id="5" name="Footer Placeholder 4"/>
          <p:cNvSpPr>
            <a:spLocks noGrp="1"/>
          </p:cNvSpPr>
          <p:nvPr>
            <p:ph type="ftr" sz="quarter" idx="32"/>
          </p:nvPr>
        </p:nvSpPr>
        <p:spPr/>
        <p:txBody>
          <a:bodyPr/>
          <a:lstStyle/>
          <a:p>
            <a:pPr>
              <a:defRPr/>
            </a:pPr>
            <a:r>
              <a:rPr lang="en-US"/>
              <a:t>FOOTER / PRESENTATION NAME</a:t>
            </a:r>
          </a:p>
        </p:txBody>
      </p:sp>
      <p:sp>
        <p:nvSpPr>
          <p:cNvPr id="6" name="Slide Number Placeholder 5"/>
          <p:cNvSpPr>
            <a:spLocks noGrp="1"/>
          </p:cNvSpPr>
          <p:nvPr>
            <p:ph type="sldNum" sz="quarter" idx="33"/>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901257889"/>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p>
        </p:txBody>
      </p:sp>
      <p:sp>
        <p:nvSpPr>
          <p:cNvPr id="6" name="Picture Placeholder 5"/>
          <p:cNvSpPr>
            <a:spLocks noGrp="1"/>
          </p:cNvSpPr>
          <p:nvPr>
            <p:ph type="pic" sz="quarter" idx="22"/>
          </p:nvPr>
        </p:nvSpPr>
        <p:spPr>
          <a:xfrm>
            <a:off x="760294" y="762234"/>
            <a:ext cx="3809869" cy="5333533"/>
          </a:xfrm>
          <a:solidFill>
            <a:schemeClr val="bg2"/>
          </a:solidFill>
        </p:spPr>
        <p:txBody>
          <a:bodyPr anchor="ctr"/>
          <a:lstStyle>
            <a:lvl1pPr algn="ctr">
              <a:defRPr b="0">
                <a:solidFill>
                  <a:srgbClr val="FAFAFA"/>
                </a:solidFill>
              </a:defRPr>
            </a:lvl1pPr>
          </a:lstStyle>
          <a:p>
            <a:r>
              <a:rPr lang="en-US" noProof="0"/>
              <a:t>Click icon to add picture</a:t>
            </a:r>
          </a:p>
        </p:txBody>
      </p:sp>
      <p:sp>
        <p:nvSpPr>
          <p:cNvPr id="3" name="Titel 2"/>
          <p:cNvSpPr>
            <a:spLocks noGrp="1"/>
          </p:cNvSpPr>
          <p:nvPr>
            <p:ph type="title"/>
          </p:nvPr>
        </p:nvSpPr>
        <p:spPr bwMode="gray">
          <a:xfrm>
            <a:off x="5333957" y="1904533"/>
            <a:ext cx="5715329" cy="1905407"/>
          </a:xfrm>
        </p:spPr>
        <p:txBody>
          <a:bodyPr anchor="b"/>
          <a:lstStyle>
            <a:lvl1pPr>
              <a:defRPr sz="4233" b="0" i="0">
                <a:latin typeface="adineue TEXT Black" panose="020B0A03020201060004" pitchFamily="34" charset="0"/>
              </a:defRPr>
            </a:lvl1pPr>
          </a:lstStyle>
          <a:p>
            <a:r>
              <a:rPr lang="en-US" noProof="0"/>
              <a:t>Click to edit Master title style</a:t>
            </a:r>
          </a:p>
        </p:txBody>
      </p:sp>
      <p:sp>
        <p:nvSpPr>
          <p:cNvPr id="4" name="Text Placeholder 3"/>
          <p:cNvSpPr>
            <a:spLocks noGrp="1"/>
          </p:cNvSpPr>
          <p:nvPr>
            <p:ph type="body" sz="quarter" idx="18"/>
          </p:nvPr>
        </p:nvSpPr>
        <p:spPr>
          <a:xfrm>
            <a:off x="5332556" y="3809941"/>
            <a:ext cx="5281083" cy="2285650"/>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p:cNvSpPr>
            <a:spLocks noGrp="1"/>
          </p:cNvSpPr>
          <p:nvPr>
            <p:ph type="dt" sz="half" idx="23"/>
          </p:nvPr>
        </p:nvSpPr>
        <p:spPr/>
        <p:txBody>
          <a:bodyPr/>
          <a:lstStyle/>
          <a:p>
            <a:pPr>
              <a:defRPr/>
            </a:pPr>
            <a:fld id="{43A8A9F0-1118-45DA-A54C-4AFA130E7F25}" type="datetime5">
              <a:rPr lang="en-US" smtClean="0"/>
              <a:t>6-Oct-21</a:t>
            </a:fld>
            <a:endParaRPr lang="en-US"/>
          </a:p>
        </p:txBody>
      </p:sp>
      <p:sp>
        <p:nvSpPr>
          <p:cNvPr id="7" name="Footer Placeholder 6"/>
          <p:cNvSpPr>
            <a:spLocks noGrp="1"/>
          </p:cNvSpPr>
          <p:nvPr>
            <p:ph type="ftr" sz="quarter" idx="24"/>
          </p:nvPr>
        </p:nvSpPr>
        <p:spPr/>
        <p:txBody>
          <a:bodyPr/>
          <a:lstStyle/>
          <a:p>
            <a:pPr>
              <a:defRPr/>
            </a:pPr>
            <a:r>
              <a:rPr lang="en-US"/>
              <a:t>FOOTER / PRESENTATION NAME</a:t>
            </a:r>
          </a:p>
        </p:txBody>
      </p:sp>
      <p:sp>
        <p:nvSpPr>
          <p:cNvPr id="11" name="Slide Number Placeholder 10"/>
          <p:cNvSpPr>
            <a:spLocks noGrp="1"/>
          </p:cNvSpPr>
          <p:nvPr>
            <p:ph type="sldNum" sz="quarter" idx="25"/>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966294936"/>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tx2"/>
                </a:solidFill>
              </a:defRPr>
            </a:lvl1pPr>
          </a:lstStyle>
          <a:p>
            <a:pPr lvl="0"/>
            <a:r>
              <a:rPr lang="en-US" noProof="0"/>
              <a:t>Click icon to add picture</a:t>
            </a:r>
          </a:p>
        </p:txBody>
      </p:sp>
      <p:sp>
        <p:nvSpPr>
          <p:cNvPr id="6" name="Picture Placeholder 5"/>
          <p:cNvSpPr>
            <a:spLocks noGrp="1"/>
          </p:cNvSpPr>
          <p:nvPr>
            <p:ph type="pic" sz="quarter" idx="22"/>
          </p:nvPr>
        </p:nvSpPr>
        <p:spPr>
          <a:xfrm>
            <a:off x="760295" y="762233"/>
            <a:ext cx="4954633" cy="5715525"/>
          </a:xfrm>
          <a:solidFill>
            <a:schemeClr val="bg2">
              <a:lumMod val="40000"/>
              <a:lumOff val="60000"/>
            </a:schemeClr>
          </a:solidFill>
        </p:spPr>
        <p:txBody>
          <a:bodyPr anchor="ctr"/>
          <a:lstStyle>
            <a:lvl1pPr algn="ctr">
              <a:defRPr b="0"/>
            </a:lvl1pPr>
          </a:lstStyle>
          <a:p>
            <a:r>
              <a:rPr lang="en-US" noProof="0"/>
              <a:t>Click icon to add picture</a:t>
            </a:r>
          </a:p>
        </p:txBody>
      </p:sp>
      <p:sp>
        <p:nvSpPr>
          <p:cNvPr id="3" name="Titel 2"/>
          <p:cNvSpPr>
            <a:spLocks noGrp="1"/>
          </p:cNvSpPr>
          <p:nvPr>
            <p:ph type="title"/>
          </p:nvPr>
        </p:nvSpPr>
        <p:spPr bwMode="gray">
          <a:xfrm>
            <a:off x="6094950" y="3060188"/>
            <a:ext cx="4952409" cy="3035403"/>
          </a:xfrm>
        </p:spPr>
        <p:txBody>
          <a:bodyPr/>
          <a:lstStyle>
            <a:lvl1pPr>
              <a:defRPr sz="4233" b="0" i="0">
                <a:solidFill>
                  <a:schemeClr val="bg1"/>
                </a:solidFill>
                <a:latin typeface="adineue TEXT Black" panose="020B0A03020201060004" pitchFamily="34" charset="0"/>
              </a:defRPr>
            </a:lvl1pPr>
          </a:lstStyle>
          <a:p>
            <a:r>
              <a:rPr lang="en-US" noProof="0"/>
              <a:t>Click to edit Master title style</a:t>
            </a:r>
          </a:p>
        </p:txBody>
      </p:sp>
      <p:sp>
        <p:nvSpPr>
          <p:cNvPr id="4" name="Date Placeholder 3"/>
          <p:cNvSpPr>
            <a:spLocks noGrp="1"/>
          </p:cNvSpPr>
          <p:nvPr>
            <p:ph type="dt" sz="half" idx="23"/>
          </p:nvPr>
        </p:nvSpPr>
        <p:spPr/>
        <p:txBody>
          <a:bodyPr/>
          <a:lstStyle>
            <a:lvl1pPr>
              <a:defRPr>
                <a:solidFill>
                  <a:schemeClr val="bg1"/>
                </a:solidFill>
              </a:defRPr>
            </a:lvl1pPr>
          </a:lstStyle>
          <a:p>
            <a:pPr>
              <a:defRPr/>
            </a:pPr>
            <a:fld id="{90D112CA-7FD4-48A6-9DA2-04418FBA3431}" type="datetime5">
              <a:rPr lang="en-US" smtClean="0"/>
              <a:t>6-Oct-21</a:t>
            </a:fld>
            <a:endParaRPr lang="en-US"/>
          </a:p>
        </p:txBody>
      </p:sp>
      <p:sp>
        <p:nvSpPr>
          <p:cNvPr id="5" name="Footer Placeholder 4"/>
          <p:cNvSpPr>
            <a:spLocks noGrp="1"/>
          </p:cNvSpPr>
          <p:nvPr>
            <p:ph type="ftr" sz="quarter" idx="24"/>
          </p:nvPr>
        </p:nvSpPr>
        <p:spPr/>
        <p:txBody>
          <a:bodyPr/>
          <a:lstStyle>
            <a:lvl1pPr>
              <a:defRPr>
                <a:solidFill>
                  <a:schemeClr val="bg1"/>
                </a:solidFill>
              </a:defRPr>
            </a:lvl1pPr>
          </a:lstStyle>
          <a:p>
            <a:pPr>
              <a:defRPr/>
            </a:pPr>
            <a:r>
              <a:rPr lang="en-US"/>
              <a:t>FOOTER / PRESENTATION NAME</a:t>
            </a:r>
          </a:p>
        </p:txBody>
      </p:sp>
      <p:sp>
        <p:nvSpPr>
          <p:cNvPr id="7" name="Slide Number Placeholder 6"/>
          <p:cNvSpPr>
            <a:spLocks noGrp="1"/>
          </p:cNvSpPr>
          <p:nvPr>
            <p:ph type="sldNum" sz="quarter" idx="25"/>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321311031"/>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bg1"/>
                </a:solidFill>
              </a:defRPr>
            </a:lvl1pPr>
          </a:lstStyle>
          <a:p>
            <a:pPr lvl="0"/>
            <a:r>
              <a:rPr lang="en-US" noProof="0"/>
              <a:t>Click icon to add picture</a:t>
            </a:r>
          </a:p>
        </p:txBody>
      </p:sp>
      <p:sp>
        <p:nvSpPr>
          <p:cNvPr id="3" name="Titel 2"/>
          <p:cNvSpPr>
            <a:spLocks noGrp="1"/>
          </p:cNvSpPr>
          <p:nvPr>
            <p:ph type="title"/>
          </p:nvPr>
        </p:nvSpPr>
        <p:spPr bwMode="gray">
          <a:xfrm>
            <a:off x="760294" y="2286701"/>
            <a:ext cx="6097050" cy="3808890"/>
          </a:xfrm>
        </p:spPr>
        <p:txBody>
          <a:bodyPr/>
          <a:lstStyle>
            <a:lvl1pPr>
              <a:defRPr sz="5291" b="0" i="0">
                <a:solidFill>
                  <a:schemeClr val="bg1"/>
                </a:solidFill>
                <a:latin typeface="adineue TEXT Black" panose="020B0A03020201060004" pitchFamily="34" charset="0"/>
              </a:defRPr>
            </a:lvl1pPr>
          </a:lstStyle>
          <a:p>
            <a:r>
              <a:rPr lang="en-US" noProof="0"/>
              <a:t>Click to edit Master title style</a:t>
            </a:r>
          </a:p>
        </p:txBody>
      </p:sp>
      <p:sp>
        <p:nvSpPr>
          <p:cNvPr id="4" name="Date Placeholder 3"/>
          <p:cNvSpPr>
            <a:spLocks noGrp="1"/>
          </p:cNvSpPr>
          <p:nvPr>
            <p:ph type="dt" sz="half" idx="15"/>
          </p:nvPr>
        </p:nvSpPr>
        <p:spPr/>
        <p:txBody>
          <a:bodyPr/>
          <a:lstStyle>
            <a:lvl1pPr>
              <a:defRPr>
                <a:solidFill>
                  <a:schemeClr val="bg1"/>
                </a:solidFill>
              </a:defRPr>
            </a:lvl1pPr>
          </a:lstStyle>
          <a:p>
            <a:pPr>
              <a:defRPr/>
            </a:pPr>
            <a:fld id="{B7EC93BD-8D34-4571-B052-D3F7EF6AF078}" type="datetime5">
              <a:rPr lang="en-US" smtClean="0"/>
              <a:t>6-Oct-21</a:t>
            </a:fld>
            <a:endParaRPr lang="en-US"/>
          </a:p>
        </p:txBody>
      </p:sp>
      <p:sp>
        <p:nvSpPr>
          <p:cNvPr id="5" name="Footer Placeholder 4"/>
          <p:cNvSpPr>
            <a:spLocks noGrp="1"/>
          </p:cNvSpPr>
          <p:nvPr>
            <p:ph type="ftr" sz="quarter" idx="16"/>
          </p:nvPr>
        </p:nvSpPr>
        <p:spPr/>
        <p:txBody>
          <a:bodyPr/>
          <a:lstStyle>
            <a:lvl1pPr>
              <a:defRPr>
                <a:solidFill>
                  <a:schemeClr val="bg1"/>
                </a:solidFill>
              </a:defRPr>
            </a:lvl1pPr>
          </a:lstStyle>
          <a:p>
            <a:pPr>
              <a:defRPr/>
            </a:pPr>
            <a:r>
              <a:rPr lang="en-US"/>
              <a:t>FOOTER / PRESENTATION NAME</a:t>
            </a:r>
          </a:p>
        </p:txBody>
      </p:sp>
      <p:sp>
        <p:nvSpPr>
          <p:cNvPr id="6" name="Slide Number Placeholder 5"/>
          <p:cNvSpPr>
            <a:spLocks noGrp="1"/>
          </p:cNvSpPr>
          <p:nvPr>
            <p:ph type="sldNum" sz="quarter" idx="17"/>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452329812"/>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 Image (L)">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4190904" y="381455"/>
            <a:ext cx="7620445" cy="6095091"/>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endParaRPr lang="en-US" noProof="0" dirty="0"/>
          </a:p>
        </p:txBody>
      </p:sp>
      <p:sp>
        <p:nvSpPr>
          <p:cNvPr id="4" name="Text Placeholder 3"/>
          <p:cNvSpPr>
            <a:spLocks noGrp="1"/>
          </p:cNvSpPr>
          <p:nvPr>
            <p:ph type="body" sz="quarter" idx="18"/>
          </p:nvPr>
        </p:nvSpPr>
        <p:spPr bwMode="gray">
          <a:xfrm>
            <a:off x="380672" y="1524284"/>
            <a:ext cx="3047870" cy="4571483"/>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noProof="0" dirty="0"/>
          </a:p>
        </p:txBody>
      </p:sp>
      <p:sp>
        <p:nvSpPr>
          <p:cNvPr id="9" name="Slide Number Placeholder 8">
            <a:extLst>
              <a:ext uri="{FF2B5EF4-FFF2-40B4-BE49-F238E27FC236}">
                <a16:creationId xmlns:a16="http://schemas.microsoft.com/office/drawing/2014/main" id="{95237B40-96CE-407E-9B62-DBF5BCDCA0B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C6B79386-AA9E-4FAF-845D-D89611646265}"/>
              </a:ext>
            </a:extLst>
          </p:cNvPr>
          <p:cNvSpPr>
            <a:spLocks noGrp="1"/>
          </p:cNvSpPr>
          <p:nvPr>
            <p:ph type="title"/>
          </p:nvPr>
        </p:nvSpPr>
        <p:spPr>
          <a:xfrm>
            <a:off x="380672" y="381455"/>
            <a:ext cx="3047870" cy="380943"/>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B7249BBC-123A-4F76-94A8-07D94D51A1F6}"/>
              </a:ext>
            </a:extLst>
          </p:cNvPr>
          <p:cNvSpPr>
            <a:spLocks noGrp="1"/>
          </p:cNvSpPr>
          <p:nvPr>
            <p:ph type="dt" sz="half" idx="30"/>
          </p:nvPr>
        </p:nvSpPr>
        <p:spPr/>
        <p:txBody>
          <a:bodyPr/>
          <a:lstStyle/>
          <a:p>
            <a:fld id="{ED70A0DF-A467-42E7-AC36-7470BA091BFE}" type="datetime5">
              <a:rPr lang="en-US" smtClean="0"/>
              <a:t>6-Oct-21</a:t>
            </a:fld>
            <a:endParaRPr lang="en-US" dirty="0"/>
          </a:p>
        </p:txBody>
      </p:sp>
      <p:sp>
        <p:nvSpPr>
          <p:cNvPr id="5" name="Footer Placeholder 4">
            <a:extLst>
              <a:ext uri="{FF2B5EF4-FFF2-40B4-BE49-F238E27FC236}">
                <a16:creationId xmlns:a16="http://schemas.microsoft.com/office/drawing/2014/main" id="{E385FF3D-D193-4372-9A64-46D5247451DD}"/>
              </a:ext>
            </a:extLst>
          </p:cNvPr>
          <p:cNvSpPr>
            <a:spLocks noGrp="1"/>
          </p:cNvSpPr>
          <p:nvPr>
            <p:ph type="ftr" sz="quarter" idx="31"/>
          </p:nvPr>
        </p:nvSpPr>
        <p:spPr/>
        <p:txBody>
          <a:bodyPr/>
          <a:lstStyle/>
          <a:p>
            <a:pPr defTabSz="1218764">
              <a:lnSpc>
                <a:spcPct val="80000"/>
              </a:lnSpc>
            </a:pPr>
            <a:r>
              <a:rPr lang="en-US"/>
              <a:t>FOOTER / PRESENTATION NAME</a:t>
            </a:r>
            <a:endParaRPr lang="en-US" dirty="0"/>
          </a:p>
        </p:txBody>
      </p:sp>
      <p:sp>
        <p:nvSpPr>
          <p:cNvPr id="11" name="Text Placeholder 15">
            <a:extLst>
              <a:ext uri="{FF2B5EF4-FFF2-40B4-BE49-F238E27FC236}">
                <a16:creationId xmlns:a16="http://schemas.microsoft.com/office/drawing/2014/main" id="{DD649011-4EDF-4409-BCC4-CB4C98BD5DFE}"/>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dirty="0"/>
              <a:t>Click to edit Master text style</a:t>
            </a:r>
            <a:endParaRPr lang="en-US"/>
          </a:p>
        </p:txBody>
      </p:sp>
    </p:spTree>
    <p:extLst>
      <p:ext uri="{BB962C8B-B14F-4D97-AF65-F5344CB8AC3E}">
        <p14:creationId xmlns:p14="http://schemas.microsoft.com/office/powerpoint/2010/main" val="32858056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mage + Message (4)">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 y="0"/>
            <a:ext cx="12192000" cy="6858001"/>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p>
        </p:txBody>
      </p:sp>
      <p:sp>
        <p:nvSpPr>
          <p:cNvPr id="3" name="Titel 2"/>
          <p:cNvSpPr>
            <a:spLocks noGrp="1"/>
          </p:cNvSpPr>
          <p:nvPr>
            <p:ph type="title" hasCustomPrompt="1"/>
          </p:nvPr>
        </p:nvSpPr>
        <p:spPr bwMode="gray">
          <a:xfrm>
            <a:off x="2285082" y="1905232"/>
            <a:ext cx="7619736" cy="1142300"/>
          </a:xfrm>
        </p:spPr>
        <p:txBody>
          <a:bodyPr anchor="b"/>
          <a:lstStyle>
            <a:lvl1pPr algn="ctr">
              <a:lnSpc>
                <a:spcPct val="70000"/>
              </a:lnSpc>
              <a:defRPr sz="4762" b="0" i="0">
                <a:solidFill>
                  <a:schemeClr val="bg1"/>
                </a:solidFill>
                <a:latin typeface="adineue TEXT Black" panose="020B0A03020201060004" pitchFamily="34" charset="0"/>
              </a:defRPr>
            </a:lvl1pPr>
          </a:lstStyle>
          <a:p>
            <a:pPr lvl="0"/>
            <a:r>
              <a:rPr lang="en-US"/>
              <a:t>Click to edit </a:t>
            </a:r>
            <a:br>
              <a:rPr lang="en-US"/>
            </a:br>
            <a:r>
              <a:rPr lang="en-US"/>
              <a:t>Master title style</a:t>
            </a:r>
            <a:endParaRPr lang="de-DE"/>
          </a:p>
        </p:txBody>
      </p:sp>
      <p:sp>
        <p:nvSpPr>
          <p:cNvPr id="8" name="Text Placeholder 3"/>
          <p:cNvSpPr>
            <a:spLocks noGrp="1"/>
          </p:cNvSpPr>
          <p:nvPr>
            <p:ph type="body" sz="quarter" idx="18" hasCustomPrompt="1"/>
          </p:nvPr>
        </p:nvSpPr>
        <p:spPr>
          <a:xfrm>
            <a:off x="3047826" y="3428999"/>
            <a:ext cx="6094948" cy="2286701"/>
          </a:xfrm>
        </p:spPr>
        <p:txBody>
          <a:bodyPr anchor="t"/>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
        <p:nvSpPr>
          <p:cNvPr id="2" name="Date Placeholder 1"/>
          <p:cNvSpPr>
            <a:spLocks noGrp="1"/>
          </p:cNvSpPr>
          <p:nvPr>
            <p:ph type="dt" sz="half" idx="19"/>
          </p:nvPr>
        </p:nvSpPr>
        <p:spPr/>
        <p:txBody>
          <a:bodyPr/>
          <a:lstStyle>
            <a:lvl1pPr>
              <a:defRPr>
                <a:solidFill>
                  <a:schemeClr val="bg1"/>
                </a:solidFill>
              </a:defRPr>
            </a:lvl1pPr>
          </a:lstStyle>
          <a:p>
            <a:pPr>
              <a:defRPr/>
            </a:pPr>
            <a:fld id="{6EBA9474-2CA1-4DA7-AD74-92B3C37140B9}" type="datetime5">
              <a:rPr lang="en-US" smtClean="0"/>
              <a:t>6-Oct-21</a:t>
            </a:fld>
            <a:endParaRPr lang="en-US"/>
          </a:p>
        </p:txBody>
      </p:sp>
      <p:sp>
        <p:nvSpPr>
          <p:cNvPr id="4" name="Footer Placeholder 3"/>
          <p:cNvSpPr>
            <a:spLocks noGrp="1"/>
          </p:cNvSpPr>
          <p:nvPr>
            <p:ph type="ftr" sz="quarter" idx="20"/>
          </p:nvPr>
        </p:nvSpPr>
        <p:spPr/>
        <p:txBody>
          <a:bodyPr/>
          <a:lstStyle>
            <a:lvl1pPr>
              <a:defRPr>
                <a:solidFill>
                  <a:schemeClr val="bg1"/>
                </a:solidFill>
              </a:defRPr>
            </a:lvl1pPr>
          </a:lstStyle>
          <a:p>
            <a:pPr>
              <a:defRPr/>
            </a:pPr>
            <a:r>
              <a:rPr lang="en-US"/>
              <a:t>FOOTER / PRESENTATION NAME</a:t>
            </a:r>
          </a:p>
        </p:txBody>
      </p:sp>
      <p:sp>
        <p:nvSpPr>
          <p:cNvPr id="5" name="Slide Number Placeholder 4"/>
          <p:cNvSpPr>
            <a:spLocks noGrp="1"/>
          </p:cNvSpPr>
          <p:nvPr>
            <p:ph type="sldNum" sz="quarter" idx="2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530094689"/>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mage + Message (5)">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a:solidFill>
                  <a:schemeClr val="tx1"/>
                </a:solidFill>
              </a:defRPr>
            </a:lvl1pPr>
          </a:lstStyle>
          <a:p>
            <a:r>
              <a:rPr lang="en-US"/>
              <a:t>Click icon to add picture</a:t>
            </a:r>
          </a:p>
        </p:txBody>
      </p:sp>
      <p:sp>
        <p:nvSpPr>
          <p:cNvPr id="2" name="Titel 1"/>
          <p:cNvSpPr>
            <a:spLocks noGrp="1"/>
          </p:cNvSpPr>
          <p:nvPr>
            <p:ph type="title"/>
          </p:nvPr>
        </p:nvSpPr>
        <p:spPr bwMode="gray">
          <a:xfrm>
            <a:off x="380149" y="382167"/>
            <a:ext cx="5334656" cy="760133"/>
          </a:xfrm>
        </p:spPr>
        <p:txBody>
          <a:bodyPr/>
          <a:lstStyle>
            <a:lvl1pPr>
              <a:defRPr b="0"/>
            </a:lvl1pPr>
          </a:lstStyle>
          <a:p>
            <a:r>
              <a:rPr lang="en-US"/>
              <a:t>Click to edit Master title style</a:t>
            </a:r>
            <a:endParaRPr lang="de-DE"/>
          </a:p>
        </p:txBody>
      </p:sp>
      <p:sp>
        <p:nvSpPr>
          <p:cNvPr id="6" name="Picture Placeholder 5"/>
          <p:cNvSpPr>
            <a:spLocks noGrp="1"/>
          </p:cNvSpPr>
          <p:nvPr>
            <p:ph type="pic" sz="quarter" idx="27"/>
          </p:nvPr>
        </p:nvSpPr>
        <p:spPr>
          <a:xfrm>
            <a:off x="6857343" y="1142299"/>
            <a:ext cx="4190016" cy="4573400"/>
          </a:xfrm>
          <a:solidFill>
            <a:schemeClr val="bg2"/>
          </a:solidFill>
        </p:spPr>
        <p:txBody>
          <a:bodyPr anchor="ctr"/>
          <a:lstStyle>
            <a:lvl1pPr algn="ctr">
              <a:defRPr b="0">
                <a:solidFill>
                  <a:schemeClr val="bg1"/>
                </a:solidFill>
              </a:defRPr>
            </a:lvl1pPr>
          </a:lstStyle>
          <a:p>
            <a:r>
              <a:rPr lang="en-US"/>
              <a:t>Click icon to add picture</a:t>
            </a:r>
          </a:p>
        </p:txBody>
      </p:sp>
      <p:sp>
        <p:nvSpPr>
          <p:cNvPr id="7" name="Date Placeholder 6"/>
          <p:cNvSpPr>
            <a:spLocks noGrp="1"/>
          </p:cNvSpPr>
          <p:nvPr>
            <p:ph type="dt" sz="half" idx="28"/>
          </p:nvPr>
        </p:nvSpPr>
        <p:spPr/>
        <p:txBody>
          <a:bodyPr/>
          <a:lstStyle/>
          <a:p>
            <a:pPr>
              <a:defRPr/>
            </a:pPr>
            <a:fld id="{4BD41533-2545-4D5D-A77D-A38BC1DBF8FD}" type="datetime5">
              <a:rPr lang="en-US" smtClean="0"/>
              <a:t>6-Oct-21</a:t>
            </a:fld>
            <a:endParaRPr lang="en-US"/>
          </a:p>
        </p:txBody>
      </p:sp>
      <p:sp>
        <p:nvSpPr>
          <p:cNvPr id="8" name="Footer Placeholder 7"/>
          <p:cNvSpPr>
            <a:spLocks noGrp="1"/>
          </p:cNvSpPr>
          <p:nvPr>
            <p:ph type="ftr" sz="quarter" idx="29"/>
          </p:nvPr>
        </p:nvSpPr>
        <p:spPr/>
        <p:txBody>
          <a:bodyPr/>
          <a:lstStyle/>
          <a:p>
            <a:pPr>
              <a:defRPr/>
            </a:pPr>
            <a:r>
              <a:rPr lang="en-US"/>
              <a:t>FOOTER / PRESENTATION NAME</a:t>
            </a:r>
          </a:p>
        </p:txBody>
      </p:sp>
      <p:sp>
        <p:nvSpPr>
          <p:cNvPr id="10" name="Slide Number Placeholder 9"/>
          <p:cNvSpPr>
            <a:spLocks noGrp="1"/>
          </p:cNvSpPr>
          <p:nvPr>
            <p:ph type="sldNum" sz="quarter" idx="30"/>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712634172"/>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1" y="0"/>
            <a:ext cx="6096000" cy="6857474"/>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p>
        </p:txBody>
      </p:sp>
      <p:sp>
        <p:nvSpPr>
          <p:cNvPr id="2" name="Titel 1"/>
          <p:cNvSpPr>
            <a:spLocks noGrp="1"/>
          </p:cNvSpPr>
          <p:nvPr>
            <p:ph type="title"/>
          </p:nvPr>
        </p:nvSpPr>
        <p:spPr bwMode="gray">
          <a:xfrm>
            <a:off x="380149" y="3809941"/>
            <a:ext cx="5334656" cy="1523066"/>
          </a:xfrm>
        </p:spPr>
        <p:txBody>
          <a:bodyPr/>
          <a:lstStyle>
            <a:lvl1pPr>
              <a:defRPr sz="4233" b="0" i="0">
                <a:solidFill>
                  <a:schemeClr val="bg1"/>
                </a:solidFill>
                <a:latin typeface="adineue TEXT Black" panose="020B0A03020201060004" pitchFamily="34" charset="0"/>
              </a:defRPr>
            </a:lvl1pPr>
          </a:lstStyle>
          <a:p>
            <a:r>
              <a:rPr lang="en-US" noProof="0"/>
              <a:t>Click to edit Master title style</a:t>
            </a:r>
          </a:p>
        </p:txBody>
      </p:sp>
      <p:sp>
        <p:nvSpPr>
          <p:cNvPr id="9" name="Picture Placeholder 5"/>
          <p:cNvSpPr>
            <a:spLocks noGrp="1"/>
          </p:cNvSpPr>
          <p:nvPr>
            <p:ph type="pic" sz="quarter" idx="28"/>
          </p:nvPr>
        </p:nvSpPr>
        <p:spPr>
          <a:xfrm>
            <a:off x="6096000" y="525"/>
            <a:ext cx="6096351" cy="6857476"/>
          </a:xfrm>
          <a:solidFill>
            <a:schemeClr val="bg2">
              <a:lumMod val="75000"/>
            </a:schemeClr>
          </a:solidFill>
        </p:spPr>
        <p:txBody>
          <a:bodyPr anchor="ctr"/>
          <a:lstStyle>
            <a:lvl1pPr algn="ctr">
              <a:defRPr b="0">
                <a:solidFill>
                  <a:schemeClr val="bg1"/>
                </a:solidFill>
              </a:defRPr>
            </a:lvl1pPr>
          </a:lstStyle>
          <a:p>
            <a:r>
              <a:rPr lang="en-US" noProof="0"/>
              <a:t>Click icon to add picture</a:t>
            </a:r>
          </a:p>
        </p:txBody>
      </p:sp>
      <p:sp>
        <p:nvSpPr>
          <p:cNvPr id="6" name="Picture Placeholder 5"/>
          <p:cNvSpPr>
            <a:spLocks noGrp="1"/>
          </p:cNvSpPr>
          <p:nvPr>
            <p:ph type="pic" sz="quarter" idx="27"/>
          </p:nvPr>
        </p:nvSpPr>
        <p:spPr>
          <a:xfrm>
            <a:off x="6857345" y="1143349"/>
            <a:ext cx="3429721" cy="3810118"/>
          </a:xfrm>
          <a:solidFill>
            <a:schemeClr val="bg2"/>
          </a:solidFill>
        </p:spPr>
        <p:txBody>
          <a:bodyPr anchor="ctr"/>
          <a:lstStyle>
            <a:lvl1pPr algn="ctr">
              <a:defRPr b="0">
                <a:solidFill>
                  <a:schemeClr val="bg1"/>
                </a:solidFill>
              </a:defRPr>
            </a:lvl1pPr>
          </a:lstStyle>
          <a:p>
            <a:r>
              <a:rPr lang="en-US" noProof="0"/>
              <a:t>Click icon to add picture</a:t>
            </a:r>
          </a:p>
        </p:txBody>
      </p:sp>
      <p:sp>
        <p:nvSpPr>
          <p:cNvPr id="7" name="Date Placeholder 6"/>
          <p:cNvSpPr>
            <a:spLocks noGrp="1"/>
          </p:cNvSpPr>
          <p:nvPr>
            <p:ph type="dt" sz="half" idx="29"/>
          </p:nvPr>
        </p:nvSpPr>
        <p:spPr/>
        <p:txBody>
          <a:bodyPr/>
          <a:lstStyle>
            <a:lvl1pPr>
              <a:defRPr>
                <a:solidFill>
                  <a:schemeClr val="bg1"/>
                </a:solidFill>
              </a:defRPr>
            </a:lvl1pPr>
          </a:lstStyle>
          <a:p>
            <a:pPr>
              <a:defRPr/>
            </a:pPr>
            <a:fld id="{541F34D2-AAEE-437B-B194-9173A2F2002C}" type="datetime5">
              <a:rPr lang="en-US" smtClean="0"/>
              <a:t>6-Oct-21</a:t>
            </a:fld>
            <a:endParaRPr lang="en-US"/>
          </a:p>
        </p:txBody>
      </p:sp>
      <p:sp>
        <p:nvSpPr>
          <p:cNvPr id="8" name="Footer Placeholder 7"/>
          <p:cNvSpPr>
            <a:spLocks noGrp="1"/>
          </p:cNvSpPr>
          <p:nvPr>
            <p:ph type="ftr" sz="quarter" idx="30"/>
          </p:nvPr>
        </p:nvSpPr>
        <p:spPr/>
        <p:txBody>
          <a:bodyPr/>
          <a:lstStyle>
            <a:lvl1pPr>
              <a:defRPr>
                <a:solidFill>
                  <a:schemeClr val="bg1"/>
                </a:solidFill>
              </a:defRPr>
            </a:lvl1pPr>
          </a:lstStyle>
          <a:p>
            <a:pPr>
              <a:defRPr/>
            </a:pPr>
            <a:r>
              <a:rPr lang="en-US"/>
              <a:t>FOOTER / PRESENTATION NAME</a:t>
            </a:r>
          </a:p>
        </p:txBody>
      </p:sp>
      <p:sp>
        <p:nvSpPr>
          <p:cNvPr id="11" name="Slide Number Placeholder 10"/>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888443650"/>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mages split">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i="0">
                <a:solidFill>
                  <a:schemeClr val="tx1"/>
                </a:solidFill>
              </a:defRPr>
            </a:lvl1pPr>
          </a:lstStyle>
          <a:p>
            <a:r>
              <a:rPr lang="en-US" noProof="0"/>
              <a:t>Click icon to add picture</a:t>
            </a:r>
          </a:p>
        </p:txBody>
      </p:sp>
      <p:sp>
        <p:nvSpPr>
          <p:cNvPr id="2" name="Titel 1"/>
          <p:cNvSpPr>
            <a:spLocks noGrp="1"/>
          </p:cNvSpPr>
          <p:nvPr>
            <p:ph type="title"/>
          </p:nvPr>
        </p:nvSpPr>
        <p:spPr bwMode="gray">
          <a:xfrm>
            <a:off x="760294" y="382167"/>
            <a:ext cx="10669312" cy="760133"/>
          </a:xfrm>
        </p:spPr>
        <p:txBody>
          <a:bodyPr/>
          <a:lstStyle>
            <a:lvl1pPr algn="ctr">
              <a:defRPr b="0" i="0">
                <a:solidFill>
                  <a:schemeClr val="bg1"/>
                </a:solidFill>
                <a:latin typeface="adineue TEXT Black" panose="020B0A03020201060004" pitchFamily="34" charset="0"/>
              </a:defRPr>
            </a:lvl1pPr>
          </a:lstStyle>
          <a:p>
            <a:r>
              <a:rPr lang="en-US" noProof="0"/>
              <a:t>Click to edit Master title style</a:t>
            </a:r>
          </a:p>
        </p:txBody>
      </p:sp>
      <p:sp>
        <p:nvSpPr>
          <p:cNvPr id="6" name="Picture Placeholder 5"/>
          <p:cNvSpPr>
            <a:spLocks noGrp="1"/>
          </p:cNvSpPr>
          <p:nvPr>
            <p:ph type="pic" sz="quarter" idx="27"/>
          </p:nvPr>
        </p:nvSpPr>
        <p:spPr>
          <a:xfrm>
            <a:off x="760293" y="1524040"/>
            <a:ext cx="5335707" cy="4191661"/>
          </a:xfrm>
          <a:solidFill>
            <a:schemeClr val="bg2"/>
          </a:solidFill>
        </p:spPr>
        <p:txBody>
          <a:bodyPr anchor="ctr"/>
          <a:lstStyle>
            <a:lvl1pPr algn="ctr">
              <a:defRPr b="0" i="0">
                <a:solidFill>
                  <a:schemeClr val="bg1"/>
                </a:solidFill>
              </a:defRPr>
            </a:lvl1pPr>
          </a:lstStyle>
          <a:p>
            <a:r>
              <a:rPr lang="en-US" noProof="0"/>
              <a:t>Click icon to add picture</a:t>
            </a:r>
          </a:p>
        </p:txBody>
      </p:sp>
      <p:sp>
        <p:nvSpPr>
          <p:cNvPr id="9" name="Picture Placeholder 5"/>
          <p:cNvSpPr>
            <a:spLocks noGrp="1"/>
          </p:cNvSpPr>
          <p:nvPr>
            <p:ph type="pic" sz="quarter" idx="28"/>
          </p:nvPr>
        </p:nvSpPr>
        <p:spPr>
          <a:xfrm>
            <a:off x="6095999" y="1524040"/>
            <a:ext cx="5335012" cy="4191661"/>
          </a:xfrm>
          <a:solidFill>
            <a:schemeClr val="bg2">
              <a:lumMod val="40000"/>
              <a:lumOff val="60000"/>
            </a:schemeClr>
          </a:solidFill>
        </p:spPr>
        <p:txBody>
          <a:bodyPr anchor="ctr"/>
          <a:lstStyle>
            <a:lvl1pPr algn="ctr">
              <a:defRPr b="0" i="0"/>
            </a:lvl1pPr>
          </a:lstStyle>
          <a:p>
            <a:r>
              <a:rPr lang="en-US" noProof="0"/>
              <a:t>Click icon to add picture</a:t>
            </a:r>
          </a:p>
        </p:txBody>
      </p:sp>
      <p:sp>
        <p:nvSpPr>
          <p:cNvPr id="7" name="Date Placeholder 6"/>
          <p:cNvSpPr>
            <a:spLocks noGrp="1"/>
          </p:cNvSpPr>
          <p:nvPr>
            <p:ph type="dt" sz="half" idx="29"/>
          </p:nvPr>
        </p:nvSpPr>
        <p:spPr/>
        <p:txBody>
          <a:bodyPr/>
          <a:lstStyle/>
          <a:p>
            <a:pPr>
              <a:defRPr/>
            </a:pPr>
            <a:fld id="{224717F0-33BE-403C-8300-1F999F78A17F}" type="datetime5">
              <a:rPr lang="en-US" smtClean="0"/>
              <a:t>6-Oct-21</a:t>
            </a:fld>
            <a:endParaRPr lang="en-US"/>
          </a:p>
        </p:txBody>
      </p:sp>
      <p:sp>
        <p:nvSpPr>
          <p:cNvPr id="8" name="Footer Placeholder 7"/>
          <p:cNvSpPr>
            <a:spLocks noGrp="1"/>
          </p:cNvSpPr>
          <p:nvPr>
            <p:ph type="ftr" sz="quarter" idx="30"/>
          </p:nvPr>
        </p:nvSpPr>
        <p:spPr/>
        <p:txBody>
          <a:bodyPr/>
          <a:lstStyle/>
          <a:p>
            <a:pPr>
              <a:defRPr/>
            </a:pPr>
            <a:r>
              <a:rPr lang="en-US"/>
              <a:t>FOOTER / PRESENTATION NAME</a:t>
            </a:r>
          </a:p>
        </p:txBody>
      </p:sp>
      <p:sp>
        <p:nvSpPr>
          <p:cNvPr id="11" name="Slide Number Placeholder 10"/>
          <p:cNvSpPr>
            <a:spLocks noGrp="1"/>
          </p:cNvSpPr>
          <p:nvPr>
            <p:ph type="sldNum" sz="quarter" idx="31"/>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494674219"/>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X-GUIDES">
    <p:spTree>
      <p:nvGrpSpPr>
        <p:cNvPr id="1" name=""/>
        <p:cNvGrpSpPr/>
        <p:nvPr/>
      </p:nvGrpSpPr>
      <p:grpSpPr>
        <a:xfrm>
          <a:off x="0" y="0"/>
          <a:ext cx="0" cy="0"/>
          <a:chOff x="0" y="0"/>
          <a:chExt cx="0" cy="0"/>
        </a:xfrm>
      </p:grpSpPr>
      <p:grpSp>
        <p:nvGrpSpPr>
          <p:cNvPr id="2" name="Group 2"/>
          <p:cNvGrpSpPr>
            <a:grpSpLocks/>
          </p:cNvGrpSpPr>
          <p:nvPr userDrawn="1"/>
        </p:nvGrpSpPr>
        <p:grpSpPr bwMode="auto">
          <a:xfrm>
            <a:off x="95252" y="1212476"/>
            <a:ext cx="11999382" cy="4441512"/>
            <a:chOff x="9468829" y="902018"/>
            <a:chExt cx="1008112" cy="3306445"/>
          </a:xfrm>
        </p:grpSpPr>
        <p:cxnSp>
          <p:nvCxnSpPr>
            <p:cNvPr id="3" name="Straight Connector 42"/>
            <p:cNvCxnSpPr/>
            <p:nvPr/>
          </p:nvCxnSpPr>
          <p:spPr bwMode="gray">
            <a:xfrm>
              <a:off x="9468829" y="338145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4" name="Straight Connector 43"/>
            <p:cNvCxnSpPr/>
            <p:nvPr/>
          </p:nvCxnSpPr>
          <p:spPr bwMode="gray">
            <a:xfrm>
              <a:off x="9468829" y="255287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5" name="Straight Connector 44"/>
            <p:cNvCxnSpPr/>
            <p:nvPr/>
          </p:nvCxnSpPr>
          <p:spPr bwMode="gray">
            <a:xfrm>
              <a:off x="9468829" y="4208463"/>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6" name="Straight Connector 56"/>
            <p:cNvCxnSpPr/>
            <p:nvPr/>
          </p:nvCxnSpPr>
          <p:spPr bwMode="gray">
            <a:xfrm>
              <a:off x="9468829" y="1724297"/>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7" name="Straight Connector 57"/>
            <p:cNvCxnSpPr/>
            <p:nvPr/>
          </p:nvCxnSpPr>
          <p:spPr bwMode="gray">
            <a:xfrm>
              <a:off x="9468829" y="90201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grpSp>
      <p:grpSp>
        <p:nvGrpSpPr>
          <p:cNvPr id="8" name="Group 1"/>
          <p:cNvGrpSpPr>
            <a:grpSpLocks/>
          </p:cNvGrpSpPr>
          <p:nvPr userDrawn="1"/>
        </p:nvGrpSpPr>
        <p:grpSpPr bwMode="auto">
          <a:xfrm>
            <a:off x="0" y="1"/>
            <a:ext cx="12192000" cy="6858000"/>
            <a:chOff x="0" y="0"/>
            <a:chExt cx="9072564" cy="5105402"/>
          </a:xfrm>
        </p:grpSpPr>
        <p:cxnSp>
          <p:nvCxnSpPr>
            <p:cNvPr id="9" name="Straight Connector 64"/>
            <p:cNvCxnSpPr/>
            <p:nvPr userDrawn="1"/>
          </p:nvCxnSpPr>
          <p:spPr bwMode="gray">
            <a:xfrm>
              <a:off x="1512360"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0" name="Straight Connector 65"/>
            <p:cNvCxnSpPr/>
            <p:nvPr userDrawn="1"/>
          </p:nvCxnSpPr>
          <p:spPr bwMode="gray">
            <a:xfrm>
              <a:off x="302472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1" name="Straight Connector 66"/>
            <p:cNvCxnSpPr/>
            <p:nvPr userDrawn="1"/>
          </p:nvCxnSpPr>
          <p:spPr bwMode="gray">
            <a:xfrm>
              <a:off x="604784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2" name="Straight Connector 67"/>
            <p:cNvCxnSpPr/>
            <p:nvPr userDrawn="1"/>
          </p:nvCxnSpPr>
          <p:spPr bwMode="gray">
            <a:xfrm>
              <a:off x="7560204"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3" name="Straight Connector 71"/>
            <p:cNvCxnSpPr/>
            <p:nvPr userDrawn="1"/>
          </p:nvCxnSpPr>
          <p:spPr bwMode="gray">
            <a:xfrm>
              <a:off x="453708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4" name="Straight Connector 45"/>
            <p:cNvCxnSpPr/>
            <p:nvPr userDrawn="1"/>
          </p:nvCxnSpPr>
          <p:spPr bwMode="gray">
            <a:xfrm flipH="1">
              <a:off x="0"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5" name="Straight Connector 46"/>
            <p:cNvCxnSpPr/>
            <p:nvPr userDrawn="1"/>
          </p:nvCxnSpPr>
          <p:spPr bwMode="gray">
            <a:xfrm flipH="1">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6" name="Straight Connector 47"/>
            <p:cNvCxnSpPr/>
            <p:nvPr userDrawn="1"/>
          </p:nvCxnSpPr>
          <p:spPr bwMode="gray">
            <a:xfrm flipH="1">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7" name="Straight Connector 48"/>
            <p:cNvCxnSpPr/>
            <p:nvPr userDrawn="1"/>
          </p:nvCxnSpPr>
          <p:spPr bwMode="gray">
            <a:xfrm>
              <a:off x="0" y="0"/>
              <a:ext cx="45370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8" name="Straight Connector 49"/>
            <p:cNvCxnSpPr/>
            <p:nvPr userDrawn="1"/>
          </p:nvCxnSpPr>
          <p:spPr bwMode="gray">
            <a:xfrm>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9" name="Straight Connector 50"/>
            <p:cNvCxnSpPr/>
            <p:nvPr userDrawn="1"/>
          </p:nvCxnSpPr>
          <p:spPr bwMode="gray">
            <a:xfrm>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20" name="Straight Connector 52"/>
            <p:cNvCxnSpPr/>
            <p:nvPr userDrawn="1"/>
          </p:nvCxnSpPr>
          <p:spPr bwMode="gray">
            <a:xfrm flipV="1">
              <a:off x="0"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1" name="Straight Connector 53"/>
            <p:cNvCxnSpPr/>
            <p:nvPr userDrawn="1"/>
          </p:nvCxnSpPr>
          <p:spPr bwMode="gray">
            <a:xfrm>
              <a:off x="0" y="2553510"/>
              <a:ext cx="4537082" cy="255189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2" name="Straight Connector 54"/>
            <p:cNvCxnSpPr/>
            <p:nvPr userDrawn="1"/>
          </p:nvCxnSpPr>
          <p:spPr bwMode="gray">
            <a:xfrm flipH="1">
              <a:off x="4537082" y="2547038"/>
              <a:ext cx="4535482" cy="2558364"/>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3" name="Straight Connector 61"/>
            <p:cNvCxnSpPr/>
            <p:nvPr userDrawn="1"/>
          </p:nvCxnSpPr>
          <p:spPr bwMode="gray">
            <a:xfrm flipH="1" flipV="1">
              <a:off x="4537082"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grpSp>
      <p:sp>
        <p:nvSpPr>
          <p:cNvPr id="24" name="Oval 72"/>
          <p:cNvSpPr/>
          <p:nvPr userDrawn="1"/>
        </p:nvSpPr>
        <p:spPr bwMode="gray">
          <a:xfrm>
            <a:off x="5990167" y="3322142"/>
            <a:ext cx="211666"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5" name="Oval 73"/>
          <p:cNvSpPr/>
          <p:nvPr userDrawn="1"/>
        </p:nvSpPr>
        <p:spPr bwMode="gray">
          <a:xfrm>
            <a:off x="8987368" y="3322142"/>
            <a:ext cx="213784"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6" name="Oval 78"/>
          <p:cNvSpPr/>
          <p:nvPr userDrawn="1"/>
        </p:nvSpPr>
        <p:spPr bwMode="gray">
          <a:xfrm>
            <a:off x="9988551" y="4435165"/>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7" name="Oval 38"/>
          <p:cNvSpPr/>
          <p:nvPr userDrawn="1"/>
        </p:nvSpPr>
        <p:spPr bwMode="gray">
          <a:xfrm>
            <a:off x="8987368" y="4987445"/>
            <a:ext cx="213784" cy="213717"/>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8" name="Oval 63"/>
          <p:cNvSpPr/>
          <p:nvPr userDrawn="1"/>
        </p:nvSpPr>
        <p:spPr bwMode="gray">
          <a:xfrm>
            <a:off x="7975600" y="4435165"/>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9" name="Oval 80"/>
          <p:cNvSpPr/>
          <p:nvPr userDrawn="1"/>
        </p:nvSpPr>
        <p:spPr bwMode="gray">
          <a:xfrm>
            <a:off x="9988551" y="2209119"/>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30" name="Oval 82"/>
          <p:cNvSpPr/>
          <p:nvPr userDrawn="1"/>
        </p:nvSpPr>
        <p:spPr bwMode="gray">
          <a:xfrm>
            <a:off x="8987368" y="1650491"/>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31" name="Oval 83"/>
          <p:cNvSpPr/>
          <p:nvPr userDrawn="1"/>
        </p:nvSpPr>
        <p:spPr bwMode="gray">
          <a:xfrm>
            <a:off x="7981951" y="2209119"/>
            <a:ext cx="213783"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Tree>
    <p:extLst>
      <p:ext uri="{BB962C8B-B14F-4D97-AF65-F5344CB8AC3E}">
        <p14:creationId xmlns:p14="http://schemas.microsoft.com/office/powerpoint/2010/main" val="4227127598"/>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RE R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8EB7E47-58F9-4E01-8782-1ED32E0F0080}"/>
              </a:ext>
            </a:extLst>
          </p:cNvPr>
          <p:cNvSpPr/>
          <p:nvPr userDrawn="1"/>
        </p:nvSpPr>
        <p:spPr bwMode="gray">
          <a:xfrm>
            <a:off x="0" y="1"/>
            <a:ext cx="2032000" cy="6858000"/>
          </a:xfrm>
          <a:prstGeom prst="rect">
            <a:avLst/>
          </a:prstGeom>
          <a:solidFill>
            <a:schemeClr val="accent1"/>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7" name="Rectangle 6">
            <a:extLst>
              <a:ext uri="{FF2B5EF4-FFF2-40B4-BE49-F238E27FC236}">
                <a16:creationId xmlns:a16="http://schemas.microsoft.com/office/drawing/2014/main" id="{97061792-4EBB-449C-B551-E8C0281CA55D}"/>
              </a:ext>
            </a:extLst>
          </p:cNvPr>
          <p:cNvSpPr/>
          <p:nvPr userDrawn="1"/>
        </p:nvSpPr>
        <p:spPr bwMode="gray">
          <a:xfrm>
            <a:off x="2031999" y="1"/>
            <a:ext cx="2032000" cy="6858000"/>
          </a:xfrm>
          <a:prstGeom prst="rect">
            <a:avLst/>
          </a:prstGeom>
          <a:solidFill>
            <a:schemeClr val="accent2"/>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8" name="Rectangle 7">
            <a:extLst>
              <a:ext uri="{FF2B5EF4-FFF2-40B4-BE49-F238E27FC236}">
                <a16:creationId xmlns:a16="http://schemas.microsoft.com/office/drawing/2014/main" id="{32D66342-C4E5-4E6A-B602-C83DAAC0C118}"/>
              </a:ext>
            </a:extLst>
          </p:cNvPr>
          <p:cNvSpPr/>
          <p:nvPr userDrawn="1"/>
        </p:nvSpPr>
        <p:spPr bwMode="gray">
          <a:xfrm>
            <a:off x="4064000" y="1"/>
            <a:ext cx="2032000" cy="6858000"/>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9" name="Rectangle 8">
            <a:extLst>
              <a:ext uri="{FF2B5EF4-FFF2-40B4-BE49-F238E27FC236}">
                <a16:creationId xmlns:a16="http://schemas.microsoft.com/office/drawing/2014/main" id="{16F15D0B-0313-4703-8E3E-0A01F24ADF77}"/>
              </a:ext>
            </a:extLst>
          </p:cNvPr>
          <p:cNvSpPr/>
          <p:nvPr userDrawn="1"/>
        </p:nvSpPr>
        <p:spPr bwMode="gray">
          <a:xfrm>
            <a:off x="6096000" y="1"/>
            <a:ext cx="2032000" cy="6858000"/>
          </a:xfrm>
          <a:prstGeom prst="rect">
            <a:avLst/>
          </a:prstGeom>
          <a:solidFill>
            <a:schemeClr val="accent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10" name="Rectangle 9">
            <a:extLst>
              <a:ext uri="{FF2B5EF4-FFF2-40B4-BE49-F238E27FC236}">
                <a16:creationId xmlns:a16="http://schemas.microsoft.com/office/drawing/2014/main" id="{6EEA44E1-E041-4262-8E28-C4320552C8BF}"/>
              </a:ext>
            </a:extLst>
          </p:cNvPr>
          <p:cNvSpPr/>
          <p:nvPr userDrawn="1"/>
        </p:nvSpPr>
        <p:spPr bwMode="gray">
          <a:xfrm>
            <a:off x="8127999" y="1"/>
            <a:ext cx="2032000" cy="6858000"/>
          </a:xfrm>
          <a:prstGeom prst="rect">
            <a:avLst/>
          </a:prstGeom>
          <a:solidFill>
            <a:schemeClr val="accent5"/>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11" name="Rectangle 10">
            <a:extLst>
              <a:ext uri="{FF2B5EF4-FFF2-40B4-BE49-F238E27FC236}">
                <a16:creationId xmlns:a16="http://schemas.microsoft.com/office/drawing/2014/main" id="{5F255E2C-855C-4365-895D-7CC01F8F7921}"/>
              </a:ext>
            </a:extLst>
          </p:cNvPr>
          <p:cNvSpPr/>
          <p:nvPr userDrawn="1"/>
        </p:nvSpPr>
        <p:spPr bwMode="gray">
          <a:xfrm>
            <a:off x="10160000" y="1"/>
            <a:ext cx="2032000" cy="6858000"/>
          </a:xfrm>
          <a:prstGeom prst="rect">
            <a:avLst/>
          </a:prstGeom>
          <a:solidFill>
            <a:schemeClr val="accent6"/>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Tree>
    <p:extLst>
      <p:ext uri="{BB962C8B-B14F-4D97-AF65-F5344CB8AC3E}">
        <p14:creationId xmlns:p14="http://schemas.microsoft.com/office/powerpoint/2010/main" val="3804272265"/>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Company">
    <p:spTree>
      <p:nvGrpSpPr>
        <p:cNvPr id="1" name=""/>
        <p:cNvGrpSpPr/>
        <p:nvPr/>
      </p:nvGrpSpPr>
      <p:grpSpPr>
        <a:xfrm>
          <a:off x="0" y="0"/>
          <a:ext cx="0" cy="0"/>
          <a:chOff x="0" y="0"/>
          <a:chExt cx="0" cy="0"/>
        </a:xfrm>
      </p:grpSpPr>
      <p:graphicFrame>
        <p:nvGraphicFramePr>
          <p:cNvPr id="5" name="Object 3" hidden="1">
            <a:extLst>
              <a:ext uri="{FF2B5EF4-FFF2-40B4-BE49-F238E27FC236}">
                <a16:creationId xmlns:a16="http://schemas.microsoft.com/office/drawing/2014/main" id="{4A65B625-8496-4647-9C82-F85D4204B10F}"/>
              </a:ext>
            </a:extLst>
          </p:cNvPr>
          <p:cNvGraphicFramePr>
            <a:graphicFrameLocks noChangeAspect="1"/>
          </p:cNvGraphicFramePr>
          <p:nvPr>
            <p:custDataLst>
              <p:tags r:id="rId2"/>
            </p:custDataLst>
          </p:nvPr>
        </p:nvGraphicFramePr>
        <p:xfrm>
          <a:off x="1589" y="1588"/>
          <a:ext cx="3175" cy="3175"/>
        </p:xfrm>
        <a:graphic>
          <a:graphicData uri="http://schemas.openxmlformats.org/presentationml/2006/ole">
            <mc:AlternateContent xmlns:mc="http://schemas.openxmlformats.org/markup-compatibility/2006">
              <mc:Choice xmlns:v="urn:schemas-microsoft-com:vml" Requires="v">
                <p:oleObj spid="_x0000_s15362" name="think-cell Slide" r:id="rId5" imgW="360" imgH="360" progId="TCLayout.ActiveDocument.1">
                  <p:embed/>
                </p:oleObj>
              </mc:Choice>
              <mc:Fallback>
                <p:oleObj name="think-cell Slide" r:id="rId5" imgW="360" imgH="360" progId="TCLayout.ActiveDocument.1">
                  <p:embed/>
                  <p:pic>
                    <p:nvPicPr>
                      <p:cNvPr id="5" name="Object 3" hidden="1">
                        <a:extLst>
                          <a:ext uri="{FF2B5EF4-FFF2-40B4-BE49-F238E27FC236}">
                            <a16:creationId xmlns:a16="http://schemas.microsoft.com/office/drawing/2014/main" id="{4A65B625-8496-4647-9C82-F85D4204B1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C9B5988-9570-4084-9700-1F9EDF1B7A9E}"/>
              </a:ext>
            </a:extLst>
          </p:cNvPr>
          <p:cNvSpPr/>
          <p:nvPr userDrawn="1">
            <p:custDataLst>
              <p:tags r:id="rId3"/>
            </p:custDataLst>
          </p:nvPr>
        </p:nvSpPr>
        <p:spPr bwMode="gray">
          <a:xfrm>
            <a:off x="0" y="0"/>
            <a:ext cx="210026" cy="209982"/>
          </a:xfrm>
          <a:prstGeom prst="rect">
            <a:avLst/>
          </a:prstGeom>
          <a:noFill/>
          <a:ln w="12700" cap="sq">
            <a:solidFill>
              <a:schemeClr val="tx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Aft>
                <a:spcPts val="794"/>
              </a:spcAft>
              <a:buFontTx/>
              <a:buNone/>
            </a:pPr>
            <a:endParaRPr lang="en-US" sz="6348" b="0" i="0" baseline="0">
              <a:solidFill>
                <a:schemeClr val="tx1"/>
              </a:solidFill>
              <a:latin typeface="adineue PRO Black" panose="020B0A03020201060004" pitchFamily="34" charset="0"/>
              <a:ea typeface="+mj-ea"/>
              <a:cs typeface="+mj-cs"/>
              <a:sym typeface="adineue PRO Black" panose="020B0A03020201060004" pitchFamily="34" charset="0"/>
            </a:endParaRPr>
          </a:p>
        </p:txBody>
      </p:sp>
      <p:sp>
        <p:nvSpPr>
          <p:cNvPr id="7" name="Freeform 6">
            <a:extLst>
              <a:ext uri="{FF2B5EF4-FFF2-40B4-BE49-F238E27FC236}">
                <a16:creationId xmlns:a16="http://schemas.microsoft.com/office/drawing/2014/main" id="{2F65C3FD-C59D-42FD-BCCB-7856776CE696}"/>
              </a:ext>
            </a:extLst>
          </p:cNvPr>
          <p:cNvSpPr>
            <a:spLocks noEditPoints="1"/>
          </p:cNvSpPr>
          <p:nvPr/>
        </p:nvSpPr>
        <p:spPr bwMode="gray">
          <a:xfrm>
            <a:off x="8382001" y="1857375"/>
            <a:ext cx="1906587" cy="439738"/>
          </a:xfrm>
          <a:custGeom>
            <a:avLst/>
            <a:gdLst>
              <a:gd name="T0" fmla="*/ 464 w 2583"/>
              <a:gd name="T1" fmla="*/ 586 h 596"/>
              <a:gd name="T2" fmla="*/ 355 w 2583"/>
              <a:gd name="T3" fmla="*/ 149 h 596"/>
              <a:gd name="T4" fmla="*/ 226 w 2583"/>
              <a:gd name="T5" fmla="*/ 144 h 596"/>
              <a:gd name="T6" fmla="*/ 226 w 2583"/>
              <a:gd name="T7" fmla="*/ 596 h 596"/>
              <a:gd name="T8" fmla="*/ 355 w 2583"/>
              <a:gd name="T9" fmla="*/ 586 h 596"/>
              <a:gd name="T10" fmla="*/ 231 w 2583"/>
              <a:gd name="T11" fmla="*/ 245 h 596"/>
              <a:gd name="T12" fmla="*/ 231 w 2583"/>
              <a:gd name="T13" fmla="*/ 495 h 596"/>
              <a:gd name="T14" fmla="*/ 864 w 2583"/>
              <a:gd name="T15" fmla="*/ 0 h 596"/>
              <a:gd name="T16" fmla="*/ 734 w 2583"/>
              <a:gd name="T17" fmla="*/ 144 h 596"/>
              <a:gd name="T18" fmla="*/ 734 w 2583"/>
              <a:gd name="T19" fmla="*/ 596 h 596"/>
              <a:gd name="T20" fmla="*/ 864 w 2583"/>
              <a:gd name="T21" fmla="*/ 586 h 596"/>
              <a:gd name="T22" fmla="*/ 972 w 2583"/>
              <a:gd name="T23" fmla="*/ 0 h 596"/>
              <a:gd name="T24" fmla="*/ 614 w 2583"/>
              <a:gd name="T25" fmla="*/ 370 h 596"/>
              <a:gd name="T26" fmla="*/ 864 w 2583"/>
              <a:gd name="T27" fmla="*/ 370 h 596"/>
              <a:gd name="T28" fmla="*/ 614 w 2583"/>
              <a:gd name="T29" fmla="*/ 370 h 596"/>
              <a:gd name="T30" fmla="*/ 1134 w 2583"/>
              <a:gd name="T31" fmla="*/ 0 h 596"/>
              <a:gd name="T32" fmla="*/ 1025 w 2583"/>
              <a:gd name="T33" fmla="*/ 109 h 596"/>
              <a:gd name="T34" fmla="*/ 1134 w 2583"/>
              <a:gd name="T35" fmla="*/ 586 h 596"/>
              <a:gd name="T36" fmla="*/ 1025 w 2583"/>
              <a:gd name="T37" fmla="*/ 149 h 596"/>
              <a:gd name="T38" fmla="*/ 1134 w 2583"/>
              <a:gd name="T39" fmla="*/ 586 h 596"/>
              <a:gd name="T40" fmla="*/ 1534 w 2583"/>
              <a:gd name="T41" fmla="*/ 184 h 596"/>
              <a:gd name="T42" fmla="*/ 1179 w 2583"/>
              <a:gd name="T43" fmla="*/ 370 h 596"/>
              <a:gd name="T44" fmla="*/ 1534 w 2583"/>
              <a:gd name="T45" fmla="*/ 555 h 596"/>
              <a:gd name="T46" fmla="*/ 1642 w 2583"/>
              <a:gd name="T47" fmla="*/ 586 h 596"/>
              <a:gd name="T48" fmla="*/ 1534 w 2583"/>
              <a:gd name="T49" fmla="*/ 0 h 596"/>
              <a:gd name="T50" fmla="*/ 1410 w 2583"/>
              <a:gd name="T51" fmla="*/ 245 h 596"/>
              <a:gd name="T52" fmla="*/ 1410 w 2583"/>
              <a:gd name="T53" fmla="*/ 495 h 596"/>
              <a:gd name="T54" fmla="*/ 2042 w 2583"/>
              <a:gd name="T55" fmla="*/ 586 h 596"/>
              <a:gd name="T56" fmla="*/ 2151 w 2583"/>
              <a:gd name="T57" fmla="*/ 149 h 596"/>
              <a:gd name="T58" fmla="*/ 2042 w 2583"/>
              <a:gd name="T59" fmla="*/ 184 h 596"/>
              <a:gd name="T60" fmla="*/ 1687 w 2583"/>
              <a:gd name="T61" fmla="*/ 370 h 596"/>
              <a:gd name="T62" fmla="*/ 2042 w 2583"/>
              <a:gd name="T63" fmla="*/ 555 h 596"/>
              <a:gd name="T64" fmla="*/ 1793 w 2583"/>
              <a:gd name="T65" fmla="*/ 370 h 596"/>
              <a:gd name="T66" fmla="*/ 2043 w 2583"/>
              <a:gd name="T67" fmla="*/ 370 h 596"/>
              <a:gd name="T68" fmla="*/ 1793 w 2583"/>
              <a:gd name="T69" fmla="*/ 370 h 596"/>
              <a:gd name="T70" fmla="*/ 2396 w 2583"/>
              <a:gd name="T71" fmla="*/ 595 h 596"/>
              <a:gd name="T72" fmla="*/ 2456 w 2583"/>
              <a:gd name="T73" fmla="*/ 326 h 596"/>
              <a:gd name="T74" fmla="*/ 2311 w 2583"/>
              <a:gd name="T75" fmla="*/ 269 h 596"/>
              <a:gd name="T76" fmla="*/ 2457 w 2583"/>
              <a:gd name="T77" fmla="*/ 287 h 596"/>
              <a:gd name="T78" fmla="*/ 2382 w 2583"/>
              <a:gd name="T79" fmla="*/ 144 h 596"/>
              <a:gd name="T80" fmla="*/ 2350 w 2583"/>
              <a:gd name="T81" fmla="*/ 416 h 596"/>
              <a:gd name="T82" fmla="*/ 2467 w 2583"/>
              <a:gd name="T83" fmla="*/ 470 h 596"/>
              <a:gd name="T84" fmla="*/ 2302 w 2583"/>
              <a:gd name="T85" fmla="*/ 444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3" h="596">
                <a:moveTo>
                  <a:pt x="355" y="586"/>
                </a:moveTo>
                <a:cubicBezTo>
                  <a:pt x="464" y="586"/>
                  <a:pt x="464" y="586"/>
                  <a:pt x="464" y="586"/>
                </a:cubicBezTo>
                <a:cubicBezTo>
                  <a:pt x="464" y="149"/>
                  <a:pt x="464" y="149"/>
                  <a:pt x="464" y="149"/>
                </a:cubicBezTo>
                <a:cubicBezTo>
                  <a:pt x="355" y="149"/>
                  <a:pt x="355" y="149"/>
                  <a:pt x="355" y="149"/>
                </a:cubicBezTo>
                <a:cubicBezTo>
                  <a:pt x="355" y="184"/>
                  <a:pt x="355" y="184"/>
                  <a:pt x="355" y="184"/>
                </a:cubicBezTo>
                <a:cubicBezTo>
                  <a:pt x="318" y="158"/>
                  <a:pt x="274" y="144"/>
                  <a:pt x="226" y="144"/>
                </a:cubicBezTo>
                <a:cubicBezTo>
                  <a:pt x="101" y="144"/>
                  <a:pt x="0" y="245"/>
                  <a:pt x="0" y="370"/>
                </a:cubicBezTo>
                <a:cubicBezTo>
                  <a:pt x="0" y="495"/>
                  <a:pt x="101" y="596"/>
                  <a:pt x="226" y="596"/>
                </a:cubicBezTo>
                <a:cubicBezTo>
                  <a:pt x="274" y="596"/>
                  <a:pt x="318" y="581"/>
                  <a:pt x="355" y="555"/>
                </a:cubicBezTo>
                <a:cubicBezTo>
                  <a:pt x="355" y="586"/>
                  <a:pt x="355" y="586"/>
                  <a:pt x="355" y="586"/>
                </a:cubicBezTo>
                <a:close/>
                <a:moveTo>
                  <a:pt x="106" y="370"/>
                </a:moveTo>
                <a:cubicBezTo>
                  <a:pt x="106" y="300"/>
                  <a:pt x="162" y="245"/>
                  <a:pt x="231" y="245"/>
                </a:cubicBezTo>
                <a:cubicBezTo>
                  <a:pt x="300" y="245"/>
                  <a:pt x="356" y="300"/>
                  <a:pt x="356" y="370"/>
                </a:cubicBezTo>
                <a:cubicBezTo>
                  <a:pt x="356" y="439"/>
                  <a:pt x="300" y="495"/>
                  <a:pt x="231" y="495"/>
                </a:cubicBezTo>
                <a:cubicBezTo>
                  <a:pt x="162" y="495"/>
                  <a:pt x="106" y="439"/>
                  <a:pt x="106" y="370"/>
                </a:cubicBezTo>
                <a:close/>
                <a:moveTo>
                  <a:pt x="864" y="0"/>
                </a:moveTo>
                <a:cubicBezTo>
                  <a:pt x="864" y="184"/>
                  <a:pt x="864" y="184"/>
                  <a:pt x="864" y="184"/>
                </a:cubicBezTo>
                <a:cubicBezTo>
                  <a:pt x="827" y="158"/>
                  <a:pt x="782" y="144"/>
                  <a:pt x="734" y="144"/>
                </a:cubicBezTo>
                <a:cubicBezTo>
                  <a:pt x="609" y="144"/>
                  <a:pt x="508" y="245"/>
                  <a:pt x="508" y="370"/>
                </a:cubicBezTo>
                <a:cubicBezTo>
                  <a:pt x="508" y="495"/>
                  <a:pt x="609" y="596"/>
                  <a:pt x="734" y="596"/>
                </a:cubicBezTo>
                <a:cubicBezTo>
                  <a:pt x="782" y="596"/>
                  <a:pt x="827" y="581"/>
                  <a:pt x="864" y="555"/>
                </a:cubicBezTo>
                <a:cubicBezTo>
                  <a:pt x="864" y="586"/>
                  <a:pt x="864" y="586"/>
                  <a:pt x="864" y="586"/>
                </a:cubicBezTo>
                <a:cubicBezTo>
                  <a:pt x="972" y="586"/>
                  <a:pt x="972" y="586"/>
                  <a:pt x="972" y="586"/>
                </a:cubicBezTo>
                <a:cubicBezTo>
                  <a:pt x="972" y="0"/>
                  <a:pt x="972" y="0"/>
                  <a:pt x="972" y="0"/>
                </a:cubicBezTo>
                <a:cubicBezTo>
                  <a:pt x="864" y="0"/>
                  <a:pt x="864" y="0"/>
                  <a:pt x="864" y="0"/>
                </a:cubicBezTo>
                <a:close/>
                <a:moveTo>
                  <a:pt x="614" y="370"/>
                </a:moveTo>
                <a:cubicBezTo>
                  <a:pt x="614" y="300"/>
                  <a:pt x="670" y="245"/>
                  <a:pt x="739" y="245"/>
                </a:cubicBezTo>
                <a:cubicBezTo>
                  <a:pt x="809" y="245"/>
                  <a:pt x="864" y="300"/>
                  <a:pt x="864" y="370"/>
                </a:cubicBezTo>
                <a:cubicBezTo>
                  <a:pt x="864" y="439"/>
                  <a:pt x="809" y="495"/>
                  <a:pt x="739" y="495"/>
                </a:cubicBezTo>
                <a:cubicBezTo>
                  <a:pt x="670" y="495"/>
                  <a:pt x="614" y="439"/>
                  <a:pt x="614" y="370"/>
                </a:cubicBezTo>
                <a:close/>
                <a:moveTo>
                  <a:pt x="1134" y="109"/>
                </a:moveTo>
                <a:cubicBezTo>
                  <a:pt x="1134" y="0"/>
                  <a:pt x="1134" y="0"/>
                  <a:pt x="1134" y="0"/>
                </a:cubicBezTo>
                <a:cubicBezTo>
                  <a:pt x="1025" y="0"/>
                  <a:pt x="1025" y="0"/>
                  <a:pt x="1025" y="0"/>
                </a:cubicBezTo>
                <a:cubicBezTo>
                  <a:pt x="1025" y="109"/>
                  <a:pt x="1025" y="109"/>
                  <a:pt x="1025" y="109"/>
                </a:cubicBezTo>
                <a:cubicBezTo>
                  <a:pt x="1134" y="109"/>
                  <a:pt x="1134" y="109"/>
                  <a:pt x="1134" y="109"/>
                </a:cubicBezTo>
                <a:close/>
                <a:moveTo>
                  <a:pt x="1134" y="586"/>
                </a:moveTo>
                <a:cubicBezTo>
                  <a:pt x="1134" y="149"/>
                  <a:pt x="1134" y="149"/>
                  <a:pt x="1134" y="149"/>
                </a:cubicBezTo>
                <a:cubicBezTo>
                  <a:pt x="1025" y="149"/>
                  <a:pt x="1025" y="149"/>
                  <a:pt x="1025" y="149"/>
                </a:cubicBezTo>
                <a:cubicBezTo>
                  <a:pt x="1025" y="586"/>
                  <a:pt x="1025" y="586"/>
                  <a:pt x="1025" y="586"/>
                </a:cubicBezTo>
                <a:cubicBezTo>
                  <a:pt x="1134" y="586"/>
                  <a:pt x="1134" y="586"/>
                  <a:pt x="1134" y="586"/>
                </a:cubicBezTo>
                <a:close/>
                <a:moveTo>
                  <a:pt x="1534" y="0"/>
                </a:moveTo>
                <a:cubicBezTo>
                  <a:pt x="1534" y="184"/>
                  <a:pt x="1534" y="184"/>
                  <a:pt x="1534" y="184"/>
                </a:cubicBezTo>
                <a:cubicBezTo>
                  <a:pt x="1497" y="158"/>
                  <a:pt x="1452" y="144"/>
                  <a:pt x="1404" y="144"/>
                </a:cubicBezTo>
                <a:cubicBezTo>
                  <a:pt x="1280" y="144"/>
                  <a:pt x="1179" y="245"/>
                  <a:pt x="1179" y="370"/>
                </a:cubicBezTo>
                <a:cubicBezTo>
                  <a:pt x="1179" y="495"/>
                  <a:pt x="1280" y="596"/>
                  <a:pt x="1404" y="596"/>
                </a:cubicBezTo>
                <a:cubicBezTo>
                  <a:pt x="1452" y="596"/>
                  <a:pt x="1497" y="581"/>
                  <a:pt x="1534" y="555"/>
                </a:cubicBezTo>
                <a:cubicBezTo>
                  <a:pt x="1534" y="586"/>
                  <a:pt x="1534" y="586"/>
                  <a:pt x="1534" y="586"/>
                </a:cubicBezTo>
                <a:cubicBezTo>
                  <a:pt x="1642" y="586"/>
                  <a:pt x="1642" y="586"/>
                  <a:pt x="1642" y="586"/>
                </a:cubicBezTo>
                <a:cubicBezTo>
                  <a:pt x="1642" y="0"/>
                  <a:pt x="1642" y="0"/>
                  <a:pt x="1642" y="0"/>
                </a:cubicBezTo>
                <a:cubicBezTo>
                  <a:pt x="1534" y="0"/>
                  <a:pt x="1534" y="0"/>
                  <a:pt x="1534" y="0"/>
                </a:cubicBezTo>
                <a:close/>
                <a:moveTo>
                  <a:pt x="1285" y="370"/>
                </a:moveTo>
                <a:cubicBezTo>
                  <a:pt x="1285" y="300"/>
                  <a:pt x="1340" y="245"/>
                  <a:pt x="1410" y="245"/>
                </a:cubicBezTo>
                <a:cubicBezTo>
                  <a:pt x="1479" y="245"/>
                  <a:pt x="1535" y="300"/>
                  <a:pt x="1535" y="370"/>
                </a:cubicBezTo>
                <a:cubicBezTo>
                  <a:pt x="1535" y="439"/>
                  <a:pt x="1479" y="495"/>
                  <a:pt x="1410" y="495"/>
                </a:cubicBezTo>
                <a:cubicBezTo>
                  <a:pt x="1340" y="495"/>
                  <a:pt x="1285" y="439"/>
                  <a:pt x="1285" y="370"/>
                </a:cubicBezTo>
                <a:close/>
                <a:moveTo>
                  <a:pt x="2042" y="586"/>
                </a:moveTo>
                <a:cubicBezTo>
                  <a:pt x="2151" y="586"/>
                  <a:pt x="2151" y="586"/>
                  <a:pt x="2151" y="586"/>
                </a:cubicBezTo>
                <a:cubicBezTo>
                  <a:pt x="2151" y="149"/>
                  <a:pt x="2151" y="149"/>
                  <a:pt x="2151" y="149"/>
                </a:cubicBezTo>
                <a:cubicBezTo>
                  <a:pt x="2042" y="149"/>
                  <a:pt x="2042" y="149"/>
                  <a:pt x="2042" y="149"/>
                </a:cubicBezTo>
                <a:cubicBezTo>
                  <a:pt x="2042" y="184"/>
                  <a:pt x="2042" y="184"/>
                  <a:pt x="2042" y="184"/>
                </a:cubicBezTo>
                <a:cubicBezTo>
                  <a:pt x="2005" y="158"/>
                  <a:pt x="1961" y="144"/>
                  <a:pt x="1913" y="144"/>
                </a:cubicBezTo>
                <a:cubicBezTo>
                  <a:pt x="1788" y="144"/>
                  <a:pt x="1687" y="245"/>
                  <a:pt x="1687" y="370"/>
                </a:cubicBezTo>
                <a:cubicBezTo>
                  <a:pt x="1687" y="495"/>
                  <a:pt x="1788" y="596"/>
                  <a:pt x="1913" y="596"/>
                </a:cubicBezTo>
                <a:cubicBezTo>
                  <a:pt x="1961" y="596"/>
                  <a:pt x="2005" y="581"/>
                  <a:pt x="2042" y="555"/>
                </a:cubicBezTo>
                <a:cubicBezTo>
                  <a:pt x="2042" y="586"/>
                  <a:pt x="2042" y="586"/>
                  <a:pt x="2042" y="586"/>
                </a:cubicBezTo>
                <a:close/>
                <a:moveTo>
                  <a:pt x="1793" y="370"/>
                </a:moveTo>
                <a:cubicBezTo>
                  <a:pt x="1793" y="300"/>
                  <a:pt x="1849" y="245"/>
                  <a:pt x="1918" y="245"/>
                </a:cubicBezTo>
                <a:cubicBezTo>
                  <a:pt x="1987" y="245"/>
                  <a:pt x="2043" y="300"/>
                  <a:pt x="2043" y="370"/>
                </a:cubicBezTo>
                <a:cubicBezTo>
                  <a:pt x="2043" y="439"/>
                  <a:pt x="1987" y="495"/>
                  <a:pt x="1918" y="495"/>
                </a:cubicBezTo>
                <a:cubicBezTo>
                  <a:pt x="1849" y="495"/>
                  <a:pt x="1793" y="439"/>
                  <a:pt x="1793" y="370"/>
                </a:cubicBezTo>
                <a:close/>
                <a:moveTo>
                  <a:pt x="2191" y="444"/>
                </a:moveTo>
                <a:cubicBezTo>
                  <a:pt x="2195" y="532"/>
                  <a:pt x="2270" y="595"/>
                  <a:pt x="2396" y="595"/>
                </a:cubicBezTo>
                <a:cubicBezTo>
                  <a:pt x="2498" y="595"/>
                  <a:pt x="2583" y="550"/>
                  <a:pt x="2583" y="452"/>
                </a:cubicBezTo>
                <a:cubicBezTo>
                  <a:pt x="2583" y="383"/>
                  <a:pt x="2545" y="343"/>
                  <a:pt x="2456" y="326"/>
                </a:cubicBezTo>
                <a:cubicBezTo>
                  <a:pt x="2386" y="312"/>
                  <a:pt x="2386" y="312"/>
                  <a:pt x="2386" y="312"/>
                </a:cubicBezTo>
                <a:cubicBezTo>
                  <a:pt x="2342" y="304"/>
                  <a:pt x="2311" y="295"/>
                  <a:pt x="2311" y="269"/>
                </a:cubicBezTo>
                <a:cubicBezTo>
                  <a:pt x="2311" y="240"/>
                  <a:pt x="2341" y="227"/>
                  <a:pt x="2379" y="227"/>
                </a:cubicBezTo>
                <a:cubicBezTo>
                  <a:pt x="2433" y="227"/>
                  <a:pt x="2456" y="254"/>
                  <a:pt x="2457" y="287"/>
                </a:cubicBezTo>
                <a:cubicBezTo>
                  <a:pt x="2567" y="287"/>
                  <a:pt x="2567" y="287"/>
                  <a:pt x="2567" y="287"/>
                </a:cubicBezTo>
                <a:cubicBezTo>
                  <a:pt x="2561" y="201"/>
                  <a:pt x="2492" y="144"/>
                  <a:pt x="2382" y="144"/>
                </a:cubicBezTo>
                <a:cubicBezTo>
                  <a:pt x="2268" y="144"/>
                  <a:pt x="2201" y="206"/>
                  <a:pt x="2201" y="287"/>
                </a:cubicBezTo>
                <a:cubicBezTo>
                  <a:pt x="2201" y="387"/>
                  <a:pt x="2281" y="403"/>
                  <a:pt x="2350" y="416"/>
                </a:cubicBezTo>
                <a:cubicBezTo>
                  <a:pt x="2408" y="426"/>
                  <a:pt x="2408" y="426"/>
                  <a:pt x="2408" y="426"/>
                </a:cubicBezTo>
                <a:cubicBezTo>
                  <a:pt x="2449" y="434"/>
                  <a:pt x="2467" y="446"/>
                  <a:pt x="2467" y="470"/>
                </a:cubicBezTo>
                <a:cubicBezTo>
                  <a:pt x="2467" y="491"/>
                  <a:pt x="2446" y="513"/>
                  <a:pt x="2397" y="513"/>
                </a:cubicBezTo>
                <a:cubicBezTo>
                  <a:pt x="2326" y="513"/>
                  <a:pt x="2303" y="476"/>
                  <a:pt x="2302" y="444"/>
                </a:cubicBezTo>
                <a:cubicBezTo>
                  <a:pt x="2191" y="444"/>
                  <a:pt x="2191" y="444"/>
                  <a:pt x="2191" y="444"/>
                </a:cubicBezTo>
                <a:close/>
              </a:path>
            </a:pathLst>
          </a:custGeom>
          <a:solidFill>
            <a:schemeClr val="tx1"/>
          </a:solidFill>
          <a:ln>
            <a:noFill/>
          </a:ln>
        </p:spPr>
        <p:txBody>
          <a:bodyPr lIns="120923" tIns="60463" rIns="120923" bIns="60463"/>
          <a:lstStyle/>
          <a:p>
            <a:pPr eaLnBrk="1" fontAlgn="auto" hangingPunct="1">
              <a:spcBef>
                <a:spcPts val="0"/>
              </a:spcBef>
              <a:spcAft>
                <a:spcPts val="0"/>
              </a:spcAft>
              <a:defRPr/>
            </a:pPr>
            <a:endParaRPr lang="en-US" sz="2381">
              <a:latin typeface="adiText Light Beta" pitchFamily="34" charset="0"/>
            </a:endParaRPr>
          </a:p>
        </p:txBody>
      </p:sp>
      <p:sp>
        <p:nvSpPr>
          <p:cNvPr id="9" name="Subtitle 2"/>
          <p:cNvSpPr>
            <a:spLocks noGrp="1"/>
          </p:cNvSpPr>
          <p:nvPr>
            <p:ph type="subTitle" idx="1"/>
          </p:nvPr>
        </p:nvSpPr>
        <p:spPr bwMode="gray">
          <a:xfrm>
            <a:off x="1142541" y="4731038"/>
            <a:ext cx="8384230" cy="60332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a:t>Click to edit Master subtitle style</a:t>
            </a:r>
          </a:p>
        </p:txBody>
      </p:sp>
      <p:sp>
        <p:nvSpPr>
          <p:cNvPr id="2" name="Title 1"/>
          <p:cNvSpPr>
            <a:spLocks noGrp="1"/>
          </p:cNvSpPr>
          <p:nvPr>
            <p:ph type="title"/>
          </p:nvPr>
        </p:nvSpPr>
        <p:spPr>
          <a:xfrm>
            <a:off x="1142541" y="2286174"/>
            <a:ext cx="8384230" cy="2444863"/>
          </a:xfrm>
        </p:spPr>
        <p:txBody>
          <a:bodyPr anchor="b"/>
          <a:lstStyle>
            <a:lvl1pPr>
              <a:lnSpc>
                <a:spcPct val="70000"/>
              </a:lnSpc>
              <a:defRPr sz="6348" b="0" i="0">
                <a:solidFill>
                  <a:schemeClr val="tx1"/>
                </a:solidFill>
                <a:latin typeface="adineue PRO Black" pitchFamily="34" charset="0"/>
              </a:defRPr>
            </a:lvl1pPr>
          </a:lstStyle>
          <a:p>
            <a:r>
              <a:rPr lang="en-US" noProof="0"/>
              <a:t>Click to edit Master title style</a:t>
            </a:r>
          </a:p>
        </p:txBody>
      </p:sp>
      <p:sp>
        <p:nvSpPr>
          <p:cNvPr id="13" name="Text Placeholder 12">
            <a:extLst>
              <a:ext uri="{FF2B5EF4-FFF2-40B4-BE49-F238E27FC236}">
                <a16:creationId xmlns:a16="http://schemas.microsoft.com/office/drawing/2014/main" id="{E4CEB5D7-12CC-4940-B511-8E9099FE97C0}"/>
              </a:ext>
            </a:extLst>
          </p:cNvPr>
          <p:cNvSpPr>
            <a:spLocks noGrp="1"/>
          </p:cNvSpPr>
          <p:nvPr>
            <p:ph type="body" sz="quarter" idx="10"/>
          </p:nvPr>
        </p:nvSpPr>
        <p:spPr>
          <a:xfrm>
            <a:off x="1142542" y="5845891"/>
            <a:ext cx="8384228" cy="466159"/>
          </a:xfrm>
        </p:spPr>
        <p:txBody>
          <a:bodyPr anchor="ctr"/>
          <a:lstStyle>
            <a:lvl1pPr>
              <a:defRPr sz="1389"/>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3204696262"/>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5" name="Object 3" hidden="1">
            <a:extLst>
              <a:ext uri="{FF2B5EF4-FFF2-40B4-BE49-F238E27FC236}">
                <a16:creationId xmlns:a16="http://schemas.microsoft.com/office/drawing/2014/main" id="{99414ABC-CDEC-4E6B-8662-A4515666B5DC}"/>
              </a:ext>
            </a:extLst>
          </p:cNvPr>
          <p:cNvGraphicFramePr>
            <a:graphicFrameLocks noChangeAspect="1"/>
          </p:cNvGraphicFramePr>
          <p:nvPr>
            <p:custDataLst>
              <p:tags r:id="rId2"/>
            </p:custDataLst>
          </p:nvPr>
        </p:nvGraphicFramePr>
        <p:xfrm>
          <a:off x="1589" y="1588"/>
          <a:ext cx="3175" cy="3175"/>
        </p:xfrm>
        <a:graphic>
          <a:graphicData uri="http://schemas.openxmlformats.org/presentationml/2006/ole">
            <mc:AlternateContent xmlns:mc="http://schemas.openxmlformats.org/markup-compatibility/2006">
              <mc:Choice xmlns:v="urn:schemas-microsoft-com:vml" Requires="v">
                <p:oleObj spid="_x0000_s16386" name="think-cell Slide" r:id="rId5" imgW="360" imgH="360" progId="TCLayout.ActiveDocument.1">
                  <p:embed/>
                </p:oleObj>
              </mc:Choice>
              <mc:Fallback>
                <p:oleObj name="think-cell Slide" r:id="rId5" imgW="360" imgH="360" progId="TCLayout.ActiveDocument.1">
                  <p:embed/>
                  <p:pic>
                    <p:nvPicPr>
                      <p:cNvPr id="5" name="Object 3" hidden="1">
                        <a:extLst>
                          <a:ext uri="{FF2B5EF4-FFF2-40B4-BE49-F238E27FC236}">
                            <a16:creationId xmlns:a16="http://schemas.microsoft.com/office/drawing/2014/main" id="{99414ABC-CDEC-4E6B-8662-A4515666B5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0976CAF5-A1B1-4BDF-BC28-230FD9759761}"/>
              </a:ext>
            </a:extLst>
          </p:cNvPr>
          <p:cNvSpPr/>
          <p:nvPr userDrawn="1">
            <p:custDataLst>
              <p:tags r:id="rId3"/>
            </p:custDataLst>
          </p:nvPr>
        </p:nvSpPr>
        <p:spPr bwMode="gray">
          <a:xfrm>
            <a:off x="0" y="0"/>
            <a:ext cx="210026" cy="209982"/>
          </a:xfrm>
          <a:prstGeom prst="rect">
            <a:avLst/>
          </a:prstGeom>
          <a:noFill/>
          <a:ln w="12700" cap="sq">
            <a:solidFill>
              <a:schemeClr val="tx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Aft>
                <a:spcPts val="794"/>
              </a:spcAft>
              <a:buFontTx/>
              <a:buNone/>
            </a:pPr>
            <a:endParaRPr lang="en-US" sz="5289" b="0" i="0" baseline="0">
              <a:solidFill>
                <a:schemeClr val="tx1"/>
              </a:solidFill>
              <a:latin typeface="adineue TEXT Black" panose="020B0A03020201060004" pitchFamily="34" charset="0"/>
              <a:ea typeface="+mj-ea"/>
              <a:cs typeface="+mj-cs"/>
              <a:sym typeface="adineue TEXT Black" panose="020B0A03020201060004" pitchFamily="34" charset="0"/>
            </a:endParaRPr>
          </a:p>
        </p:txBody>
      </p:sp>
      <p:sp>
        <p:nvSpPr>
          <p:cNvPr id="4" name="Picture Placeholder 3"/>
          <p:cNvSpPr>
            <a:spLocks noGrp="1"/>
          </p:cNvSpPr>
          <p:nvPr>
            <p:ph type="pic" sz="quarter" idx="11"/>
          </p:nvPr>
        </p:nvSpPr>
        <p:spPr>
          <a:xfrm>
            <a:off x="0" y="2"/>
            <a:ext cx="12192000" cy="6858000"/>
          </a:xfrm>
          <a:solidFill>
            <a:schemeClr val="bg2"/>
          </a:solidFill>
        </p:spPr>
        <p:txBody>
          <a:bodyPr anchor="ctr"/>
          <a:lstStyle>
            <a:lvl1pPr algn="ctr">
              <a:defRPr>
                <a:solidFill>
                  <a:schemeClr val="bg1"/>
                </a:solidFill>
              </a:defRPr>
            </a:lvl1pPr>
          </a:lstStyle>
          <a:p>
            <a:pPr lvl="0"/>
            <a:r>
              <a:rPr lang="en-US" noProof="0"/>
              <a:t>Click icon to add picture</a:t>
            </a:r>
          </a:p>
        </p:txBody>
      </p:sp>
      <p:sp>
        <p:nvSpPr>
          <p:cNvPr id="2" name="Title 1"/>
          <p:cNvSpPr>
            <a:spLocks noGrp="1"/>
          </p:cNvSpPr>
          <p:nvPr>
            <p:ph type="ctrTitle"/>
          </p:nvPr>
        </p:nvSpPr>
        <p:spPr bwMode="gray">
          <a:xfrm>
            <a:off x="1142062" y="1143049"/>
            <a:ext cx="5335134" cy="1143653"/>
          </a:xfrm>
        </p:spPr>
        <p:txBody>
          <a:bodyPr/>
          <a:lstStyle>
            <a:lvl1pPr algn="l">
              <a:lnSpc>
                <a:spcPct val="100000"/>
              </a:lnSpc>
              <a:defRPr sz="5289" b="0" i="0" cap="all" spc="0" baseline="0">
                <a:solidFill>
                  <a:schemeClr val="bg1"/>
                </a:solidFill>
                <a:latin typeface="adineue TEXT Black" panose="020B0A03020201060004" pitchFamily="34" charset="0"/>
              </a:defRPr>
            </a:lvl1pPr>
          </a:lstStyle>
          <a:p>
            <a:r>
              <a:rPr lang="en-US" noProof="0"/>
              <a:t>Click to edit Master title style</a:t>
            </a:r>
          </a:p>
        </p:txBody>
      </p:sp>
      <p:sp>
        <p:nvSpPr>
          <p:cNvPr id="6" name="Text Placeholder 5"/>
          <p:cNvSpPr>
            <a:spLocks noGrp="1"/>
          </p:cNvSpPr>
          <p:nvPr>
            <p:ph type="body" sz="quarter" idx="10"/>
          </p:nvPr>
        </p:nvSpPr>
        <p:spPr bwMode="gray">
          <a:xfrm>
            <a:off x="2667580" y="2667015"/>
            <a:ext cx="6476999" cy="3428752"/>
          </a:xfrm>
        </p:spPr>
        <p:txBody>
          <a:bodyPr anchor="t" anchorCtr="0"/>
          <a:lstStyle>
            <a:lvl1pPr marL="380873" indent="-380873" algn="l">
              <a:lnSpc>
                <a:spcPct val="80000"/>
              </a:lnSpc>
              <a:spcBef>
                <a:spcPts val="0"/>
              </a:spcBef>
              <a:spcAft>
                <a:spcPts val="1323"/>
              </a:spcAft>
              <a:buClrTx/>
              <a:buSzPct val="90000"/>
              <a:buFont typeface="+mj-lt"/>
              <a:buAutoNum type="arabicPeriod"/>
              <a:defRPr sz="1587" b="0" i="0" cap="all" baseline="0">
                <a:solidFill>
                  <a:schemeClr val="bg1"/>
                </a:solidFill>
                <a:latin typeface="+mn-lt"/>
              </a:defRPr>
            </a:lvl1pPr>
            <a:lvl2pPr marL="0" indent="0" algn="l">
              <a:lnSpc>
                <a:spcPct val="80000"/>
              </a:lnSpc>
              <a:spcBef>
                <a:spcPts val="0"/>
              </a:spcBef>
              <a:spcAft>
                <a:spcPts val="1323"/>
              </a:spcAft>
              <a:buClrTx/>
              <a:buSzPct val="90000"/>
              <a:buFont typeface="+mj-lt"/>
              <a:buNone/>
              <a:defRPr sz="1587" b="0" i="0" cap="all" baseline="0">
                <a:solidFill>
                  <a:schemeClr val="bg1"/>
                </a:solidFill>
                <a:latin typeface="+mn-lt"/>
                <a:cs typeface="AdihausDIN" panose="020B0504020101020102" pitchFamily="34" charset="0"/>
              </a:defRPr>
            </a:lvl2pPr>
            <a:lvl3pPr marL="380873" indent="-380873"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3pPr>
            <a:lvl4pPr marL="380873" indent="-380873"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4pPr>
            <a:lvl5pPr marL="380873" indent="-380873" algn="l">
              <a:lnSpc>
                <a:spcPct val="80000"/>
              </a:lnSpc>
              <a:spcBef>
                <a:spcPts val="0"/>
              </a:spcBef>
              <a:spcAft>
                <a:spcPts val="1323"/>
              </a:spcAft>
              <a:buClrTx/>
              <a:buSzPct val="90000"/>
              <a:defRPr sz="1587" b="0" i="0" cap="all" baseline="0">
                <a:solidFill>
                  <a:schemeClr val="bg1"/>
                </a:solidFill>
                <a:latin typeface="+mn-lt"/>
                <a:cs typeface="AdihausDIN" panose="020B0504020101020102" pitchFamily="34" charset="0"/>
              </a:defRPr>
            </a:lvl5pPr>
            <a:lvl6pPr marL="380873" indent="-380873"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6pPr>
            <a:lvl7pPr marL="380873" indent="-380873"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7pPr>
            <a:lvl8pPr marL="380873" indent="-380873"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8pPr>
            <a:lvl9pPr marL="380873" indent="-380873"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9pPr>
          </a:lstStyle>
          <a:p>
            <a:pPr lvl="0"/>
            <a:r>
              <a:rPr lang="en-US" noProof="0"/>
              <a:t>Click to edit Master text styles</a:t>
            </a:r>
          </a:p>
        </p:txBody>
      </p:sp>
      <p:sp>
        <p:nvSpPr>
          <p:cNvPr id="7" name="Slide Number Placeholder 5">
            <a:extLst>
              <a:ext uri="{FF2B5EF4-FFF2-40B4-BE49-F238E27FC236}">
                <a16:creationId xmlns:a16="http://schemas.microsoft.com/office/drawing/2014/main" id="{E090A0AC-FA6C-467C-B0EE-C5E99FCC01B1}"/>
              </a:ext>
            </a:extLst>
          </p:cNvPr>
          <p:cNvSpPr>
            <a:spLocks noGrp="1"/>
          </p:cNvSpPr>
          <p:nvPr>
            <p:ph type="sldNum" sz="quarter" idx="12"/>
          </p:nvPr>
        </p:nvSpPr>
        <p:spPr>
          <a:xfrm>
            <a:off x="11812588" y="6477001"/>
            <a:ext cx="379412" cy="381000"/>
          </a:xfrm>
        </p:spPr>
        <p:txBody>
          <a:bodyPr/>
          <a:lstStyle>
            <a:lvl1pPr algn="ctr" defTabSz="1218556" fontAlgn="auto">
              <a:spcBef>
                <a:spcPts val="0"/>
              </a:spcBef>
              <a:spcAft>
                <a:spcPts val="0"/>
              </a:spcAft>
              <a:buClrTx/>
              <a:defRPr sz="1058" b="0" i="0" cap="all" baseline="0" smtClean="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2E865A6E-6C70-49BC-B642-13A4F16D96A6}" type="slidenum">
              <a:rPr lang="en-US"/>
              <a:pPr>
                <a:defRPr/>
              </a:pPr>
              <a:t>‹#›</a:t>
            </a:fld>
            <a:endParaRPr lang="en-US"/>
          </a:p>
        </p:txBody>
      </p:sp>
    </p:spTree>
    <p:extLst>
      <p:ext uri="{BB962C8B-B14F-4D97-AF65-F5344CB8AC3E}">
        <p14:creationId xmlns:p14="http://schemas.microsoft.com/office/powerpoint/2010/main" val="3422756720"/>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9BC2E8-8C9B-4CBA-871A-A27A1A913E53}"/>
              </a:ext>
            </a:extLst>
          </p:cNvPr>
          <p:cNvGraphicFramePr>
            <a:graphicFrameLocks noChangeAspect="1"/>
          </p:cNvGraphicFramePr>
          <p:nvPr>
            <p:custDataLst>
              <p:tags r:id="rId2"/>
            </p:custDataLst>
          </p:nvPr>
        </p:nvGraphicFramePr>
        <p:xfrm>
          <a:off x="1589" y="1588"/>
          <a:ext cx="3175" cy="3175"/>
        </p:xfrm>
        <a:graphic>
          <a:graphicData uri="http://schemas.openxmlformats.org/presentationml/2006/ole">
            <mc:AlternateContent xmlns:mc="http://schemas.openxmlformats.org/markup-compatibility/2006">
              <mc:Choice xmlns:v="urn:schemas-microsoft-com:vml" Requires="v">
                <p:oleObj spid="_x0000_s17410"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989BC2E8-8C9B-4CBA-871A-A27A1A913E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4F51A8E5-6184-4760-89A1-064CDFE6CAD6}"/>
              </a:ext>
            </a:extLst>
          </p:cNvPr>
          <p:cNvSpPr/>
          <p:nvPr userDrawn="1">
            <p:custDataLst>
              <p:tags r:id="rId3"/>
            </p:custDataLst>
          </p:nvPr>
        </p:nvSpPr>
        <p:spPr bwMode="gray">
          <a:xfrm>
            <a:off x="0" y="0"/>
            <a:ext cx="210026" cy="209982"/>
          </a:xfrm>
          <a:prstGeom prst="rect">
            <a:avLst/>
          </a:prstGeom>
          <a:noFill/>
          <a:ln w="12700" cap="sq">
            <a:solidFill>
              <a:schemeClr val="tx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Aft>
                <a:spcPts val="794"/>
              </a:spcAft>
              <a:buFontTx/>
              <a:buNone/>
            </a:pPr>
            <a:endParaRPr lang="en-US" sz="2381" b="0" i="0" baseline="0">
              <a:solidFill>
                <a:schemeClr val="tx1"/>
              </a:solidFill>
              <a:latin typeface="adineue TEXT Black" panose="020B0A03020201060004" pitchFamily="34" charset="0"/>
              <a:ea typeface="+mj-ea"/>
              <a:cs typeface="+mj-cs"/>
              <a:sym typeface="adineue TEXT Black" panose="020B0A03020201060004" pitchFamily="34" charset="0"/>
            </a:endParaRPr>
          </a:p>
        </p:txBody>
      </p:sp>
      <p:sp>
        <p:nvSpPr>
          <p:cNvPr id="3" name="Titel 2"/>
          <p:cNvSpPr>
            <a:spLocks noGrp="1"/>
          </p:cNvSpPr>
          <p:nvPr>
            <p:ph type="title"/>
          </p:nvPr>
        </p:nvSpPr>
        <p:spPr bwMode="gray">
          <a:xfrm>
            <a:off x="380149" y="382168"/>
            <a:ext cx="11431705" cy="760132"/>
          </a:xfrm>
        </p:spPr>
        <p:txBody>
          <a:bodyPr/>
          <a:lstStyle>
            <a:lvl1pPr>
              <a:defRPr b="0"/>
            </a:lvl1pPr>
          </a:lstStyle>
          <a:p>
            <a:r>
              <a:rPr lang="en-US" noProof="0"/>
              <a:t>Click to edit Master title style</a:t>
            </a:r>
          </a:p>
        </p:txBody>
      </p:sp>
      <p:sp>
        <p:nvSpPr>
          <p:cNvPr id="6" name="Slide Number Placeholder 5">
            <a:extLst>
              <a:ext uri="{FF2B5EF4-FFF2-40B4-BE49-F238E27FC236}">
                <a16:creationId xmlns:a16="http://schemas.microsoft.com/office/drawing/2014/main" id="{5C8DB9FE-46D5-484B-962B-5DD78D3BF6F1}"/>
              </a:ext>
            </a:extLst>
          </p:cNvPr>
          <p:cNvSpPr>
            <a:spLocks noGrp="1"/>
          </p:cNvSpPr>
          <p:nvPr>
            <p:ph type="sldNum" sz="quarter" idx="10"/>
          </p:nvPr>
        </p:nvSpPr>
        <p:spPr>
          <a:xfrm>
            <a:off x="11812588" y="6477001"/>
            <a:ext cx="379412" cy="381000"/>
          </a:xfrm>
        </p:spPr>
        <p:txBody>
          <a:bodyPr/>
          <a:lstStyle>
            <a:lvl1pPr algn="ctr" defTabSz="1218556" fontAlgn="auto">
              <a:spcBef>
                <a:spcPts val="0"/>
              </a:spcBef>
              <a:spcAft>
                <a:spcPts val="0"/>
              </a:spcAft>
              <a:buClrTx/>
              <a:defRPr sz="1058" b="0" i="0" cap="all" baseline="0" smtClean="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8E45F1A2-DC05-41FB-A0A5-C8BE796A062F}" type="slidenum">
              <a:rPr lang="en-US"/>
              <a:pPr>
                <a:defRPr/>
              </a:pPr>
              <a:t>‹#›</a:t>
            </a:fld>
            <a:endParaRPr lang="en-US"/>
          </a:p>
        </p:txBody>
      </p:sp>
    </p:spTree>
    <p:extLst>
      <p:ext uri="{BB962C8B-B14F-4D97-AF65-F5344CB8AC3E}">
        <p14:creationId xmlns:p14="http://schemas.microsoft.com/office/powerpoint/2010/main" val="432955964"/>
      </p:ext>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w/ Footno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4002C9-C852-4A99-A628-BDE236C4E5EE}"/>
              </a:ext>
            </a:extLst>
          </p:cNvPr>
          <p:cNvGraphicFramePr>
            <a:graphicFrameLocks noChangeAspect="1"/>
          </p:cNvGraphicFramePr>
          <p:nvPr>
            <p:custDataLst>
              <p:tags r:id="rId2"/>
            </p:custDataLst>
          </p:nvPr>
        </p:nvGraphicFramePr>
        <p:xfrm>
          <a:off x="1589" y="1588"/>
          <a:ext cx="3175" cy="3175"/>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674002C9-C852-4A99-A628-BDE236C4E5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7506EBC5-02DB-4402-8776-2E62AAA5C1B0}"/>
              </a:ext>
            </a:extLst>
          </p:cNvPr>
          <p:cNvSpPr/>
          <p:nvPr userDrawn="1">
            <p:custDataLst>
              <p:tags r:id="rId3"/>
            </p:custDataLst>
          </p:nvPr>
        </p:nvSpPr>
        <p:spPr bwMode="gray">
          <a:xfrm>
            <a:off x="0" y="0"/>
            <a:ext cx="210026" cy="209982"/>
          </a:xfrm>
          <a:prstGeom prst="rect">
            <a:avLst/>
          </a:prstGeom>
          <a:noFill/>
          <a:ln w="12700" cap="sq">
            <a:solidFill>
              <a:schemeClr val="tx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Aft>
                <a:spcPts val="794"/>
              </a:spcAft>
              <a:buFontTx/>
              <a:buNone/>
            </a:pPr>
            <a:endParaRPr lang="en-US" sz="2381" b="0" i="0" baseline="0">
              <a:solidFill>
                <a:schemeClr val="tx1"/>
              </a:solidFill>
              <a:latin typeface="adineue TEXT Black" panose="020B0A03020201060004" pitchFamily="34" charset="0"/>
              <a:ea typeface="+mj-ea"/>
              <a:cs typeface="+mj-cs"/>
              <a:sym typeface="adineue TEXT Black" panose="020B0A03020201060004" pitchFamily="34" charset="0"/>
            </a:endParaRPr>
          </a:p>
        </p:txBody>
      </p:sp>
      <p:sp>
        <p:nvSpPr>
          <p:cNvPr id="3" name="Titel 2"/>
          <p:cNvSpPr>
            <a:spLocks noGrp="1"/>
          </p:cNvSpPr>
          <p:nvPr>
            <p:ph type="title"/>
          </p:nvPr>
        </p:nvSpPr>
        <p:spPr bwMode="gray">
          <a:xfrm>
            <a:off x="380149" y="382168"/>
            <a:ext cx="11431705" cy="760132"/>
          </a:xfrm>
        </p:spPr>
        <p:txBody>
          <a:bodyPr/>
          <a:lstStyle>
            <a:lvl1pPr>
              <a:defRPr b="0"/>
            </a:lvl1pPr>
          </a:lstStyle>
          <a:p>
            <a:r>
              <a:rPr lang="en-US" noProof="0"/>
              <a:t>Click to edit Master title style</a:t>
            </a:r>
          </a:p>
        </p:txBody>
      </p:sp>
      <p:sp>
        <p:nvSpPr>
          <p:cNvPr id="6" name="Text Placeholder 5">
            <a:extLst>
              <a:ext uri="{FF2B5EF4-FFF2-40B4-BE49-F238E27FC236}">
                <a16:creationId xmlns:a16="http://schemas.microsoft.com/office/drawing/2014/main" id="{C88A8358-3A55-4556-B086-617123AC6845}"/>
              </a:ext>
            </a:extLst>
          </p:cNvPr>
          <p:cNvSpPr>
            <a:spLocks noGrp="1"/>
          </p:cNvSpPr>
          <p:nvPr>
            <p:ph type="body" sz="quarter" idx="10"/>
          </p:nvPr>
        </p:nvSpPr>
        <p:spPr>
          <a:xfrm>
            <a:off x="380149" y="6476937"/>
            <a:ext cx="11431705" cy="296073"/>
          </a:xfrm>
        </p:spPr>
        <p:txBody>
          <a:bodyPr anchor="b"/>
          <a:lstStyle>
            <a:lvl1pPr>
              <a:spcAft>
                <a:spcPts val="0"/>
              </a:spcAft>
              <a:defRPr sz="926"/>
            </a:lvl1pPr>
          </a:lstStyle>
          <a:p>
            <a:pPr lvl="0"/>
            <a:r>
              <a:rPr lang="en-US"/>
              <a:t>Click to edit Master text styles</a:t>
            </a:r>
          </a:p>
        </p:txBody>
      </p:sp>
      <p:sp>
        <p:nvSpPr>
          <p:cNvPr id="7" name="Slide Number Placeholder 5">
            <a:extLst>
              <a:ext uri="{FF2B5EF4-FFF2-40B4-BE49-F238E27FC236}">
                <a16:creationId xmlns:a16="http://schemas.microsoft.com/office/drawing/2014/main" id="{3F6CB2ED-417A-4B54-9739-686A9162D5F0}"/>
              </a:ext>
            </a:extLst>
          </p:cNvPr>
          <p:cNvSpPr>
            <a:spLocks noGrp="1"/>
          </p:cNvSpPr>
          <p:nvPr>
            <p:ph type="sldNum" sz="quarter" idx="11"/>
          </p:nvPr>
        </p:nvSpPr>
        <p:spPr>
          <a:xfrm>
            <a:off x="11812588" y="6477001"/>
            <a:ext cx="379412" cy="381000"/>
          </a:xfrm>
        </p:spPr>
        <p:txBody>
          <a:bodyPr/>
          <a:lstStyle>
            <a:lvl1pPr algn="ctr" defTabSz="1218556" fontAlgn="auto">
              <a:spcBef>
                <a:spcPts val="0"/>
              </a:spcBef>
              <a:spcAft>
                <a:spcPts val="0"/>
              </a:spcAft>
              <a:buClrTx/>
              <a:defRPr sz="1058" b="0" i="0" cap="all" baseline="0" smtClean="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22F3F565-D855-4D70-BF77-4F6AF1A68973}" type="slidenum">
              <a:rPr lang="en-US"/>
              <a:pPr>
                <a:defRPr/>
              </a:pPr>
              <a:t>‹#›</a:t>
            </a:fld>
            <a:endParaRPr lang="en-US"/>
          </a:p>
        </p:txBody>
      </p:sp>
    </p:spTree>
    <p:extLst>
      <p:ext uri="{BB962C8B-B14F-4D97-AF65-F5344CB8AC3E}">
        <p14:creationId xmlns:p14="http://schemas.microsoft.com/office/powerpoint/2010/main" val="1451342943"/>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678733" anchor="ctr" anchorCtr="0"/>
          <a:lstStyle>
            <a:lvl1pPr algn="ctr">
              <a:lnSpc>
                <a:spcPct val="100000"/>
              </a:lnSpc>
              <a:spcAft>
                <a:spcPts val="0"/>
              </a:spcAft>
              <a:defRPr sz="1344">
                <a:solidFill>
                  <a:schemeClr val="bg2"/>
                </a:solidFill>
              </a:defRPr>
            </a:lvl1pPr>
          </a:lstStyle>
          <a:p>
            <a:pPr lvl="0"/>
            <a:r>
              <a:rPr lang="en-US" noProof="0" dirty="0"/>
              <a:t>Click icon to add picture</a:t>
            </a:r>
          </a:p>
        </p:txBody>
      </p:sp>
      <p:sp>
        <p:nvSpPr>
          <p:cNvPr id="9"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dirty="0"/>
              <a:t>Click to edit Master subtitle style</a:t>
            </a:r>
          </a:p>
        </p:txBody>
      </p:sp>
      <p:sp>
        <p:nvSpPr>
          <p:cNvPr id="2" name="Title 1"/>
          <p:cNvSpPr>
            <a:spLocks noGrp="1"/>
          </p:cNvSpPr>
          <p:nvPr>
            <p:ph type="title" hasCustomPrompt="1"/>
          </p:nvPr>
        </p:nvSpPr>
        <p:spPr>
          <a:xfrm>
            <a:off x="1142542" y="2286174"/>
            <a:ext cx="6477197" cy="2444863"/>
          </a:xfrm>
        </p:spPr>
        <p:txBody>
          <a:bodyPr tIns="0" anchor="b"/>
          <a:lstStyle>
            <a:lvl1pPr>
              <a:lnSpc>
                <a:spcPct val="70000"/>
              </a:lnSpc>
              <a:defRPr sz="6349" b="0" i="0">
                <a:solidFill>
                  <a:schemeClr val="tx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83970ED0-81AC-423A-BEA5-8573EBB25783}"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11"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933846456"/>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EEB0F-1CC3-4928-8AB2-2339D8EE2EFB}"/>
              </a:ext>
            </a:extLst>
          </p:cNvPr>
          <p:cNvGraphicFramePr>
            <a:graphicFrameLocks noChangeAspect="1"/>
          </p:cNvGraphicFramePr>
          <p:nvPr userDrawn="1">
            <p:custDataLst>
              <p:tags r:id="rId2"/>
            </p:custDataLst>
          </p:nvPr>
        </p:nvGraphicFramePr>
        <p:xfrm>
          <a:off x="2101" y="2101"/>
          <a:ext cx="2101" cy="2100"/>
        </p:xfrm>
        <a:graphic>
          <a:graphicData uri="http://schemas.openxmlformats.org/presentationml/2006/ole">
            <mc:AlternateContent xmlns:mc="http://schemas.openxmlformats.org/markup-compatibility/2006">
              <mc:Choice xmlns:v="urn:schemas-microsoft-com:vml" Requires="v">
                <p:oleObj spid="_x0000_s1945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0B0EEB0F-1CC3-4928-8AB2-2339D8EE2EFB}"/>
                          </a:ext>
                        </a:extLst>
                      </p:cNvPr>
                      <p:cNvPicPr/>
                      <p:nvPr/>
                    </p:nvPicPr>
                    <p:blipFill>
                      <a:blip r:embed="rId6"/>
                      <a:stretch>
                        <a:fillRect/>
                      </a:stretch>
                    </p:blipFill>
                    <p:spPr>
                      <a:xfrm>
                        <a:off x="2101" y="2101"/>
                        <a:ext cx="2101" cy="210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E1D82F-35D1-4D19-8055-2AAD31FB610F}"/>
              </a:ext>
            </a:extLst>
          </p:cNvPr>
          <p:cNvSpPr/>
          <p:nvPr userDrawn="1">
            <p:custDataLst>
              <p:tags r:id="rId3"/>
            </p:custDataLst>
          </p:nvPr>
        </p:nvSpPr>
        <p:spPr bwMode="gray">
          <a:xfrm>
            <a:off x="0" y="0"/>
            <a:ext cx="210026" cy="209982"/>
          </a:xfrm>
          <a:prstGeom prst="rect">
            <a:avLst/>
          </a:prstGeom>
          <a:noFill/>
          <a:ln w="12700" cap="sq">
            <a:solidFill>
              <a:schemeClr val="tx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Aft>
                <a:spcPts val="794"/>
              </a:spcAft>
              <a:buFontTx/>
              <a:buNone/>
            </a:pPr>
            <a:endParaRPr lang="en-US" sz="2381" b="0" i="0" baseline="0">
              <a:solidFill>
                <a:schemeClr val="tx1"/>
              </a:solidFill>
              <a:latin typeface="adineue TEXT Black" panose="020B0A03020201060004" pitchFamily="34" charset="0"/>
              <a:ea typeface="+mj-ea"/>
              <a:cs typeface="+mj-cs"/>
              <a:sym typeface="adineue TEXT Black" panose="020B0A03020201060004" pitchFamily="34" charset="0"/>
            </a:endParaRPr>
          </a:p>
        </p:txBody>
      </p:sp>
      <p:sp>
        <p:nvSpPr>
          <p:cNvPr id="2" name="Titel 1"/>
          <p:cNvSpPr>
            <a:spLocks noGrp="1"/>
          </p:cNvSpPr>
          <p:nvPr>
            <p:ph type="title"/>
          </p:nvPr>
        </p:nvSpPr>
        <p:spPr bwMode="gray"/>
        <p:txBody>
          <a:bodyPr/>
          <a:lstStyle>
            <a:lvl1pPr>
              <a:defRPr b="0">
                <a:solidFill>
                  <a:schemeClr val="tx1"/>
                </a:solidFill>
              </a:defRPr>
            </a:lvl1pPr>
          </a:lstStyle>
          <a:p>
            <a:r>
              <a:rPr lang="en-US" noProof="0"/>
              <a:t>Click to edit Master title style</a:t>
            </a:r>
          </a:p>
        </p:txBody>
      </p:sp>
      <p:sp>
        <p:nvSpPr>
          <p:cNvPr id="14" name="Slide Number Placeholder 13"/>
          <p:cNvSpPr>
            <a:spLocks noGrp="1"/>
          </p:cNvSpPr>
          <p:nvPr>
            <p:ph type="sldNum" sz="quarter" idx="24"/>
          </p:nvPr>
        </p:nvSpPr>
        <p:spPr/>
        <p:txBody>
          <a:bodyPr/>
          <a:lstStyle/>
          <a:p>
            <a:pPr>
              <a:defRPr/>
            </a:pPr>
            <a:fld id="{66C8B3C2-955F-42B1-8DED-EE47D723596C}" type="slidenum">
              <a:rPr lang="en-US" smtClean="0"/>
              <a:pPr>
                <a:defRPr/>
              </a:pPr>
              <a:t>‹#›</a:t>
            </a:fld>
            <a:endParaRPr lang="en-US"/>
          </a:p>
        </p:txBody>
      </p:sp>
      <p:sp>
        <p:nvSpPr>
          <p:cNvPr id="16" name="Text Placeholder 15"/>
          <p:cNvSpPr>
            <a:spLocks noGrp="1"/>
          </p:cNvSpPr>
          <p:nvPr>
            <p:ph type="body" sz="quarter" idx="25" hasCustomPrompt="1"/>
          </p:nvPr>
        </p:nvSpPr>
        <p:spPr>
          <a:xfrm>
            <a:off x="760293" y="1524466"/>
            <a:ext cx="9906919" cy="4571301"/>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751263"/>
      </p:ext>
    </p:extLst>
  </p:cSld>
  <p:clrMapOvr>
    <a:masterClrMapping/>
  </p:clrMapOvr>
  <p:transitio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Slide Compan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0EA88E-85F6-49D0-814D-D18A0FDEDCCD}"/>
              </a:ext>
            </a:extLst>
          </p:cNvPr>
          <p:cNvGraphicFramePr>
            <a:graphicFrameLocks noChangeAspect="1"/>
          </p:cNvGraphicFramePr>
          <p:nvPr userDrawn="1">
            <p:custDataLst>
              <p:tags r:id="rId2"/>
            </p:custDataLst>
          </p:nvPr>
        </p:nvGraphicFramePr>
        <p:xfrm>
          <a:off x="2101" y="2101"/>
          <a:ext cx="2101" cy="2100"/>
        </p:xfrm>
        <a:graphic>
          <a:graphicData uri="http://schemas.openxmlformats.org/presentationml/2006/ole">
            <mc:AlternateContent xmlns:mc="http://schemas.openxmlformats.org/markup-compatibility/2006">
              <mc:Choice xmlns:v="urn:schemas-microsoft-com:vml" Requires="v">
                <p:oleObj spid="_x0000_s20482"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C0EA88E-85F6-49D0-814D-D18A0FDEDCCD}"/>
                          </a:ext>
                        </a:extLst>
                      </p:cNvPr>
                      <p:cNvPicPr/>
                      <p:nvPr/>
                    </p:nvPicPr>
                    <p:blipFill>
                      <a:blip r:embed="rId6"/>
                      <a:stretch>
                        <a:fillRect/>
                      </a:stretch>
                    </p:blipFill>
                    <p:spPr>
                      <a:xfrm>
                        <a:off x="2101" y="2101"/>
                        <a:ext cx="2101" cy="210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50A78A-1BA6-4228-A455-775A9C038580}"/>
              </a:ext>
            </a:extLst>
          </p:cNvPr>
          <p:cNvSpPr/>
          <p:nvPr userDrawn="1">
            <p:custDataLst>
              <p:tags r:id="rId3"/>
            </p:custDataLst>
          </p:nvPr>
        </p:nvSpPr>
        <p:spPr bwMode="gray">
          <a:xfrm>
            <a:off x="0" y="0"/>
            <a:ext cx="210026" cy="209982"/>
          </a:xfrm>
          <a:prstGeom prst="rect">
            <a:avLst/>
          </a:prstGeom>
          <a:noFill/>
          <a:ln w="12700" cap="sq">
            <a:solidFill>
              <a:schemeClr val="tx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Aft>
                <a:spcPts val="794"/>
              </a:spcAft>
              <a:buFontTx/>
              <a:buNone/>
            </a:pPr>
            <a:endParaRPr lang="en-US" sz="6348" b="0" i="0" baseline="0">
              <a:solidFill>
                <a:schemeClr val="tx1"/>
              </a:solidFill>
              <a:latin typeface="adineue PRO Black" panose="020B0A03020201060004" pitchFamily="34" charset="0"/>
              <a:ea typeface="+mj-ea"/>
              <a:cs typeface="+mj-cs"/>
              <a:sym typeface="adineue PRO Black" panose="020B0A03020201060004" pitchFamily="34" charset="0"/>
            </a:endParaRPr>
          </a:p>
        </p:txBody>
      </p:sp>
      <p:sp>
        <p:nvSpPr>
          <p:cNvPr id="14" name="Picture Placeholder 2"/>
          <p:cNvSpPr>
            <a:spLocks noGrp="1"/>
          </p:cNvSpPr>
          <p:nvPr>
            <p:ph type="pic" sz="quarter" idx="14"/>
          </p:nvPr>
        </p:nvSpPr>
        <p:spPr bwMode="gray">
          <a:xfrm>
            <a:off x="1" y="2"/>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678733" anchor="ctr" anchorCtr="0"/>
          <a:lstStyle>
            <a:lvl1pPr algn="ctr">
              <a:lnSpc>
                <a:spcPct val="100000"/>
              </a:lnSpc>
              <a:spcAft>
                <a:spcPts val="0"/>
              </a:spcAft>
              <a:defRPr sz="1344">
                <a:solidFill>
                  <a:schemeClr val="bg2"/>
                </a:solidFill>
              </a:defRPr>
            </a:lvl1pPr>
          </a:lstStyle>
          <a:p>
            <a:pPr lvl="0"/>
            <a:r>
              <a:rPr lang="en-US" noProof="0"/>
              <a:t>Click icon to add picture</a:t>
            </a:r>
          </a:p>
        </p:txBody>
      </p:sp>
      <p:sp>
        <p:nvSpPr>
          <p:cNvPr id="9" name="Subtitle 2"/>
          <p:cNvSpPr>
            <a:spLocks noGrp="1"/>
          </p:cNvSpPr>
          <p:nvPr>
            <p:ph type="subTitle" idx="1"/>
          </p:nvPr>
        </p:nvSpPr>
        <p:spPr bwMode="gray">
          <a:xfrm>
            <a:off x="1142543"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a:t>Click to edit Master subtitle style</a:t>
            </a:r>
          </a:p>
        </p:txBody>
      </p:sp>
      <p:sp>
        <p:nvSpPr>
          <p:cNvPr id="2" name="Title 1"/>
          <p:cNvSpPr>
            <a:spLocks noGrp="1"/>
          </p:cNvSpPr>
          <p:nvPr>
            <p:ph type="title" hasCustomPrompt="1"/>
          </p:nvPr>
        </p:nvSpPr>
        <p:spPr>
          <a:xfrm>
            <a:off x="1142543" y="2286174"/>
            <a:ext cx="6477197" cy="2444863"/>
          </a:xfrm>
        </p:spPr>
        <p:txBody>
          <a:bodyPr tIns="0" anchor="b"/>
          <a:lstStyle>
            <a:lvl1pPr>
              <a:lnSpc>
                <a:spcPct val="70000"/>
              </a:lnSpc>
              <a:defRPr sz="6348" b="0" i="0">
                <a:solidFill>
                  <a:schemeClr val="tx1"/>
                </a:solidFill>
                <a:latin typeface="adineue PRO Black" pitchFamily="34" charset="0"/>
              </a:defRPr>
            </a:lvl1pPr>
          </a:lstStyle>
          <a:p>
            <a:r>
              <a:rPr lang="en-US" noProof="0"/>
              <a:t>Global Template</a:t>
            </a:r>
          </a:p>
        </p:txBody>
      </p:sp>
      <p:sp>
        <p:nvSpPr>
          <p:cNvPr id="3" name="Date Placeholder 2"/>
          <p:cNvSpPr>
            <a:spLocks noGrp="1"/>
          </p:cNvSpPr>
          <p:nvPr>
            <p:ph type="dt" sz="half" idx="15"/>
          </p:nvPr>
        </p:nvSpPr>
        <p:spPr>
          <a:xfrm>
            <a:off x="10287794" y="6951654"/>
            <a:ext cx="1143218" cy="379993"/>
          </a:xfrm>
        </p:spPr>
        <p:txBody>
          <a:bodyPr/>
          <a:lstStyle/>
          <a:p>
            <a:pPr>
              <a:defRPr/>
            </a:pPr>
            <a:fld id="{0FF356E1-95A1-4ABD-84E7-6D5CDAC1F61F}" type="datetime5">
              <a:rPr lang="en-US" smtClean="0"/>
              <a:t>6-Oct-21</a:t>
            </a:fld>
            <a:endParaRPr lang="en-US"/>
          </a:p>
        </p:txBody>
      </p:sp>
      <p:sp>
        <p:nvSpPr>
          <p:cNvPr id="4" name="Footer Placeholder 3"/>
          <p:cNvSpPr>
            <a:spLocks noGrp="1"/>
          </p:cNvSpPr>
          <p:nvPr>
            <p:ph type="ftr" sz="quarter" idx="16"/>
          </p:nvPr>
        </p:nvSpPr>
        <p:spPr>
          <a:xfrm>
            <a:off x="5334658" y="6951654"/>
            <a:ext cx="4952409" cy="379993"/>
          </a:xfrm>
        </p:spPr>
        <p:txBody>
          <a:bodyPr/>
          <a:lstStyle/>
          <a:p>
            <a:pPr>
              <a:defRPr/>
            </a:pPr>
            <a:r>
              <a:rPr lang="en-US"/>
              <a:t>FOOTER / PRESENTATION NAME</a:t>
            </a:r>
          </a:p>
        </p:txBody>
      </p:sp>
      <p:sp>
        <p:nvSpPr>
          <p:cNvPr id="11" name="Slide Number Placeholder 10"/>
          <p:cNvSpPr>
            <a:spLocks noGrp="1"/>
          </p:cNvSpPr>
          <p:nvPr>
            <p:ph type="sldNum" sz="quarter" idx="17"/>
          </p:nvPr>
        </p:nvSpPr>
        <p:spPr>
          <a:xfrm>
            <a:off x="11429607" y="6950656"/>
            <a:ext cx="762393" cy="381063"/>
          </a:xfrm>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123531501"/>
      </p:ext>
    </p:extLst>
  </p:cSld>
  <p:clrMapOvr>
    <a:masterClrMapping/>
  </p:clrMapOvr>
  <p:transition spd="med">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678733" anchor="ctr" anchorCtr="0"/>
          <a:lstStyle>
            <a:lvl1pPr algn="ctr">
              <a:lnSpc>
                <a:spcPct val="100000"/>
              </a:lnSpc>
              <a:spcAft>
                <a:spcPts val="0"/>
              </a:spcAft>
              <a:defRPr sz="1344">
                <a:solidFill>
                  <a:schemeClr val="bg2"/>
                </a:solidFill>
              </a:defRPr>
            </a:lvl1pPr>
          </a:lstStyle>
          <a:p>
            <a:pPr lvl="0"/>
            <a:r>
              <a:rPr lang="en-US" noProof="0"/>
              <a:t>Click icon to add picture</a:t>
            </a:r>
            <a:endParaRPr lang="en-US"/>
          </a:p>
        </p:txBody>
      </p:sp>
      <p:sp>
        <p:nvSpPr>
          <p:cNvPr id="12" name="Tijdelijke aanduiding voor tekst 7">
            <a:extLst>
              <a:ext uri="{FF2B5EF4-FFF2-40B4-BE49-F238E27FC236}">
                <a16:creationId xmlns:a16="http://schemas.microsoft.com/office/drawing/2014/main" id="{6736B303-8C5B-402E-8244-4DEB21284A5B}"/>
              </a:ext>
            </a:extLst>
          </p:cNvPr>
          <p:cNvSpPr>
            <a:spLocks noGrp="1"/>
          </p:cNvSpPr>
          <p:nvPr>
            <p:ph type="body" sz="quarter" idx="15" hasCustomPrompt="1"/>
          </p:nvPr>
        </p:nvSpPr>
        <p:spPr>
          <a:xfrm>
            <a:off x="8382131" y="1858339"/>
            <a:ext cx="1904934" cy="438861"/>
          </a:xfrm>
          <a:blipFill>
            <a:blip r:embed="rId2"/>
            <a:stretch>
              <a:fillRect/>
            </a:stretch>
          </a:blipFill>
        </p:spPr>
        <p:txBody>
          <a:bodyPr/>
          <a:lstStyle>
            <a:lvl1pPr>
              <a:defRPr/>
            </a:lvl1pPr>
          </a:lstStyle>
          <a:p>
            <a:pPr lvl="0"/>
            <a:r>
              <a:rPr lang="en-US"/>
              <a:t> </a:t>
            </a:r>
          </a:p>
        </p:txBody>
      </p:sp>
      <p:sp>
        <p:nvSpPr>
          <p:cNvPr id="10" name="Title 1">
            <a:extLst>
              <a:ext uri="{FF2B5EF4-FFF2-40B4-BE49-F238E27FC236}">
                <a16:creationId xmlns:a16="http://schemas.microsoft.com/office/drawing/2014/main" id="{68F85007-6F55-4427-9A07-446B4E1A4324}"/>
              </a:ext>
            </a:extLst>
          </p:cNvPr>
          <p:cNvSpPr>
            <a:spLocks noGrp="1"/>
          </p:cNvSpPr>
          <p:nvPr>
            <p:ph type="title"/>
          </p:nvPr>
        </p:nvSpPr>
        <p:spPr>
          <a:xfrm>
            <a:off x="1142542" y="2285522"/>
            <a:ext cx="6477197" cy="2444863"/>
          </a:xfrm>
        </p:spPr>
        <p:txBody>
          <a:bodyPr tIns="0" anchor="b"/>
          <a:lstStyle>
            <a:lvl1pPr>
              <a:lnSpc>
                <a:spcPct val="70000"/>
              </a:lnSpc>
              <a:defRPr sz="6349" b="0" i="0">
                <a:solidFill>
                  <a:schemeClr val="tx1"/>
                </a:solidFill>
                <a:latin typeface="adineue PRO Black" pitchFamily="34" charset="0"/>
              </a:defRPr>
            </a:lvl1pPr>
          </a:lstStyle>
          <a:p>
            <a:endParaRPr lang="en-US" noProof="0"/>
          </a:p>
        </p:txBody>
      </p:sp>
      <p:sp>
        <p:nvSpPr>
          <p:cNvPr id="11" name="Subtitle 2">
            <a:extLst>
              <a:ext uri="{FF2B5EF4-FFF2-40B4-BE49-F238E27FC236}">
                <a16:creationId xmlns:a16="http://schemas.microsoft.com/office/drawing/2014/main" id="{C95CA45B-1D40-4D4D-B9C8-345ECA32FC7F}"/>
              </a:ext>
            </a:extLst>
          </p:cNvPr>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endParaRPr lang="en-US"/>
          </a:p>
        </p:txBody>
      </p:sp>
    </p:spTree>
    <p:extLst>
      <p:ext uri="{BB962C8B-B14F-4D97-AF65-F5344CB8AC3E}">
        <p14:creationId xmlns:p14="http://schemas.microsoft.com/office/powerpoint/2010/main" val="745918454"/>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Badge of Sport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endParaRPr lang="en-US"/>
          </a:p>
        </p:txBody>
      </p:sp>
      <p:sp>
        <p:nvSpPr>
          <p:cNvPr id="2" name="Title 1"/>
          <p:cNvSpPr>
            <a:spLocks noGrp="1"/>
          </p:cNvSpPr>
          <p:nvPr>
            <p:ph type="title"/>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endParaRPr lang="en-US" noProof="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endParaRPr lang="en-US"/>
          </a:p>
        </p:txBody>
      </p:sp>
      <p:sp>
        <p:nvSpPr>
          <p:cNvPr id="10" name="Tijdelijke aanduiding voor tekst 3">
            <a:extLst>
              <a:ext uri="{FF2B5EF4-FFF2-40B4-BE49-F238E27FC236}">
                <a16:creationId xmlns:a16="http://schemas.microsoft.com/office/drawing/2014/main" id="{DAEFA61F-0F5C-4986-A5CC-0D0C9EA4485C}"/>
              </a:ext>
            </a:extLst>
          </p:cNvPr>
          <p:cNvSpPr>
            <a:spLocks noGrp="1"/>
          </p:cNvSpPr>
          <p:nvPr>
            <p:ph type="body" sz="quarter" idx="15" hasCustomPrompt="1"/>
          </p:nvPr>
        </p:nvSpPr>
        <p:spPr>
          <a:xfrm>
            <a:off x="8382131" y="1142301"/>
            <a:ext cx="1720111" cy="1154899"/>
          </a:xfrm>
          <a:blipFill>
            <a:blip r:embed="rId2"/>
            <a:stretch>
              <a:fillRect/>
            </a:stretch>
          </a:blipFill>
        </p:spPr>
        <p:txBody>
          <a:bodyPr/>
          <a:lstStyle>
            <a:lvl1pPr>
              <a:defRPr/>
            </a:lvl1pPr>
          </a:lstStyle>
          <a:p>
            <a:pPr lvl="0"/>
            <a:r>
              <a:rPr lang="en-US"/>
              <a:t> </a:t>
            </a:r>
          </a:p>
        </p:txBody>
      </p:sp>
    </p:spTree>
    <p:extLst>
      <p:ext uri="{BB962C8B-B14F-4D97-AF65-F5344CB8AC3E}">
        <p14:creationId xmlns:p14="http://schemas.microsoft.com/office/powerpoint/2010/main" val="2383238150"/>
      </p:ext>
    </p:extLst>
  </p:cSld>
  <p:clrMapOvr>
    <a:masterClrMapping/>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1E82C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endParaRPr lang="en-US"/>
          </a:p>
        </p:txBody>
      </p:sp>
      <p:sp>
        <p:nvSpPr>
          <p:cNvPr id="2" name="Title 1"/>
          <p:cNvSpPr>
            <a:spLocks noGrp="1"/>
          </p:cNvSpPr>
          <p:nvPr>
            <p:ph type="title"/>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endParaRPr lang="en-US" noProof="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endParaRPr lang="en-US"/>
          </a:p>
        </p:txBody>
      </p:sp>
      <p:sp>
        <p:nvSpPr>
          <p:cNvPr id="23" name="Tijdelijke aanduiding voor tekst 3">
            <a:extLst>
              <a:ext uri="{FF2B5EF4-FFF2-40B4-BE49-F238E27FC236}">
                <a16:creationId xmlns:a16="http://schemas.microsoft.com/office/drawing/2014/main" id="{B3F95CAA-1288-4D1D-A7BB-7FB1E899FD33}"/>
              </a:ext>
            </a:extLst>
          </p:cNvPr>
          <p:cNvSpPr>
            <a:spLocks noGrp="1"/>
          </p:cNvSpPr>
          <p:nvPr>
            <p:ph type="body" sz="quarter" idx="15" hasCustomPrompt="1"/>
          </p:nvPr>
        </p:nvSpPr>
        <p:spPr>
          <a:xfrm>
            <a:off x="8382131" y="1144225"/>
            <a:ext cx="1575399" cy="1522891"/>
          </a:xfrm>
          <a:blipFill>
            <a:blip r:embed="rId2"/>
            <a:stretch>
              <a:fillRect/>
            </a:stretch>
          </a:blipFill>
        </p:spPr>
        <p:txBody>
          <a:bodyPr/>
          <a:lstStyle>
            <a:lvl1pPr>
              <a:defRPr/>
            </a:lvl1pPr>
          </a:lstStyle>
          <a:p>
            <a:pPr lvl="0"/>
            <a:r>
              <a:rPr lang="en-US"/>
              <a:t> </a:t>
            </a:r>
          </a:p>
        </p:txBody>
      </p:sp>
    </p:spTree>
    <p:extLst>
      <p:ext uri="{BB962C8B-B14F-4D97-AF65-F5344CB8AC3E}">
        <p14:creationId xmlns:p14="http://schemas.microsoft.com/office/powerpoint/2010/main" val="3484415659"/>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Y-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F3932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endParaRPr lang="en-US"/>
          </a:p>
        </p:txBody>
      </p:sp>
      <p:sp>
        <p:nvSpPr>
          <p:cNvPr id="2" name="Title 1"/>
          <p:cNvSpPr>
            <a:spLocks noGrp="1"/>
          </p:cNvSpPr>
          <p:nvPr>
            <p:ph type="title"/>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endParaRPr lang="en-US" noProof="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endParaRPr lang="en-US"/>
          </a:p>
        </p:txBody>
      </p:sp>
    </p:spTree>
    <p:extLst>
      <p:ext uri="{BB962C8B-B14F-4D97-AF65-F5344CB8AC3E}">
        <p14:creationId xmlns:p14="http://schemas.microsoft.com/office/powerpoint/2010/main" val="1752866852"/>
      </p:ext>
    </p:extLst>
  </p:cSld>
  <p:clrMapOvr>
    <a:masterClrMapping/>
  </p:clrMapOvr>
  <p:transition spd="med">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Stella">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BFBFBF"/>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a:t>Click icon to add picture</a:t>
            </a:r>
            <a:endParaRPr lang="en-US"/>
          </a:p>
        </p:txBody>
      </p:sp>
      <p:sp>
        <p:nvSpPr>
          <p:cNvPr id="2" name="Title 1"/>
          <p:cNvSpPr>
            <a:spLocks noGrp="1"/>
          </p:cNvSpPr>
          <p:nvPr>
            <p:ph type="title"/>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endParaRPr lang="en-US" noProof="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a:t>Click to edit Master subtitle style</a:t>
            </a:r>
            <a:endParaRPr lang="en-US"/>
          </a:p>
        </p:txBody>
      </p:sp>
    </p:spTree>
    <p:extLst>
      <p:ext uri="{BB962C8B-B14F-4D97-AF65-F5344CB8AC3E}">
        <p14:creationId xmlns:p14="http://schemas.microsoft.com/office/powerpoint/2010/main" val="4228757546"/>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1"/>
            <a:ext cx="12192000" cy="6858000"/>
          </a:xfrm>
          <a:noFill/>
        </p:spPr>
        <p:txBody>
          <a:bodyPr anchor="ctr"/>
          <a:lstStyle>
            <a:lvl1pPr algn="ctr">
              <a:defRPr>
                <a:solidFill>
                  <a:schemeClr val="bg1"/>
                </a:solidFill>
              </a:defRPr>
            </a:lvl1pPr>
          </a:lstStyle>
          <a:p>
            <a:r>
              <a:rPr lang="en-US" noProof="0"/>
              <a:t>Click icon to add picture</a:t>
            </a:r>
            <a:endParaRPr lang="en-US"/>
          </a:p>
        </p:txBody>
      </p:sp>
      <p:sp>
        <p:nvSpPr>
          <p:cNvPr id="2" name="Title 1"/>
          <p:cNvSpPr>
            <a:spLocks noGrp="1"/>
          </p:cNvSpPr>
          <p:nvPr>
            <p:ph type="ctrTitle" hasCustomPrompt="1"/>
          </p:nvPr>
        </p:nvSpPr>
        <p:spPr bwMode="gray">
          <a:xfrm>
            <a:off x="1142062" y="1143048"/>
            <a:ext cx="5335134" cy="1143653"/>
          </a:xfrm>
        </p:spPr>
        <p:txBody>
          <a:bodyPr lIns="0" anchor="t"/>
          <a:lstStyle>
            <a:lvl1pPr algn="l">
              <a:lnSpc>
                <a:spcPct val="100000"/>
              </a:lnSpc>
              <a:defRPr sz="5291" b="0" i="0" cap="all" spc="0" baseline="0">
                <a:solidFill>
                  <a:schemeClr val="tx1"/>
                </a:solidFill>
                <a:latin typeface="adineue TEXT Black" panose="020B0A03020201060004" pitchFamily="34" charset="0"/>
              </a:defRPr>
            </a:lvl1pPr>
          </a:lstStyle>
          <a:p>
            <a:r>
              <a:rPr lang="en-US" noProof="0"/>
              <a:t>Content</a:t>
            </a:r>
            <a:endParaRPr lang="en-US"/>
          </a:p>
        </p:txBody>
      </p:sp>
      <p:sp>
        <p:nvSpPr>
          <p:cNvPr id="6" name="Text Placeholder 5"/>
          <p:cNvSpPr>
            <a:spLocks noGrp="1"/>
          </p:cNvSpPr>
          <p:nvPr>
            <p:ph type="body" sz="quarter" idx="10" hasCustomPrompt="1"/>
          </p:nvPr>
        </p:nvSpPr>
        <p:spPr bwMode="gray">
          <a:xfrm>
            <a:off x="2667579" y="2667015"/>
            <a:ext cx="6476999" cy="3428752"/>
          </a:xfrm>
        </p:spPr>
        <p:txBody>
          <a:bodyPr anchor="t" anchorCtr="0"/>
          <a:lstStyle>
            <a:lvl1pPr marL="380938" indent="-380938" algn="l">
              <a:lnSpc>
                <a:spcPct val="80000"/>
              </a:lnSpc>
              <a:spcBef>
                <a:spcPts val="0"/>
              </a:spcBef>
              <a:spcAft>
                <a:spcPts val="1323"/>
              </a:spcAft>
              <a:buClrTx/>
              <a:buSzPct val="90000"/>
              <a:buFont typeface="+mj-lt"/>
              <a:buAutoNum type="arabicPeriod"/>
              <a:defRPr sz="1587" b="0" i="0" cap="all" baseline="0">
                <a:solidFill>
                  <a:schemeClr val="tx1"/>
                </a:solidFill>
                <a:latin typeface="+mn-lt"/>
              </a:defRPr>
            </a:lvl1pPr>
            <a:lvl2pPr marL="0" indent="0" algn="l">
              <a:lnSpc>
                <a:spcPct val="80000"/>
              </a:lnSpc>
              <a:spcBef>
                <a:spcPts val="0"/>
              </a:spcBef>
              <a:spcAft>
                <a:spcPts val="1323"/>
              </a:spcAft>
              <a:buClrTx/>
              <a:buSzPct val="90000"/>
              <a:buFont typeface="+mj-lt"/>
              <a:buNone/>
              <a:defRPr sz="1587" b="0" i="0" cap="all" baseline="0">
                <a:solidFill>
                  <a:schemeClr val="bg1"/>
                </a:solidFill>
                <a:latin typeface="+mn-lt"/>
                <a:cs typeface="AdihausDIN" panose="020B0504020101020102" pitchFamily="34" charset="0"/>
              </a:defRPr>
            </a:lvl2pPr>
            <a:lvl3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3pPr>
            <a:lvl4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4pPr>
            <a:lvl5pPr marL="380938" indent="-380938" algn="l">
              <a:lnSpc>
                <a:spcPct val="80000"/>
              </a:lnSpc>
              <a:spcBef>
                <a:spcPts val="0"/>
              </a:spcBef>
              <a:spcAft>
                <a:spcPts val="1323"/>
              </a:spcAft>
              <a:buClrTx/>
              <a:buSzPct val="90000"/>
              <a:defRPr sz="1587" b="0" i="0" cap="all" baseline="0">
                <a:solidFill>
                  <a:schemeClr val="bg1"/>
                </a:solidFill>
                <a:latin typeface="+mn-lt"/>
                <a:cs typeface="AdihausDIN" panose="020B0504020101020102" pitchFamily="34" charset="0"/>
              </a:defRPr>
            </a:lvl5pPr>
            <a:lvl6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6pPr>
            <a:lvl7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7pPr>
            <a:lvl8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8pPr>
            <a:lvl9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9pPr>
          </a:lstStyle>
          <a:p>
            <a:pPr lvl="0"/>
            <a:r>
              <a:rPr lang="en-US" noProof="0"/>
              <a:t>ADD AN AGENDA POINT HERE</a:t>
            </a:r>
            <a:endParaRPr lang="en-US"/>
          </a:p>
        </p:txBody>
      </p:sp>
    </p:spTree>
    <p:extLst>
      <p:ext uri="{BB962C8B-B14F-4D97-AF65-F5344CB8AC3E}">
        <p14:creationId xmlns:p14="http://schemas.microsoft.com/office/powerpoint/2010/main" val="3103701681"/>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vider / Focus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0294" y="762235"/>
            <a:ext cx="10669312" cy="5333533"/>
          </a:xfrm>
          <a:custGeom>
            <a:avLst/>
            <a:gdLst/>
            <a:ahLst/>
            <a:cxnLst/>
            <a:rect l="l" t="t" r="r" b="b"/>
            <a:pathLst>
              <a:path w="8064500" h="4032119">
                <a:moveTo>
                  <a:pt x="0" y="0"/>
                </a:moveTo>
                <a:lnTo>
                  <a:pt x="8064500" y="0"/>
                </a:lnTo>
                <a:lnTo>
                  <a:pt x="8064500" y="4032119"/>
                </a:lnTo>
                <a:lnTo>
                  <a:pt x="0" y="4032119"/>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endParaRPr lang="en-US"/>
          </a:p>
        </p:txBody>
      </p:sp>
      <p:sp>
        <p:nvSpPr>
          <p:cNvPr id="3" name="Titel 2"/>
          <p:cNvSpPr>
            <a:spLocks noGrp="1"/>
          </p:cNvSpPr>
          <p:nvPr>
            <p:ph type="title" hasCustomPrompt="1"/>
          </p:nvPr>
        </p:nvSpPr>
        <p:spPr bwMode="gray">
          <a:xfrm>
            <a:off x="2285082" y="3048933"/>
            <a:ext cx="7619736" cy="1904533"/>
          </a:xfrm>
        </p:spPr>
        <p:txBody>
          <a:bodyPr/>
          <a:lstStyle>
            <a:lvl1pPr algn="ctr">
              <a:defRPr sz="4233" b="0" i="0">
                <a:solidFill>
                  <a:schemeClr val="bg1"/>
                </a:solidFill>
                <a:latin typeface="adineue TEXT Black" panose="020B0A03020201060004" pitchFamily="34" charset="0"/>
              </a:defRPr>
            </a:lvl1pPr>
          </a:lstStyle>
          <a:p>
            <a:r>
              <a:rPr lang="en-US"/>
              <a:t>Click to edit Master </a:t>
            </a:r>
            <a:br>
              <a:rPr lang="en-US"/>
            </a:br>
            <a:r>
              <a:rPr lang="en-US"/>
              <a:t>title style</a:t>
            </a:r>
          </a:p>
        </p:txBody>
      </p:sp>
      <p:sp>
        <p:nvSpPr>
          <p:cNvPr id="4"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3489109032"/>
      </p:ext>
    </p:extLst>
  </p:cSld>
  <p:clrMapOvr>
    <a:masterClrMapping/>
  </p:clrMapOvr>
  <p:transition spd="med">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Messeging / Highlight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39201" y="139158"/>
            <a:ext cx="11913600" cy="6579685"/>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endParaRPr lang="en-US"/>
          </a:p>
        </p:txBody>
      </p:sp>
      <p:sp>
        <p:nvSpPr>
          <p:cNvPr id="3" name="Titel 2"/>
          <p:cNvSpPr>
            <a:spLocks noGrp="1"/>
          </p:cNvSpPr>
          <p:nvPr>
            <p:ph type="title" hasCustomPrompt="1"/>
          </p:nvPr>
        </p:nvSpPr>
        <p:spPr bwMode="gray">
          <a:xfrm>
            <a:off x="2285082" y="3048933"/>
            <a:ext cx="7619736" cy="2251003"/>
          </a:xfrm>
        </p:spPr>
        <p:txBody>
          <a:bodyPr/>
          <a:lstStyle>
            <a:lvl1pPr algn="ctr">
              <a:defRPr sz="4233" b="0" i="0">
                <a:solidFill>
                  <a:schemeClr val="bg1"/>
                </a:solidFill>
                <a:latin typeface="adineue TEXT Black" panose="020B0A03020201060004" pitchFamily="34" charset="0"/>
              </a:defRPr>
            </a:lvl1pPr>
          </a:lstStyle>
          <a:p>
            <a:r>
              <a:rPr lang="en-US"/>
              <a:t>Click to edit Master </a:t>
            </a:r>
            <a:br>
              <a:rPr lang="en-US"/>
            </a:br>
            <a:r>
              <a:rPr lang="en-US"/>
              <a:t>title style</a:t>
            </a:r>
          </a:p>
        </p:txBody>
      </p:sp>
      <p:sp>
        <p:nvSpPr>
          <p:cNvPr id="8"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2585863306"/>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Badge of Sport">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
        <p:nvSpPr>
          <p:cNvPr id="10" name="Date Placeholder 2"/>
          <p:cNvSpPr>
            <a:spLocks noGrp="1"/>
          </p:cNvSpPr>
          <p:nvPr>
            <p:ph type="dt" sz="half" idx="15"/>
          </p:nvPr>
        </p:nvSpPr>
        <p:spPr>
          <a:xfrm>
            <a:off x="10287794" y="6951653"/>
            <a:ext cx="1143218" cy="379993"/>
          </a:xfrm>
        </p:spPr>
        <p:txBody>
          <a:bodyPr/>
          <a:lstStyle/>
          <a:p>
            <a:pPr>
              <a:defRPr/>
            </a:pPr>
            <a:fld id="{BC484D93-E7EB-4DC3-8F2B-D42E046158D8}" type="datetime5">
              <a:rPr lang="en-US" smtClean="0"/>
              <a:t>6-Oct-21</a:t>
            </a:fld>
            <a:endParaRPr lang="en-US" dirty="0"/>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555805005"/>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148" y="382168"/>
            <a:ext cx="6477896" cy="760132"/>
          </a:xfrm>
        </p:spPr>
        <p:txBody>
          <a:bodyPr/>
          <a:lstStyle>
            <a:lvl1pPr>
              <a:defRPr b="0"/>
            </a:lvl1pPr>
          </a:lstStyle>
          <a:p>
            <a:r>
              <a:rPr lang="en-US" noProof="0"/>
              <a:t>Click to edit Master title style</a:t>
            </a:r>
          </a:p>
        </p:txBody>
      </p:sp>
      <p:sp>
        <p:nvSpPr>
          <p:cNvPr id="8" name="Slide Number Placeholder 11">
            <a:extLst>
              <a:ext uri="{FF2B5EF4-FFF2-40B4-BE49-F238E27FC236}">
                <a16:creationId xmlns:a16="http://schemas.microsoft.com/office/drawing/2014/main" id="{3821D8CC-69A4-4C90-AB90-353F3E628016}"/>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9" name="text" descr="{&quot;templafy&quot;:{&quot;id&quot;:&quot;c0bc0dc5-6716-4f73-9d34-4a1b2e10d4d0&quot;}}" title="Form.Footer">
            <a:extLst>
              <a:ext uri="{FF2B5EF4-FFF2-40B4-BE49-F238E27FC236}">
                <a16:creationId xmlns:a16="http://schemas.microsoft.com/office/drawing/2014/main" id="{C0D5E8D5-A2C4-405D-A664-7E482C845047}"/>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Tree>
    <p:extLst>
      <p:ext uri="{BB962C8B-B14F-4D97-AF65-F5344CB8AC3E}">
        <p14:creationId xmlns:p14="http://schemas.microsoft.com/office/powerpoint/2010/main" val="2972529702"/>
      </p:ext>
    </p:extLst>
  </p:cSld>
  <p:clrMapOvr>
    <a:masterClrMapping/>
  </p:clrMapOvr>
  <p:transition spd="med">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b="0">
                <a:solidFill>
                  <a:schemeClr val="tx1"/>
                </a:solidFill>
              </a:defRPr>
            </a:lvl1pPr>
          </a:lstStyle>
          <a:p>
            <a:r>
              <a:rPr lang="en-US" noProof="0"/>
              <a:t>Click to edit Master title style</a:t>
            </a:r>
          </a:p>
        </p:txBody>
      </p:sp>
      <p:sp>
        <p:nvSpPr>
          <p:cNvPr id="16" name="Text Placeholder 15"/>
          <p:cNvSpPr>
            <a:spLocks noGrp="1"/>
          </p:cNvSpPr>
          <p:nvPr>
            <p:ph type="body" sz="quarter" idx="25"/>
          </p:nvPr>
        </p:nvSpPr>
        <p:spPr>
          <a:xfrm>
            <a:off x="760293" y="1524466"/>
            <a:ext cx="9906919" cy="4571301"/>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1">
            <a:extLst>
              <a:ext uri="{FF2B5EF4-FFF2-40B4-BE49-F238E27FC236}">
                <a16:creationId xmlns:a16="http://schemas.microsoft.com/office/drawing/2014/main" id="{1F79C68E-3641-47C6-B56A-D2FD1E2B4ADF}"/>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8" name="text" descr="{&quot;templafy&quot;:{&quot;id&quot;:&quot;120a86bb-b334-45b9-bff3-d370c908c93a&quot;}}" title="Form.Footer">
            <a:extLst>
              <a:ext uri="{FF2B5EF4-FFF2-40B4-BE49-F238E27FC236}">
                <a16:creationId xmlns:a16="http://schemas.microsoft.com/office/drawing/2014/main" id="{D12477D4-7537-455D-8B25-3FD591037B09}"/>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Tree>
    <p:extLst>
      <p:ext uri="{BB962C8B-B14F-4D97-AF65-F5344CB8AC3E}">
        <p14:creationId xmlns:p14="http://schemas.microsoft.com/office/powerpoint/2010/main" val="1244565979"/>
      </p:ext>
    </p:extLst>
  </p:cSld>
  <p:clrMapOvr>
    <a:masterClrMapping/>
  </p:clrMapOvr>
  <p:transition spd="med">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19738" y="1"/>
            <a:ext cx="4572263"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2" name="Titel 1"/>
          <p:cNvSpPr>
            <a:spLocks noGrp="1"/>
          </p:cNvSpPr>
          <p:nvPr>
            <p:ph type="title"/>
          </p:nvPr>
        </p:nvSpPr>
        <p:spPr bwMode="gray">
          <a:xfrm>
            <a:off x="380672" y="382168"/>
            <a:ext cx="6477373" cy="761182"/>
          </a:xfrm>
        </p:spPr>
        <p:txBody>
          <a:bodyPr/>
          <a:lstStyle>
            <a:lvl1pPr>
              <a:defRPr b="0" i="0">
                <a:latin typeface="adineue TEXT Black" panose="020B0A03020201060004" pitchFamily="34" charset="0"/>
              </a:defRPr>
            </a:lvl1pPr>
          </a:lstStyle>
          <a:p>
            <a:r>
              <a:rPr lang="en-US" noProof="0"/>
              <a:t>Click to edit Master title style</a:t>
            </a:r>
            <a:endParaRPr lang="en-US"/>
          </a:p>
        </p:txBody>
      </p:sp>
      <p:sp>
        <p:nvSpPr>
          <p:cNvPr id="4" name="Text Placeholder 3"/>
          <p:cNvSpPr>
            <a:spLocks noGrp="1"/>
          </p:cNvSpPr>
          <p:nvPr>
            <p:ph type="body" sz="quarter" idx="18"/>
          </p:nvPr>
        </p:nvSpPr>
        <p:spPr>
          <a:xfrm>
            <a:off x="760293" y="1524466"/>
            <a:ext cx="6097050" cy="4571477"/>
          </a:xfrm>
        </p:spPr>
        <p:txBody>
          <a:bodyPr/>
          <a:lstStyle>
            <a:lvl1pPr>
              <a:defRPr b="0"/>
            </a:lvl1pPr>
            <a:lvl2pPr>
              <a:defRPr b="0"/>
            </a:lvl2pPr>
            <a:lvl3pPr>
              <a:defRPr b="0"/>
            </a:lvl3pPr>
            <a:lvl4pPr>
              <a:defRPr b="0"/>
            </a:lvl4pPr>
            <a:lvl5pPr>
              <a:defRPr b="0"/>
            </a:lvl5pPr>
          </a:lstStyle>
          <a:p>
            <a:pPr lvl="0"/>
            <a:r>
              <a:rPr lang="en-US" noProof="0"/>
              <a:t>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8" name="Slide Number Placeholder 11">
            <a:extLst>
              <a:ext uri="{FF2B5EF4-FFF2-40B4-BE49-F238E27FC236}">
                <a16:creationId xmlns:a16="http://schemas.microsoft.com/office/drawing/2014/main" id="{3668A979-A3CC-4EB1-A2BE-913EE427397E}"/>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9" name="text" descr="{&quot;templafy&quot;:{&quot;id&quot;:&quot;5cf9867b-a906-4e69-96cc-d4df535af06b&quot;}}" title="Form.Footer">
            <a:extLst>
              <a:ext uri="{FF2B5EF4-FFF2-40B4-BE49-F238E27FC236}">
                <a16:creationId xmlns:a16="http://schemas.microsoft.com/office/drawing/2014/main" id="{74ECE416-9999-40EA-BBCB-0DEF2E31B054}"/>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1" name="date" descr="{&quot;templafy&quot;:{&quot;id&quot;:&quot;f3d0973e-90fa-4674-9db4-0ab01c630bc7&quot;}}" title="Form.Date">
            <a:extLst>
              <a:ext uri="{FF2B5EF4-FFF2-40B4-BE49-F238E27FC236}">
                <a16:creationId xmlns:a16="http://schemas.microsoft.com/office/drawing/2014/main" id="{AA192DD8-3281-4ADC-BFE1-6A135F026D24}"/>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1499128893"/>
      </p:ext>
    </p:extLst>
  </p:cSld>
  <p:clrMapOvr>
    <a:masterClrMapping/>
  </p:clrMapOvr>
  <p:transition spd="med">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334656" y="1"/>
            <a:ext cx="6857344"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3" name="Titel 2"/>
          <p:cNvSpPr>
            <a:spLocks noGrp="1"/>
          </p:cNvSpPr>
          <p:nvPr>
            <p:ph type="title"/>
          </p:nvPr>
        </p:nvSpPr>
        <p:spPr bwMode="gray">
          <a:xfrm>
            <a:off x="380673" y="382168"/>
            <a:ext cx="4572263" cy="761182"/>
          </a:xfrm>
        </p:spPr>
        <p:txBody>
          <a:bodyPr/>
          <a:lstStyle>
            <a:lvl1pPr>
              <a:defRPr b="0" i="0">
                <a:latin typeface="adineue TEXT Black" panose="020B0A03020201060004" pitchFamily="34" charset="0"/>
              </a:defRPr>
            </a:lvl1pPr>
          </a:lstStyle>
          <a:p>
            <a:r>
              <a:rPr lang="en-US" noProof="0"/>
              <a:t>Click to edit Master title style</a:t>
            </a:r>
            <a:endParaRPr lang="en-US"/>
          </a:p>
        </p:txBody>
      </p:sp>
      <p:sp>
        <p:nvSpPr>
          <p:cNvPr id="4" name="Text Placeholder 3"/>
          <p:cNvSpPr>
            <a:spLocks noGrp="1"/>
          </p:cNvSpPr>
          <p:nvPr>
            <p:ph type="body" sz="quarter" idx="18"/>
          </p:nvPr>
        </p:nvSpPr>
        <p:spPr>
          <a:xfrm>
            <a:off x="760293" y="1524466"/>
            <a:ext cx="4192116" cy="4571301"/>
          </a:xfrm>
        </p:spPr>
        <p:txBody>
          <a:bodyPr/>
          <a:lstStyle>
            <a:lvl1pPr>
              <a:defRPr b="0"/>
            </a:lvl1pPr>
            <a:lvl2pPr>
              <a:defRPr b="0"/>
            </a:lvl2pPr>
            <a:lvl3pPr>
              <a:defRPr b="0"/>
            </a:lvl3pPr>
            <a:lvl4pPr>
              <a:defRPr b="0"/>
            </a:lvl4pPr>
            <a:lvl5pPr>
              <a:defRPr b="0"/>
            </a:lvl5pPr>
          </a:lstStyle>
          <a:p>
            <a:pPr lvl="0"/>
            <a:r>
              <a:rPr lang="en-US" noProof="0"/>
              <a:t>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8" name="Slide Number Placeholder 11">
            <a:extLst>
              <a:ext uri="{FF2B5EF4-FFF2-40B4-BE49-F238E27FC236}">
                <a16:creationId xmlns:a16="http://schemas.microsoft.com/office/drawing/2014/main" id="{9B373AB4-291C-4C62-97D0-B2F1E8668846}"/>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9" name="text" descr="{&quot;templafy&quot;:{&quot;id&quot;:&quot;16db83b8-0dce-4a63-a268-91fa92b8ef4b&quot;}}" title="Form.Footer">
            <a:extLst>
              <a:ext uri="{FF2B5EF4-FFF2-40B4-BE49-F238E27FC236}">
                <a16:creationId xmlns:a16="http://schemas.microsoft.com/office/drawing/2014/main" id="{AE2D2DA7-3DBB-4922-9D41-85F47F7B15E3}"/>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1" name="date" descr="{&quot;templafy&quot;:{&quot;id&quot;:&quot;a7427053-18de-4c48-a47e-7e3c3528ab36&quot;}}" title="Form.Date">
            <a:extLst>
              <a:ext uri="{FF2B5EF4-FFF2-40B4-BE49-F238E27FC236}">
                <a16:creationId xmlns:a16="http://schemas.microsoft.com/office/drawing/2014/main" id="{853C7D35-864B-46D9-AC9A-6FB0DE372C13}"/>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403288624"/>
      </p:ext>
    </p:extLst>
  </p:cSld>
  <p:clrMapOvr>
    <a:masterClrMapping/>
  </p:clrMapOvr>
  <p:transition spd="med">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477197" y="1"/>
            <a:ext cx="571480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a:t>Click to edit Master title style</a:t>
            </a:r>
            <a:endParaRPr lang="en-US"/>
          </a:p>
        </p:txBody>
      </p:sp>
      <p:sp>
        <p:nvSpPr>
          <p:cNvPr id="4" name="Picture Placeholder 3"/>
          <p:cNvSpPr>
            <a:spLocks noGrp="1"/>
          </p:cNvSpPr>
          <p:nvPr>
            <p:ph type="pic" sz="quarter" idx="18"/>
          </p:nvPr>
        </p:nvSpPr>
        <p:spPr>
          <a:xfrm>
            <a:off x="5714978" y="1143349"/>
            <a:ext cx="4952234" cy="4572351"/>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2" name="Text Placeholder 11"/>
          <p:cNvSpPr>
            <a:spLocks noGrp="1"/>
          </p:cNvSpPr>
          <p:nvPr>
            <p:ph type="body" sz="quarter" idx="19"/>
          </p:nvPr>
        </p:nvSpPr>
        <p:spPr>
          <a:xfrm>
            <a:off x="760293" y="1524467"/>
            <a:ext cx="4192116" cy="4191233"/>
          </a:xfrm>
        </p:spPr>
        <p:txBody>
          <a:bodyPr/>
          <a:lstStyle>
            <a:lvl1pPr>
              <a:defRPr b="0"/>
            </a:lvl1pPr>
            <a:lvl2pPr>
              <a:defRPr b="0"/>
            </a:lvl2pPr>
            <a:lvl3pPr>
              <a:defRPr b="0"/>
            </a:lvl3pPr>
            <a:lvl4pPr>
              <a:defRPr b="0"/>
            </a:lvl4pPr>
            <a:lvl5pPr>
              <a:defRPr b="0"/>
            </a:lvl5pPr>
          </a:lstStyle>
          <a:p>
            <a:pPr lvl="0"/>
            <a:r>
              <a:rPr lang="en-US" noProof="0"/>
              <a:t>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11" name="Slide Number Placeholder 11">
            <a:extLst>
              <a:ext uri="{FF2B5EF4-FFF2-40B4-BE49-F238E27FC236}">
                <a16:creationId xmlns:a16="http://schemas.microsoft.com/office/drawing/2014/main" id="{F8C330C8-48E1-4338-A77A-7CC4AA9E974D}"/>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3" name="text" descr="{&quot;templafy&quot;:{&quot;id&quot;:&quot;5e42b54d-2a1c-436a-abae-8971133198a0&quot;}}" title="Form.Footer">
            <a:extLst>
              <a:ext uri="{FF2B5EF4-FFF2-40B4-BE49-F238E27FC236}">
                <a16:creationId xmlns:a16="http://schemas.microsoft.com/office/drawing/2014/main" id="{0E659C14-E431-4B8A-A4E9-5223445DC45C}"/>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4" name="date" descr="{&quot;templafy&quot;:{&quot;id&quot;:&quot;e8f917f6-2fee-460d-999e-7b745e632e6e&quot;}}" title="Form.Date">
            <a:extLst>
              <a:ext uri="{FF2B5EF4-FFF2-40B4-BE49-F238E27FC236}">
                <a16:creationId xmlns:a16="http://schemas.microsoft.com/office/drawing/2014/main" id="{DD803EBC-37D4-4474-9752-22746D420FE8}"/>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1246817530"/>
      </p:ext>
    </p:extLst>
  </p:cSld>
  <p:clrMapOvr>
    <a:masterClrMapping/>
  </p:clrMapOvr>
  <p:transition spd="med">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Text + Image (2)">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a:t>Click to edit Master title style</a:t>
            </a:r>
            <a:endParaRPr lang="en-US"/>
          </a:p>
        </p:txBody>
      </p:sp>
      <p:sp>
        <p:nvSpPr>
          <p:cNvPr id="4" name="Picture Placeholder 3"/>
          <p:cNvSpPr>
            <a:spLocks noGrp="1"/>
          </p:cNvSpPr>
          <p:nvPr>
            <p:ph type="pic" sz="quarter" idx="18"/>
          </p:nvPr>
        </p:nvSpPr>
        <p:spPr>
          <a:xfrm>
            <a:off x="6857344" y="525"/>
            <a:ext cx="5334655" cy="3428477"/>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2" name="Text Placeholder 11"/>
          <p:cNvSpPr>
            <a:spLocks noGrp="1"/>
          </p:cNvSpPr>
          <p:nvPr>
            <p:ph type="body" sz="quarter" idx="19"/>
          </p:nvPr>
        </p:nvSpPr>
        <p:spPr>
          <a:xfrm>
            <a:off x="760293" y="1524467"/>
            <a:ext cx="5335707" cy="4191233"/>
          </a:xfrm>
        </p:spPr>
        <p:txBody>
          <a:bodyPr/>
          <a:lstStyle>
            <a:lvl1pPr>
              <a:defRPr b="0"/>
            </a:lvl1pPr>
            <a:lvl2pPr>
              <a:defRPr b="0"/>
            </a:lvl2pPr>
            <a:lvl3pPr>
              <a:defRPr b="0"/>
            </a:lvl3pPr>
            <a:lvl4pPr>
              <a:defRPr b="0"/>
            </a:lvl4pPr>
            <a:lvl5pPr>
              <a:defRPr b="0"/>
            </a:lvl5pPr>
          </a:lstStyle>
          <a:p>
            <a:pPr lvl="0"/>
            <a:r>
              <a:rPr lang="en-US" noProof="0"/>
              <a:t>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11" name="Picture Placeholder 3"/>
          <p:cNvSpPr>
            <a:spLocks noGrp="1"/>
          </p:cNvSpPr>
          <p:nvPr>
            <p:ph type="pic" sz="quarter" idx="23"/>
          </p:nvPr>
        </p:nvSpPr>
        <p:spPr>
          <a:xfrm>
            <a:off x="6858045" y="3429002"/>
            <a:ext cx="5333956" cy="3428474"/>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4" name="Slide Number Placeholder 11">
            <a:extLst>
              <a:ext uri="{FF2B5EF4-FFF2-40B4-BE49-F238E27FC236}">
                <a16:creationId xmlns:a16="http://schemas.microsoft.com/office/drawing/2014/main" id="{240E8D76-E59B-4553-B44C-90749A359307}"/>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5" name="text" descr="{&quot;templafy&quot;:{&quot;id&quot;:&quot;12fe14aa-bbfa-4704-a738-042a99682846&quot;}}" title="Form.Footer">
            <a:extLst>
              <a:ext uri="{FF2B5EF4-FFF2-40B4-BE49-F238E27FC236}">
                <a16:creationId xmlns:a16="http://schemas.microsoft.com/office/drawing/2014/main" id="{017E89AE-6EFE-44BF-9E53-37BD4D908080}"/>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6" name="date" descr="{&quot;templafy&quot;:{&quot;id&quot;:&quot;ff223ec7-1985-4410-bcf0-a1a5973a02ca&quot;}}" title="Form.Date">
            <a:extLst>
              <a:ext uri="{FF2B5EF4-FFF2-40B4-BE49-F238E27FC236}">
                <a16:creationId xmlns:a16="http://schemas.microsoft.com/office/drawing/2014/main" id="{476E257A-7AD4-48C4-A3C2-CB83F29B287E}"/>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3526738394"/>
      </p:ext>
    </p:extLst>
  </p:cSld>
  <p:clrMapOvr>
    <a:masterClrMapping/>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 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5332557" y="525"/>
            <a:ext cx="3811967" cy="3429351"/>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1" name="Picture Placeholder 3"/>
          <p:cNvSpPr>
            <a:spLocks noGrp="1"/>
          </p:cNvSpPr>
          <p:nvPr>
            <p:ph type="pic" sz="quarter" idx="23"/>
          </p:nvPr>
        </p:nvSpPr>
        <p:spPr>
          <a:xfrm>
            <a:off x="9144177" y="525"/>
            <a:ext cx="3047823" cy="342847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7" name="Picture Placeholder 3"/>
          <p:cNvSpPr>
            <a:spLocks noGrp="1"/>
          </p:cNvSpPr>
          <p:nvPr>
            <p:ph type="pic" sz="quarter" idx="24"/>
          </p:nvPr>
        </p:nvSpPr>
        <p:spPr>
          <a:xfrm>
            <a:off x="5332557" y="3429002"/>
            <a:ext cx="2287181"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8" name="Picture Placeholder 3"/>
          <p:cNvSpPr>
            <a:spLocks noGrp="1"/>
          </p:cNvSpPr>
          <p:nvPr>
            <p:ph type="pic" sz="quarter" idx="25"/>
          </p:nvPr>
        </p:nvSpPr>
        <p:spPr>
          <a:xfrm>
            <a:off x="7620088" y="3429001"/>
            <a:ext cx="4572263" cy="3428474"/>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a:t>Click to edit Master title style</a:t>
            </a:r>
            <a:endParaRPr lang="en-US"/>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15" name="Slide Number Placeholder 11">
            <a:extLst>
              <a:ext uri="{FF2B5EF4-FFF2-40B4-BE49-F238E27FC236}">
                <a16:creationId xmlns:a16="http://schemas.microsoft.com/office/drawing/2014/main" id="{39ACD7E9-CF74-4DB4-B058-47E31BB0E11B}"/>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6" name="text" descr="{&quot;templafy&quot;:{&quot;id&quot;:&quot;a85e77ee-95e8-4aec-ac93-bcb83baa343f&quot;}}" title="Form.Footer">
            <a:extLst>
              <a:ext uri="{FF2B5EF4-FFF2-40B4-BE49-F238E27FC236}">
                <a16:creationId xmlns:a16="http://schemas.microsoft.com/office/drawing/2014/main" id="{30563E6C-B42C-4BC9-8A1C-02B59F0B198D}"/>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9" name="date" descr="{&quot;templafy&quot;:{&quot;id&quot;:&quot;a09de103-1113-4ad0-87dc-37c0babd7018&quot;}}" title="Form.Date">
            <a:extLst>
              <a:ext uri="{FF2B5EF4-FFF2-40B4-BE49-F238E27FC236}">
                <a16:creationId xmlns:a16="http://schemas.microsoft.com/office/drawing/2014/main" id="{81741D99-BE64-45E7-ABC4-02F08CDC339E}"/>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3745332675"/>
      </p:ext>
    </p:extLst>
  </p:cSld>
  <p:clrMapOvr>
    <a:masterClrMapping/>
  </p:clrMapOvr>
  <p:transition spd="med">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 Collage (2)">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857344" y="1"/>
            <a:ext cx="5334656"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1" name="Picture Placeholder 3"/>
          <p:cNvSpPr>
            <a:spLocks noGrp="1"/>
          </p:cNvSpPr>
          <p:nvPr>
            <p:ph type="pic" sz="quarter" idx="23"/>
          </p:nvPr>
        </p:nvSpPr>
        <p:spPr>
          <a:xfrm>
            <a:off x="9144177" y="762234"/>
            <a:ext cx="1905108" cy="266676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8" name="Picture Placeholder 3"/>
          <p:cNvSpPr>
            <a:spLocks noGrp="1"/>
          </p:cNvSpPr>
          <p:nvPr>
            <p:ph type="pic" sz="quarter" idx="25"/>
          </p:nvPr>
        </p:nvSpPr>
        <p:spPr>
          <a:xfrm>
            <a:off x="7620088" y="3429001"/>
            <a:ext cx="3427271" cy="2667466"/>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a:t>Click to edit Master title style</a:t>
            </a:r>
            <a:endParaRPr lang="en-US"/>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21" name="Slide Number Placeholder 11">
            <a:extLst>
              <a:ext uri="{FF2B5EF4-FFF2-40B4-BE49-F238E27FC236}">
                <a16:creationId xmlns:a16="http://schemas.microsoft.com/office/drawing/2014/main" id="{7FEA5CFD-BF5D-4496-BF14-8CD8A5F4989A}"/>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23" name="text" descr="{&quot;templafy&quot;:{&quot;id&quot;:&quot;03229a7f-dd4f-4aea-9c71-3c395070e182&quot;}}" title="Form.Footer">
            <a:extLst>
              <a:ext uri="{FF2B5EF4-FFF2-40B4-BE49-F238E27FC236}">
                <a16:creationId xmlns:a16="http://schemas.microsoft.com/office/drawing/2014/main" id="{CAF40393-EC1E-48E9-ADD4-24606B5AADA2}"/>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24" name="date" descr="{&quot;templafy&quot;:{&quot;id&quot;:&quot;bb2f238c-54dc-4a41-ad0b-85e1452e565a&quot;}}" title="Form.Date">
            <a:extLst>
              <a:ext uri="{FF2B5EF4-FFF2-40B4-BE49-F238E27FC236}">
                <a16:creationId xmlns:a16="http://schemas.microsoft.com/office/drawing/2014/main" id="{F453FB0D-94CB-43F6-A12B-30561237A33D}"/>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385118033"/>
      </p:ext>
    </p:extLst>
  </p:cSld>
  <p:clrMapOvr>
    <a:masterClrMapping/>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2" name="Title 1"/>
          <p:cNvSpPr>
            <a:spLocks noGrp="1"/>
          </p:cNvSpPr>
          <p:nvPr>
            <p:ph type="title" hasCustomPrompt="1"/>
          </p:nvPr>
        </p:nvSpPr>
        <p:spPr>
          <a:xfrm>
            <a:off x="7239592" y="2287375"/>
            <a:ext cx="3810240" cy="761058"/>
          </a:xfrm>
        </p:spPr>
        <p:txBody>
          <a:bodyPr anchor="b"/>
          <a:lstStyle>
            <a:lvl1pPr algn="ctr">
              <a:lnSpc>
                <a:spcPct val="70000"/>
              </a:lnSpc>
              <a:defRPr sz="3174"/>
            </a:lvl1pPr>
          </a:lstStyle>
          <a:p>
            <a:r>
              <a:rPr lang="en-US"/>
              <a:t>Slide title</a:t>
            </a:r>
          </a:p>
        </p:txBody>
      </p:sp>
      <p:cxnSp>
        <p:nvCxnSpPr>
          <p:cNvPr id="8" name="Straight Connector 7"/>
          <p:cNvCxnSpPr>
            <a:cxnSpLocks/>
          </p:cNvCxnSpPr>
          <p:nvPr userDrawn="1"/>
        </p:nvCxnSpPr>
        <p:spPr>
          <a:xfrm>
            <a:off x="8762278"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723959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
        <p:nvSpPr>
          <p:cNvPr id="12" name="Slide Number Placeholder 11">
            <a:extLst>
              <a:ext uri="{FF2B5EF4-FFF2-40B4-BE49-F238E27FC236}">
                <a16:creationId xmlns:a16="http://schemas.microsoft.com/office/drawing/2014/main" id="{B1540873-61C0-41B5-ABCB-1E1C38B3578C}"/>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3" name="text" descr="{&quot;templafy&quot;:{&quot;id&quot;:&quot;b9f9247a-7be5-4526-a45c-ea256f6b3795&quot;}}" title="Form.Footer">
            <a:extLst>
              <a:ext uri="{FF2B5EF4-FFF2-40B4-BE49-F238E27FC236}">
                <a16:creationId xmlns:a16="http://schemas.microsoft.com/office/drawing/2014/main" id="{83EA4142-A94E-4F3F-871F-61DA8273FC39}"/>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5" name="date" descr="{&quot;templafy&quot;:{&quot;id&quot;:&quot;5d3f46a4-dccb-48bd-be79-63030ebd2742&quot;}}" title="Form.Date">
            <a:extLst>
              <a:ext uri="{FF2B5EF4-FFF2-40B4-BE49-F238E27FC236}">
                <a16:creationId xmlns:a16="http://schemas.microsoft.com/office/drawing/2014/main" id="{B339F835-3087-49D7-BEF0-C0E4301AE2A3}"/>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139986071"/>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2" name="Title 1"/>
          <p:cNvSpPr>
            <a:spLocks noGrp="1"/>
          </p:cNvSpPr>
          <p:nvPr>
            <p:ph type="title" hasCustomPrompt="1"/>
          </p:nvPr>
        </p:nvSpPr>
        <p:spPr>
          <a:xfrm>
            <a:off x="1142063" y="2287375"/>
            <a:ext cx="3810240" cy="761058"/>
          </a:xfrm>
        </p:spPr>
        <p:txBody>
          <a:bodyPr anchor="b"/>
          <a:lstStyle>
            <a:lvl1pPr algn="ctr">
              <a:lnSpc>
                <a:spcPct val="70000"/>
              </a:lnSpc>
              <a:defRPr sz="3174"/>
            </a:lvl1pPr>
          </a:lstStyle>
          <a:p>
            <a:r>
              <a:rPr lang="en-US"/>
              <a:t>Slide title</a:t>
            </a:r>
          </a:p>
        </p:txBody>
      </p:sp>
      <p:cxnSp>
        <p:nvCxnSpPr>
          <p:cNvPr id="8" name="Straight Connector 7"/>
          <p:cNvCxnSpPr>
            <a:cxnSpLocks/>
          </p:cNvCxnSpPr>
          <p:nvPr userDrawn="1"/>
        </p:nvCxnSpPr>
        <p:spPr>
          <a:xfrm>
            <a:off x="2664749"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1142062"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
        <p:nvSpPr>
          <p:cNvPr id="12" name="Slide Number Placeholder 11">
            <a:extLst>
              <a:ext uri="{FF2B5EF4-FFF2-40B4-BE49-F238E27FC236}">
                <a16:creationId xmlns:a16="http://schemas.microsoft.com/office/drawing/2014/main" id="{C46DA26F-539C-4131-BFCA-38405CECEBF3}"/>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3" name="text" descr="{&quot;templafy&quot;:{&quot;id&quot;:&quot;349f3573-2e5c-4660-a29b-cedcb0249124&quot;}}" title="Form.Footer">
            <a:extLst>
              <a:ext uri="{FF2B5EF4-FFF2-40B4-BE49-F238E27FC236}">
                <a16:creationId xmlns:a16="http://schemas.microsoft.com/office/drawing/2014/main" id="{46C2B21B-C1A4-4D39-88BF-6E6CAF8DC2FF}"/>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5" name="date" descr="{&quot;templafy&quot;:{&quot;id&quot;:&quot;85186f98-3485-42ed-9df6-f9c7f43add57&quot;}}" title="Form.Date">
            <a:extLst>
              <a:ext uri="{FF2B5EF4-FFF2-40B4-BE49-F238E27FC236}">
                <a16:creationId xmlns:a16="http://schemas.microsoft.com/office/drawing/2014/main" id="{EEEB55E8-3065-43A2-928B-F57DA7AEDCD9}"/>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3301894985"/>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0671A5-62E1-422D-969B-033AAFB46660}" type="datetime5">
              <a:rPr lang="en-US" smtClean="0"/>
              <a:t>6-Oct-21</a:t>
            </a:fld>
            <a:endParaRPr lang="en-US"/>
          </a:p>
        </p:txBody>
      </p:sp>
      <p:sp>
        <p:nvSpPr>
          <p:cNvPr id="5" name="Footer Placeholder 4"/>
          <p:cNvSpPr>
            <a:spLocks noGrp="1"/>
          </p:cNvSpPr>
          <p:nvPr>
            <p:ph type="ftr" sz="quarter" idx="11"/>
          </p:nvPr>
        </p:nvSpPr>
        <p:spPr/>
        <p:txBody>
          <a:bodyPr/>
          <a:lstStyle/>
          <a:p>
            <a:r>
              <a:rPr lang="en-US"/>
              <a:t>FOOTER / PRESENTATION NAME</a:t>
            </a:r>
          </a:p>
        </p:txBody>
      </p:sp>
      <p:sp>
        <p:nvSpPr>
          <p:cNvPr id="6" name="Slide Number Placeholder 5"/>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17817347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1E82C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6E2C2916-4AC6-4E95-97D3-01C2F295CD67}"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Tree>
    <p:extLst>
      <p:ext uri="{BB962C8B-B14F-4D97-AF65-F5344CB8AC3E}">
        <p14:creationId xmlns:p14="http://schemas.microsoft.com/office/powerpoint/2010/main" val="783963761"/>
      </p:ext>
    </p:extLst>
  </p:cSld>
  <p:clrMapOvr>
    <a:masterClrMapping/>
  </p:clrMapOvr>
  <p:transition spd="med">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mage + Text (3)">
    <p:spTree>
      <p:nvGrpSpPr>
        <p:cNvPr id="1" name=""/>
        <p:cNvGrpSpPr/>
        <p:nvPr/>
      </p:nvGrpSpPr>
      <p:grpSpPr>
        <a:xfrm>
          <a:off x="0" y="0"/>
          <a:ext cx="0" cy="0"/>
          <a:chOff x="0" y="0"/>
          <a:chExt cx="0" cy="0"/>
        </a:xfrm>
      </p:grpSpPr>
      <p:sp>
        <p:nvSpPr>
          <p:cNvPr id="15" name="Picture Placeholder 3"/>
          <p:cNvSpPr>
            <a:spLocks noGrp="1"/>
          </p:cNvSpPr>
          <p:nvPr>
            <p:ph type="pic" sz="quarter" idx="18"/>
          </p:nvPr>
        </p:nvSpPr>
        <p:spPr>
          <a:xfrm>
            <a:off x="6097052" y="0"/>
            <a:ext cx="1904935" cy="3428999"/>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6" name="Picture Placeholder 3"/>
          <p:cNvSpPr>
            <a:spLocks noGrp="1"/>
          </p:cNvSpPr>
          <p:nvPr>
            <p:ph type="pic" sz="quarter" idx="23"/>
          </p:nvPr>
        </p:nvSpPr>
        <p:spPr>
          <a:xfrm>
            <a:off x="8001984"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7" name="Picture Placeholder 3"/>
          <p:cNvSpPr>
            <a:spLocks noGrp="1"/>
          </p:cNvSpPr>
          <p:nvPr>
            <p:ph type="pic" sz="quarter" idx="24"/>
          </p:nvPr>
        </p:nvSpPr>
        <p:spPr>
          <a:xfrm>
            <a:off x="10287069"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8" name="Picture Placeholder 3"/>
          <p:cNvSpPr>
            <a:spLocks noGrp="1"/>
          </p:cNvSpPr>
          <p:nvPr>
            <p:ph type="pic" sz="quarter" idx="25"/>
          </p:nvPr>
        </p:nvSpPr>
        <p:spPr>
          <a:xfrm>
            <a:off x="6097050" y="3429001"/>
            <a:ext cx="6094950" cy="3428925"/>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2" name="Title 1"/>
          <p:cNvSpPr>
            <a:spLocks noGrp="1"/>
          </p:cNvSpPr>
          <p:nvPr>
            <p:ph type="title" hasCustomPrompt="1"/>
          </p:nvPr>
        </p:nvSpPr>
        <p:spPr>
          <a:xfrm>
            <a:off x="1142542" y="2287375"/>
            <a:ext cx="3810240" cy="761058"/>
          </a:xfrm>
        </p:spPr>
        <p:txBody>
          <a:bodyPr anchor="b"/>
          <a:lstStyle>
            <a:lvl1pPr algn="ctr">
              <a:lnSpc>
                <a:spcPct val="70000"/>
              </a:lnSpc>
              <a:defRPr sz="3174">
                <a:solidFill>
                  <a:schemeClr val="bg1"/>
                </a:solidFill>
              </a:defRPr>
            </a:lvl1pPr>
          </a:lstStyle>
          <a:p>
            <a:r>
              <a:rPr lang="en-US"/>
              <a:t>Slide title</a:t>
            </a:r>
          </a:p>
        </p:txBody>
      </p:sp>
      <p:sp>
        <p:nvSpPr>
          <p:cNvPr id="11" name="Text Placeholder 9"/>
          <p:cNvSpPr>
            <a:spLocks noGrp="1"/>
          </p:cNvSpPr>
          <p:nvPr>
            <p:ph type="body" sz="quarter" idx="13" hasCustomPrompt="1"/>
          </p:nvPr>
        </p:nvSpPr>
        <p:spPr>
          <a:xfrm>
            <a:off x="114254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a:t>Edit Master text styles</a:t>
            </a:r>
          </a:p>
        </p:txBody>
      </p:sp>
      <p:sp>
        <p:nvSpPr>
          <p:cNvPr id="19" name="Slide Number Placeholder 11">
            <a:extLst>
              <a:ext uri="{FF2B5EF4-FFF2-40B4-BE49-F238E27FC236}">
                <a16:creationId xmlns:a16="http://schemas.microsoft.com/office/drawing/2014/main" id="{930BDA84-F280-4531-A582-D9EAB2DC3D4A}"/>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20" name="text" descr="{&quot;templafy&quot;:{&quot;id&quot;:&quot;669da6f3-7004-4a63-bb6d-22a2a4b40c5b&quot;}}" title="Form.Footer">
            <a:extLst>
              <a:ext uri="{FF2B5EF4-FFF2-40B4-BE49-F238E27FC236}">
                <a16:creationId xmlns:a16="http://schemas.microsoft.com/office/drawing/2014/main" id="{66920164-3349-4A90-ADF9-835FA2983303}"/>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21" name="date" descr="{&quot;templafy&quot;:{&quot;id&quot;:&quot;9b22c4f5-889f-48d6-a16d-d409bb8c4bf4&quot;}}" title="Form.Date">
            <a:extLst>
              <a:ext uri="{FF2B5EF4-FFF2-40B4-BE49-F238E27FC236}">
                <a16:creationId xmlns:a16="http://schemas.microsoft.com/office/drawing/2014/main" id="{76924F88-356C-4569-A522-11DF31C730CF}"/>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618914092"/>
      </p:ext>
    </p:extLst>
  </p:cSld>
  <p:clrMapOvr>
    <a:masterClrMapping/>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mage + Text (4)">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15" name="Picture Placeholder 3"/>
          <p:cNvSpPr>
            <a:spLocks noGrp="1"/>
          </p:cNvSpPr>
          <p:nvPr>
            <p:ph type="pic" sz="quarter" idx="18"/>
          </p:nvPr>
        </p:nvSpPr>
        <p:spPr>
          <a:xfrm>
            <a:off x="1" y="0"/>
            <a:ext cx="1904935" cy="3428999"/>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6" name="Picture Placeholder 3"/>
          <p:cNvSpPr>
            <a:spLocks noGrp="1"/>
          </p:cNvSpPr>
          <p:nvPr>
            <p:ph type="pic" sz="quarter" idx="23"/>
          </p:nvPr>
        </p:nvSpPr>
        <p:spPr>
          <a:xfrm>
            <a:off x="1904935"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7" name="Picture Placeholder 3"/>
          <p:cNvSpPr>
            <a:spLocks noGrp="1"/>
          </p:cNvSpPr>
          <p:nvPr>
            <p:ph type="pic" sz="quarter" idx="24"/>
          </p:nvPr>
        </p:nvSpPr>
        <p:spPr>
          <a:xfrm>
            <a:off x="4190016"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8" name="Picture Placeholder 3"/>
          <p:cNvSpPr>
            <a:spLocks noGrp="1"/>
          </p:cNvSpPr>
          <p:nvPr>
            <p:ph type="pic" sz="quarter" idx="25"/>
          </p:nvPr>
        </p:nvSpPr>
        <p:spPr>
          <a:xfrm>
            <a:off x="0" y="3429001"/>
            <a:ext cx="6094950" cy="3428925"/>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2" name="Title 1"/>
          <p:cNvSpPr>
            <a:spLocks noGrp="1"/>
          </p:cNvSpPr>
          <p:nvPr>
            <p:ph type="title" hasCustomPrompt="1"/>
          </p:nvPr>
        </p:nvSpPr>
        <p:spPr>
          <a:xfrm>
            <a:off x="7239698" y="2287375"/>
            <a:ext cx="3810240" cy="761058"/>
          </a:xfrm>
        </p:spPr>
        <p:txBody>
          <a:bodyPr anchor="b"/>
          <a:lstStyle>
            <a:lvl1pPr algn="ctr">
              <a:lnSpc>
                <a:spcPct val="70000"/>
              </a:lnSpc>
              <a:defRPr sz="3174">
                <a:solidFill>
                  <a:schemeClr val="bg1"/>
                </a:solidFill>
              </a:defRPr>
            </a:lvl1pPr>
          </a:lstStyle>
          <a:p>
            <a:r>
              <a:rPr lang="en-US"/>
              <a:t>Slide title</a:t>
            </a:r>
          </a:p>
        </p:txBody>
      </p:sp>
      <p:sp>
        <p:nvSpPr>
          <p:cNvPr id="11" name="Text Placeholder 9"/>
          <p:cNvSpPr>
            <a:spLocks noGrp="1"/>
          </p:cNvSpPr>
          <p:nvPr>
            <p:ph type="body" sz="quarter" idx="13" hasCustomPrompt="1"/>
          </p:nvPr>
        </p:nvSpPr>
        <p:spPr>
          <a:xfrm>
            <a:off x="7239697"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a:t>Edit Master text styles</a:t>
            </a:r>
          </a:p>
        </p:txBody>
      </p:sp>
      <p:sp>
        <p:nvSpPr>
          <p:cNvPr id="19" name="Slide Number Placeholder 11">
            <a:extLst>
              <a:ext uri="{FF2B5EF4-FFF2-40B4-BE49-F238E27FC236}">
                <a16:creationId xmlns:a16="http://schemas.microsoft.com/office/drawing/2014/main" id="{F7A73583-7154-4100-AA67-6691261A3F5F}"/>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20" name="text" descr="{&quot;templafy&quot;:{&quot;id&quot;:&quot;c7f3476d-5728-490d-ac8b-b4cd57bf8661&quot;}}" title="Form.Footer">
            <a:extLst>
              <a:ext uri="{FF2B5EF4-FFF2-40B4-BE49-F238E27FC236}">
                <a16:creationId xmlns:a16="http://schemas.microsoft.com/office/drawing/2014/main" id="{E4408DFC-A13D-4530-A336-FEE4EFFFB44C}"/>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21" name="date" descr="{&quot;templafy&quot;:{&quot;id&quot;:&quot;09c6d450-9f7c-4c05-974e-b2b800d75b30&quot;}}" title="Form.Date">
            <a:extLst>
              <a:ext uri="{FF2B5EF4-FFF2-40B4-BE49-F238E27FC236}">
                <a16:creationId xmlns:a16="http://schemas.microsoft.com/office/drawing/2014/main" id="{2502A53A-FAF3-4F77-88E8-C8C164896699}"/>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290910748"/>
      </p:ext>
    </p:extLst>
  </p:cSld>
  <p:clrMapOvr>
    <a:masterClrMapping/>
  </p:clrMapOvr>
  <p:transition spd="med">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3429021" cy="4191659"/>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3" name="Picture Placeholder 3"/>
          <p:cNvSpPr>
            <a:spLocks noGrp="1"/>
          </p:cNvSpPr>
          <p:nvPr>
            <p:ph type="pic" sz="quarter" idx="23"/>
          </p:nvPr>
        </p:nvSpPr>
        <p:spPr>
          <a:xfrm>
            <a:off x="3809870" y="1142300"/>
            <a:ext cx="3427624" cy="4191659"/>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4" name="Picture Placeholder 3"/>
          <p:cNvSpPr>
            <a:spLocks noGrp="1"/>
          </p:cNvSpPr>
          <p:nvPr>
            <p:ph type="pic" sz="quarter" idx="24"/>
          </p:nvPr>
        </p:nvSpPr>
        <p:spPr>
          <a:xfrm>
            <a:off x="7238191" y="1142300"/>
            <a:ext cx="3430675" cy="419165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 name="Title 1"/>
          <p:cNvSpPr>
            <a:spLocks noGrp="1"/>
          </p:cNvSpPr>
          <p:nvPr>
            <p:ph type="title"/>
          </p:nvPr>
        </p:nvSpPr>
        <p:spPr/>
        <p:txBody>
          <a:bodyPr/>
          <a:lstStyle/>
          <a:p>
            <a:r>
              <a:rPr lang="en-US"/>
              <a:t>Click to edit Master title style</a:t>
            </a:r>
          </a:p>
        </p:txBody>
      </p:sp>
      <p:sp>
        <p:nvSpPr>
          <p:cNvPr id="17" name="Text Placeholder 15"/>
          <p:cNvSpPr>
            <a:spLocks noGrp="1"/>
          </p:cNvSpPr>
          <p:nvPr>
            <p:ph type="body" sz="quarter" idx="25" hasCustomPrompt="1"/>
          </p:nvPr>
        </p:nvSpPr>
        <p:spPr>
          <a:xfrm>
            <a:off x="380149"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2" name="Text Placeholder 15"/>
          <p:cNvSpPr>
            <a:spLocks noGrp="1"/>
          </p:cNvSpPr>
          <p:nvPr>
            <p:ph type="body" sz="quarter" idx="26" hasCustomPrompt="1"/>
          </p:nvPr>
        </p:nvSpPr>
        <p:spPr>
          <a:xfrm>
            <a:off x="3809870"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3" name="Text Placeholder 15"/>
          <p:cNvSpPr>
            <a:spLocks noGrp="1"/>
          </p:cNvSpPr>
          <p:nvPr>
            <p:ph type="body" sz="quarter" idx="27" hasCustomPrompt="1"/>
          </p:nvPr>
        </p:nvSpPr>
        <p:spPr>
          <a:xfrm>
            <a:off x="7239066"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18" name="Slide Number Placeholder 11">
            <a:extLst>
              <a:ext uri="{FF2B5EF4-FFF2-40B4-BE49-F238E27FC236}">
                <a16:creationId xmlns:a16="http://schemas.microsoft.com/office/drawing/2014/main" id="{0DFD2AB0-3809-44F1-81D0-7F779C62892B}"/>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9" name="text" descr="{&quot;templafy&quot;:{&quot;id&quot;:&quot;3552a9e4-ea91-47b8-a8b3-589859adcaaa&quot;}}" title="Form.Footer">
            <a:extLst>
              <a:ext uri="{FF2B5EF4-FFF2-40B4-BE49-F238E27FC236}">
                <a16:creationId xmlns:a16="http://schemas.microsoft.com/office/drawing/2014/main" id="{989B586B-58A2-44F6-BA75-B76F47C8AD9D}"/>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20" name="date" descr="{&quot;templafy&quot;:{&quot;id&quot;:&quot;50fa6bc8-6524-471d-a45c-1262c5c837f0&quot;}}" title="Form.Date">
            <a:extLst>
              <a:ext uri="{FF2B5EF4-FFF2-40B4-BE49-F238E27FC236}">
                <a16:creationId xmlns:a16="http://schemas.microsoft.com/office/drawing/2014/main" id="{E5AF7915-8375-47B0-A312-DB122A4DA8BE}"/>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611273118"/>
      </p:ext>
    </p:extLst>
  </p:cSld>
  <p:clrMapOvr>
    <a:masterClrMapping/>
  </p:clrMapOvr>
  <p:transition spd="med">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2665223" cy="4191659"/>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3" name="Picture Placeholder 3"/>
          <p:cNvSpPr>
            <a:spLocks noGrp="1"/>
          </p:cNvSpPr>
          <p:nvPr>
            <p:ph type="pic" sz="quarter" idx="23"/>
          </p:nvPr>
        </p:nvSpPr>
        <p:spPr>
          <a:xfrm>
            <a:off x="3045373" y="1142300"/>
            <a:ext cx="2669555" cy="4191659"/>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4" name="Picture Placeholder 3"/>
          <p:cNvSpPr>
            <a:spLocks noGrp="1"/>
          </p:cNvSpPr>
          <p:nvPr>
            <p:ph type="pic" sz="quarter" idx="24"/>
          </p:nvPr>
        </p:nvSpPr>
        <p:spPr>
          <a:xfrm>
            <a:off x="5714801" y="1142300"/>
            <a:ext cx="2667329" cy="4191659"/>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2" name="Picture Placeholder 3"/>
          <p:cNvSpPr>
            <a:spLocks noGrp="1"/>
          </p:cNvSpPr>
          <p:nvPr>
            <p:ph type="pic" sz="quarter" idx="28"/>
          </p:nvPr>
        </p:nvSpPr>
        <p:spPr>
          <a:xfrm>
            <a:off x="8382130" y="1142300"/>
            <a:ext cx="2667329" cy="4191659"/>
          </a:xfrm>
          <a:solidFill>
            <a:schemeClr val="bg2">
              <a:lumMod val="20000"/>
              <a:lumOff val="8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 name="Title 1"/>
          <p:cNvSpPr>
            <a:spLocks noGrp="1"/>
          </p:cNvSpPr>
          <p:nvPr>
            <p:ph type="title"/>
          </p:nvPr>
        </p:nvSpPr>
        <p:spPr/>
        <p:txBody>
          <a:bodyPr/>
          <a:lstStyle/>
          <a:p>
            <a:r>
              <a:rPr lang="en-US"/>
              <a:t>Click to edit Master title style</a:t>
            </a:r>
          </a:p>
        </p:txBody>
      </p:sp>
      <p:sp>
        <p:nvSpPr>
          <p:cNvPr id="28" name="Text Placeholder 15"/>
          <p:cNvSpPr>
            <a:spLocks noGrp="1"/>
          </p:cNvSpPr>
          <p:nvPr>
            <p:ph type="body" sz="quarter" idx="25" hasCustomPrompt="1"/>
          </p:nvPr>
        </p:nvSpPr>
        <p:spPr>
          <a:xfrm>
            <a:off x="380149"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29" name="Text Placeholder 15"/>
          <p:cNvSpPr>
            <a:spLocks noGrp="1"/>
          </p:cNvSpPr>
          <p:nvPr>
            <p:ph type="body" sz="quarter" idx="29" hasCustomPrompt="1"/>
          </p:nvPr>
        </p:nvSpPr>
        <p:spPr>
          <a:xfrm>
            <a:off x="3045373"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30" name="Text Placeholder 15"/>
          <p:cNvSpPr>
            <a:spLocks noGrp="1"/>
          </p:cNvSpPr>
          <p:nvPr>
            <p:ph type="body" sz="quarter" idx="30" hasCustomPrompt="1"/>
          </p:nvPr>
        </p:nvSpPr>
        <p:spPr>
          <a:xfrm>
            <a:off x="5714801"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31" name="Text Placeholder 15"/>
          <p:cNvSpPr>
            <a:spLocks noGrp="1"/>
          </p:cNvSpPr>
          <p:nvPr>
            <p:ph type="body" sz="quarter" idx="31" hasCustomPrompt="1"/>
          </p:nvPr>
        </p:nvSpPr>
        <p:spPr>
          <a:xfrm>
            <a:off x="8382132"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a:t>Edit Master text styles</a:t>
            </a:r>
          </a:p>
          <a:p>
            <a:pPr lvl="0"/>
            <a:r>
              <a:rPr lang="en-US"/>
              <a:t>Second level</a:t>
            </a:r>
          </a:p>
        </p:txBody>
      </p:sp>
      <p:sp>
        <p:nvSpPr>
          <p:cNvPr id="17" name="Slide Number Placeholder 11">
            <a:extLst>
              <a:ext uri="{FF2B5EF4-FFF2-40B4-BE49-F238E27FC236}">
                <a16:creationId xmlns:a16="http://schemas.microsoft.com/office/drawing/2014/main" id="{39DE22BD-CBAD-498E-A953-B815F8A71AF6}"/>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8" name="text" descr="{&quot;templafy&quot;:{&quot;id&quot;:&quot;749d4406-ac33-4bcf-82cb-7d0772346c73&quot;}}" title="Form.Footer">
            <a:extLst>
              <a:ext uri="{FF2B5EF4-FFF2-40B4-BE49-F238E27FC236}">
                <a16:creationId xmlns:a16="http://schemas.microsoft.com/office/drawing/2014/main" id="{4BA3A674-98CD-4BEB-9237-39D4EF80A1E1}"/>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9" name="date" descr="{&quot;templafy&quot;:{&quot;id&quot;:&quot;1f2211fb-9b4e-4edc-85f9-31cef324f7a6&quot;}}" title="Form.Date">
            <a:extLst>
              <a:ext uri="{FF2B5EF4-FFF2-40B4-BE49-F238E27FC236}">
                <a16:creationId xmlns:a16="http://schemas.microsoft.com/office/drawing/2014/main" id="{2126EE3B-C2F1-4B28-B407-356BB9F379A3}"/>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861041569"/>
      </p:ext>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9" name="Group 4"/>
          <p:cNvGrpSpPr>
            <a:grpSpLocks noChangeAspect="1"/>
          </p:cNvGrpSpPr>
          <p:nvPr userDrawn="1"/>
        </p:nvGrpSpPr>
        <p:grpSpPr bwMode="auto">
          <a:xfrm>
            <a:off x="760296" y="1524040"/>
            <a:ext cx="556566" cy="382167"/>
            <a:chOff x="760" y="163"/>
            <a:chExt cx="4288" cy="2945"/>
          </a:xfrm>
        </p:grpSpPr>
        <p:sp>
          <p:nvSpPr>
            <p:cNvPr id="10" name="Freeform 9"/>
            <p:cNvSpPr>
              <a:spLocks/>
            </p:cNvSpPr>
            <p:nvPr/>
          </p:nvSpPr>
          <p:spPr bwMode="auto">
            <a:xfrm>
              <a:off x="760" y="163"/>
              <a:ext cx="4288" cy="2945"/>
            </a:xfrm>
            <a:custGeom>
              <a:avLst/>
              <a:gdLst>
                <a:gd name="T0" fmla="*/ 1818 w 1818"/>
                <a:gd name="T1" fmla="*/ 624 h 1249"/>
                <a:gd name="T2" fmla="*/ 912 w 1818"/>
                <a:gd name="T3" fmla="*/ 1249 h 1249"/>
                <a:gd name="T4" fmla="*/ 0 w 1818"/>
                <a:gd name="T5" fmla="*/ 624 h 1249"/>
                <a:gd name="T6" fmla="*/ 906 w 1818"/>
                <a:gd name="T7" fmla="*/ 0 h 1249"/>
                <a:gd name="T8" fmla="*/ 1818 w 1818"/>
                <a:gd name="T9" fmla="*/ 624 h 1249"/>
              </a:gdLst>
              <a:ahLst/>
              <a:cxnLst>
                <a:cxn ang="0">
                  <a:pos x="T0" y="T1"/>
                </a:cxn>
                <a:cxn ang="0">
                  <a:pos x="T2" y="T3"/>
                </a:cxn>
                <a:cxn ang="0">
                  <a:pos x="T4" y="T5"/>
                </a:cxn>
                <a:cxn ang="0">
                  <a:pos x="T6" y="T7"/>
                </a:cxn>
                <a:cxn ang="0">
                  <a:pos x="T8" y="T9"/>
                </a:cxn>
              </a:cxnLst>
              <a:rect l="0" t="0" r="r" b="b"/>
              <a:pathLst>
                <a:path w="1818" h="1249">
                  <a:moveTo>
                    <a:pt x="1818" y="624"/>
                  </a:moveTo>
                  <a:cubicBezTo>
                    <a:pt x="1818" y="624"/>
                    <a:pt x="1414" y="1249"/>
                    <a:pt x="912" y="1249"/>
                  </a:cubicBezTo>
                  <a:cubicBezTo>
                    <a:pt x="411" y="1249"/>
                    <a:pt x="0" y="624"/>
                    <a:pt x="0" y="624"/>
                  </a:cubicBezTo>
                  <a:cubicBezTo>
                    <a:pt x="0" y="624"/>
                    <a:pt x="404" y="0"/>
                    <a:pt x="906" y="0"/>
                  </a:cubicBezTo>
                  <a:cubicBezTo>
                    <a:pt x="1407" y="0"/>
                    <a:pt x="1818" y="624"/>
                    <a:pt x="1818" y="624"/>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1" name="Freeform 10"/>
            <p:cNvSpPr>
              <a:spLocks/>
            </p:cNvSpPr>
            <p:nvPr/>
          </p:nvSpPr>
          <p:spPr bwMode="auto">
            <a:xfrm>
              <a:off x="2281" y="1009"/>
              <a:ext cx="1276" cy="1252"/>
            </a:xfrm>
            <a:custGeom>
              <a:avLst/>
              <a:gdLst>
                <a:gd name="T0" fmla="*/ 270 w 541"/>
                <a:gd name="T1" fmla="*/ 0 h 531"/>
                <a:gd name="T2" fmla="*/ 155 w 541"/>
                <a:gd name="T3" fmla="*/ 26 h 531"/>
                <a:gd name="T4" fmla="*/ 180 w 541"/>
                <a:gd name="T5" fmla="*/ 100 h 531"/>
                <a:gd name="T6" fmla="*/ 59 w 541"/>
                <a:gd name="T7" fmla="*/ 221 h 531"/>
                <a:gd name="T8" fmla="*/ 6 w 541"/>
                <a:gd name="T9" fmla="*/ 209 h 531"/>
                <a:gd name="T10" fmla="*/ 0 w 541"/>
                <a:gd name="T11" fmla="*/ 265 h 531"/>
                <a:gd name="T12" fmla="*/ 270 w 541"/>
                <a:gd name="T13" fmla="*/ 531 h 531"/>
                <a:gd name="T14" fmla="*/ 541 w 541"/>
                <a:gd name="T15" fmla="*/ 265 h 531"/>
                <a:gd name="T16" fmla="*/ 270 w 541"/>
                <a:gd name="T17"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1" h="531">
                  <a:moveTo>
                    <a:pt x="270" y="0"/>
                  </a:moveTo>
                  <a:cubicBezTo>
                    <a:pt x="229" y="0"/>
                    <a:pt x="190" y="9"/>
                    <a:pt x="155" y="26"/>
                  </a:cubicBezTo>
                  <a:cubicBezTo>
                    <a:pt x="170" y="46"/>
                    <a:pt x="180" y="72"/>
                    <a:pt x="180" y="100"/>
                  </a:cubicBezTo>
                  <a:cubicBezTo>
                    <a:pt x="180" y="167"/>
                    <a:pt x="126" y="221"/>
                    <a:pt x="59" y="221"/>
                  </a:cubicBezTo>
                  <a:cubicBezTo>
                    <a:pt x="40" y="221"/>
                    <a:pt x="22" y="217"/>
                    <a:pt x="6" y="209"/>
                  </a:cubicBezTo>
                  <a:cubicBezTo>
                    <a:pt x="2" y="227"/>
                    <a:pt x="0" y="246"/>
                    <a:pt x="0" y="265"/>
                  </a:cubicBezTo>
                  <a:cubicBezTo>
                    <a:pt x="0" y="412"/>
                    <a:pt x="121" y="531"/>
                    <a:pt x="270" y="531"/>
                  </a:cubicBezTo>
                  <a:cubicBezTo>
                    <a:pt x="420" y="531"/>
                    <a:pt x="541" y="412"/>
                    <a:pt x="541" y="265"/>
                  </a:cubicBezTo>
                  <a:cubicBezTo>
                    <a:pt x="541" y="119"/>
                    <a:pt x="420" y="0"/>
                    <a:pt x="270" y="0"/>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2" name="Freeform 11"/>
            <p:cNvSpPr>
              <a:spLocks/>
            </p:cNvSpPr>
            <p:nvPr/>
          </p:nvSpPr>
          <p:spPr bwMode="auto">
            <a:xfrm>
              <a:off x="3557" y="623"/>
              <a:ext cx="559" cy="2049"/>
            </a:xfrm>
            <a:custGeom>
              <a:avLst/>
              <a:gdLst>
                <a:gd name="T0" fmla="*/ 0 w 237"/>
                <a:gd name="T1" fmla="*/ 869 h 869"/>
                <a:gd name="T2" fmla="*/ 237 w 237"/>
                <a:gd name="T3" fmla="*/ 436 h 869"/>
                <a:gd name="T4" fmla="*/ 0 w 237"/>
                <a:gd name="T5" fmla="*/ 0 h 869"/>
              </a:gdLst>
              <a:ahLst/>
              <a:cxnLst>
                <a:cxn ang="0">
                  <a:pos x="T0" y="T1"/>
                </a:cxn>
                <a:cxn ang="0">
                  <a:pos x="T2" y="T3"/>
                </a:cxn>
                <a:cxn ang="0">
                  <a:pos x="T4" y="T5"/>
                </a:cxn>
              </a:cxnLst>
              <a:rect l="0" t="0" r="r" b="b"/>
              <a:pathLst>
                <a:path w="237" h="869">
                  <a:moveTo>
                    <a:pt x="0" y="869"/>
                  </a:moveTo>
                  <a:cubicBezTo>
                    <a:pt x="142" y="790"/>
                    <a:pt x="237" y="617"/>
                    <a:pt x="237" y="436"/>
                  </a:cubicBezTo>
                  <a:cubicBezTo>
                    <a:pt x="237" y="254"/>
                    <a:pt x="142" y="79"/>
                    <a:pt x="0" y="0"/>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3" name="Freeform 12"/>
            <p:cNvSpPr>
              <a:spLocks/>
            </p:cNvSpPr>
            <p:nvPr/>
          </p:nvSpPr>
          <p:spPr bwMode="auto">
            <a:xfrm>
              <a:off x="1692" y="623"/>
              <a:ext cx="558" cy="2049"/>
            </a:xfrm>
            <a:custGeom>
              <a:avLst/>
              <a:gdLst>
                <a:gd name="T0" fmla="*/ 237 w 237"/>
                <a:gd name="T1" fmla="*/ 0 h 869"/>
                <a:gd name="T2" fmla="*/ 0 w 237"/>
                <a:gd name="T3" fmla="*/ 436 h 869"/>
                <a:gd name="T4" fmla="*/ 237 w 237"/>
                <a:gd name="T5" fmla="*/ 869 h 869"/>
              </a:gdLst>
              <a:ahLst/>
              <a:cxnLst>
                <a:cxn ang="0">
                  <a:pos x="T0" y="T1"/>
                </a:cxn>
                <a:cxn ang="0">
                  <a:pos x="T2" y="T3"/>
                </a:cxn>
                <a:cxn ang="0">
                  <a:pos x="T4" y="T5"/>
                </a:cxn>
              </a:cxnLst>
              <a:rect l="0" t="0" r="r" b="b"/>
              <a:pathLst>
                <a:path w="237" h="869">
                  <a:moveTo>
                    <a:pt x="237" y="0"/>
                  </a:moveTo>
                  <a:cubicBezTo>
                    <a:pt x="95" y="79"/>
                    <a:pt x="0" y="254"/>
                    <a:pt x="0" y="436"/>
                  </a:cubicBezTo>
                  <a:cubicBezTo>
                    <a:pt x="0" y="617"/>
                    <a:pt x="95" y="790"/>
                    <a:pt x="237" y="869"/>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grpSp>
      <p:grpSp>
        <p:nvGrpSpPr>
          <p:cNvPr id="14" name="Group 11"/>
          <p:cNvGrpSpPr>
            <a:grpSpLocks noChangeAspect="1"/>
          </p:cNvGrpSpPr>
          <p:nvPr userDrawn="1"/>
        </p:nvGrpSpPr>
        <p:grpSpPr bwMode="auto">
          <a:xfrm>
            <a:off x="4190640" y="1524039"/>
            <a:ext cx="431579" cy="382171"/>
            <a:chOff x="1110" y="47"/>
            <a:chExt cx="3587" cy="3177"/>
          </a:xfrm>
        </p:grpSpPr>
        <p:sp>
          <p:nvSpPr>
            <p:cNvPr id="15" name="Freeform 12"/>
            <p:cNvSpPr>
              <a:spLocks/>
            </p:cNvSpPr>
            <p:nvPr/>
          </p:nvSpPr>
          <p:spPr bwMode="auto">
            <a:xfrm>
              <a:off x="1110" y="535"/>
              <a:ext cx="3587" cy="2689"/>
            </a:xfrm>
            <a:custGeom>
              <a:avLst/>
              <a:gdLst>
                <a:gd name="T0" fmla="*/ 2447 w 3587"/>
                <a:gd name="T1" fmla="*/ 0 h 2689"/>
                <a:gd name="T2" fmla="*/ 3587 w 3587"/>
                <a:gd name="T3" fmla="*/ 0 h 2689"/>
                <a:gd name="T4" fmla="*/ 3587 w 3587"/>
                <a:gd name="T5" fmla="*/ 2689 h 2689"/>
                <a:gd name="T6" fmla="*/ 0 w 3587"/>
                <a:gd name="T7" fmla="*/ 2689 h 2689"/>
                <a:gd name="T8" fmla="*/ 0 w 3587"/>
                <a:gd name="T9" fmla="*/ 0 h 2689"/>
                <a:gd name="T10" fmla="*/ 1305 w 3587"/>
                <a:gd name="T11" fmla="*/ 0 h 2689"/>
              </a:gdLst>
              <a:ahLst/>
              <a:cxnLst>
                <a:cxn ang="0">
                  <a:pos x="T0" y="T1"/>
                </a:cxn>
                <a:cxn ang="0">
                  <a:pos x="T2" y="T3"/>
                </a:cxn>
                <a:cxn ang="0">
                  <a:pos x="T4" y="T5"/>
                </a:cxn>
                <a:cxn ang="0">
                  <a:pos x="T6" y="T7"/>
                </a:cxn>
                <a:cxn ang="0">
                  <a:pos x="T8" y="T9"/>
                </a:cxn>
                <a:cxn ang="0">
                  <a:pos x="T10" y="T11"/>
                </a:cxn>
              </a:cxnLst>
              <a:rect l="0" t="0" r="r" b="b"/>
              <a:pathLst>
                <a:path w="3587" h="2689">
                  <a:moveTo>
                    <a:pt x="2447" y="0"/>
                  </a:moveTo>
                  <a:lnTo>
                    <a:pt x="3587" y="0"/>
                  </a:lnTo>
                  <a:lnTo>
                    <a:pt x="3587" y="2689"/>
                  </a:lnTo>
                  <a:lnTo>
                    <a:pt x="0" y="2689"/>
                  </a:lnTo>
                  <a:lnTo>
                    <a:pt x="0" y="0"/>
                  </a:lnTo>
                  <a:lnTo>
                    <a:pt x="1305" y="0"/>
                  </a:lnTo>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6" name="Rectangle 13"/>
            <p:cNvSpPr>
              <a:spLocks noChangeArrowheads="1"/>
            </p:cNvSpPr>
            <p:nvPr/>
          </p:nvSpPr>
          <p:spPr bwMode="auto">
            <a:xfrm>
              <a:off x="1516" y="1268"/>
              <a:ext cx="1305" cy="1548"/>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7" name="Freeform 14"/>
            <p:cNvSpPr>
              <a:spLocks/>
            </p:cNvSpPr>
            <p:nvPr/>
          </p:nvSpPr>
          <p:spPr bwMode="auto">
            <a:xfrm>
              <a:off x="1516" y="2331"/>
              <a:ext cx="1305" cy="485"/>
            </a:xfrm>
            <a:custGeom>
              <a:avLst/>
              <a:gdLst>
                <a:gd name="T0" fmla="*/ 277 w 553"/>
                <a:gd name="T1" fmla="*/ 206 h 206"/>
                <a:gd name="T2" fmla="*/ 553 w 553"/>
                <a:gd name="T3" fmla="*/ 206 h 206"/>
                <a:gd name="T4" fmla="*/ 553 w 553"/>
                <a:gd name="T5" fmla="*/ 88 h 206"/>
                <a:gd name="T6" fmla="*/ 277 w 553"/>
                <a:gd name="T7" fmla="*/ 0 h 206"/>
                <a:gd name="T8" fmla="*/ 0 w 553"/>
                <a:gd name="T9" fmla="*/ 88 h 206"/>
                <a:gd name="T10" fmla="*/ 0 w 553"/>
                <a:gd name="T11" fmla="*/ 206 h 206"/>
                <a:gd name="T12" fmla="*/ 277 w 55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553" h="206">
                  <a:moveTo>
                    <a:pt x="277" y="206"/>
                  </a:moveTo>
                  <a:cubicBezTo>
                    <a:pt x="553" y="206"/>
                    <a:pt x="553" y="206"/>
                    <a:pt x="553" y="206"/>
                  </a:cubicBezTo>
                  <a:cubicBezTo>
                    <a:pt x="553" y="88"/>
                    <a:pt x="553" y="88"/>
                    <a:pt x="553" y="88"/>
                  </a:cubicBezTo>
                  <a:cubicBezTo>
                    <a:pt x="540" y="74"/>
                    <a:pt x="405" y="0"/>
                    <a:pt x="277" y="0"/>
                  </a:cubicBezTo>
                  <a:cubicBezTo>
                    <a:pt x="149" y="0"/>
                    <a:pt x="13" y="74"/>
                    <a:pt x="0" y="88"/>
                  </a:cubicBezTo>
                  <a:cubicBezTo>
                    <a:pt x="0" y="206"/>
                    <a:pt x="0" y="206"/>
                    <a:pt x="0" y="206"/>
                  </a:cubicBezTo>
                  <a:lnTo>
                    <a:pt x="277" y="206"/>
                  </a:ln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8" name="Freeform 15"/>
            <p:cNvSpPr>
              <a:spLocks/>
            </p:cNvSpPr>
            <p:nvPr/>
          </p:nvSpPr>
          <p:spPr bwMode="auto">
            <a:xfrm>
              <a:off x="1924" y="1513"/>
              <a:ext cx="491" cy="573"/>
            </a:xfrm>
            <a:custGeom>
              <a:avLst/>
              <a:gdLst>
                <a:gd name="T0" fmla="*/ 104 w 208"/>
                <a:gd name="T1" fmla="*/ 0 h 243"/>
                <a:gd name="T2" fmla="*/ 104 w 208"/>
                <a:gd name="T3" fmla="*/ 0 h 243"/>
                <a:gd name="T4" fmla="*/ 0 w 208"/>
                <a:gd name="T5" fmla="*/ 105 h 243"/>
                <a:gd name="T6" fmla="*/ 0 w 208"/>
                <a:gd name="T7" fmla="*/ 138 h 243"/>
                <a:gd name="T8" fmla="*/ 104 w 208"/>
                <a:gd name="T9" fmla="*/ 243 h 243"/>
                <a:gd name="T10" fmla="*/ 104 w 208"/>
                <a:gd name="T11" fmla="*/ 243 h 243"/>
                <a:gd name="T12" fmla="*/ 208 w 208"/>
                <a:gd name="T13" fmla="*/ 138 h 243"/>
                <a:gd name="T14" fmla="*/ 208 w 208"/>
                <a:gd name="T15" fmla="*/ 105 h 243"/>
                <a:gd name="T16" fmla="*/ 104 w 208"/>
                <a:gd name="T17"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243">
                  <a:moveTo>
                    <a:pt x="104" y="0"/>
                  </a:moveTo>
                  <a:cubicBezTo>
                    <a:pt x="104" y="0"/>
                    <a:pt x="104" y="0"/>
                    <a:pt x="104" y="0"/>
                  </a:cubicBezTo>
                  <a:cubicBezTo>
                    <a:pt x="47" y="0"/>
                    <a:pt x="0" y="47"/>
                    <a:pt x="0" y="105"/>
                  </a:cubicBezTo>
                  <a:cubicBezTo>
                    <a:pt x="0" y="138"/>
                    <a:pt x="0" y="138"/>
                    <a:pt x="0" y="138"/>
                  </a:cubicBezTo>
                  <a:cubicBezTo>
                    <a:pt x="0" y="196"/>
                    <a:pt x="47" y="243"/>
                    <a:pt x="104" y="243"/>
                  </a:cubicBezTo>
                  <a:cubicBezTo>
                    <a:pt x="104" y="243"/>
                    <a:pt x="104" y="243"/>
                    <a:pt x="104" y="243"/>
                  </a:cubicBezTo>
                  <a:cubicBezTo>
                    <a:pt x="161" y="243"/>
                    <a:pt x="208" y="196"/>
                    <a:pt x="208" y="138"/>
                  </a:cubicBezTo>
                  <a:cubicBezTo>
                    <a:pt x="208" y="105"/>
                    <a:pt x="208" y="105"/>
                    <a:pt x="208" y="105"/>
                  </a:cubicBezTo>
                  <a:cubicBezTo>
                    <a:pt x="208" y="47"/>
                    <a:pt x="161" y="0"/>
                    <a:pt x="104" y="0"/>
                  </a:cubicBez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19" name="Line 16"/>
            <p:cNvSpPr>
              <a:spLocks noChangeShapeType="1"/>
            </p:cNvSpPr>
            <p:nvPr/>
          </p:nvSpPr>
          <p:spPr bwMode="auto">
            <a:xfrm>
              <a:off x="3229" y="1595"/>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0" name="Line 17"/>
            <p:cNvSpPr>
              <a:spLocks noChangeShapeType="1"/>
            </p:cNvSpPr>
            <p:nvPr/>
          </p:nvSpPr>
          <p:spPr bwMode="auto">
            <a:xfrm>
              <a:off x="3229" y="1921"/>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1" name="Line 18"/>
            <p:cNvSpPr>
              <a:spLocks noChangeShapeType="1"/>
            </p:cNvSpPr>
            <p:nvPr/>
          </p:nvSpPr>
          <p:spPr bwMode="auto">
            <a:xfrm>
              <a:off x="3229" y="2246"/>
              <a:ext cx="571"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2" name="Line 19"/>
            <p:cNvSpPr>
              <a:spLocks noChangeShapeType="1"/>
            </p:cNvSpPr>
            <p:nvPr/>
          </p:nvSpPr>
          <p:spPr bwMode="auto">
            <a:xfrm>
              <a:off x="2333" y="862"/>
              <a:ext cx="1305"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3" name="Line 20"/>
            <p:cNvSpPr>
              <a:spLocks noChangeShapeType="1"/>
            </p:cNvSpPr>
            <p:nvPr/>
          </p:nvSpPr>
          <p:spPr bwMode="auto">
            <a:xfrm flipH="1">
              <a:off x="2007"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4" name="Line 21"/>
            <p:cNvSpPr>
              <a:spLocks noChangeShapeType="1"/>
            </p:cNvSpPr>
            <p:nvPr/>
          </p:nvSpPr>
          <p:spPr bwMode="auto">
            <a:xfrm>
              <a:off x="3800"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5" name="Rectangle 22"/>
            <p:cNvSpPr>
              <a:spLocks noChangeArrowheads="1"/>
            </p:cNvSpPr>
            <p:nvPr/>
          </p:nvSpPr>
          <p:spPr bwMode="auto">
            <a:xfrm>
              <a:off x="2658" y="47"/>
              <a:ext cx="654" cy="815"/>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grpSp>
      <p:grpSp>
        <p:nvGrpSpPr>
          <p:cNvPr id="26" name="Group 25"/>
          <p:cNvGrpSpPr>
            <a:grpSpLocks noChangeAspect="1"/>
          </p:cNvGrpSpPr>
          <p:nvPr userDrawn="1"/>
        </p:nvGrpSpPr>
        <p:grpSpPr bwMode="auto">
          <a:xfrm>
            <a:off x="7620290" y="1423855"/>
            <a:ext cx="343892" cy="482351"/>
            <a:chOff x="1875" y="24852"/>
            <a:chExt cx="2050" cy="364666"/>
          </a:xfrm>
        </p:grpSpPr>
        <p:sp>
          <p:nvSpPr>
            <p:cNvPr id="27" name="Freeform 26"/>
            <p:cNvSpPr>
              <a:spLocks/>
            </p:cNvSpPr>
            <p:nvPr/>
          </p:nvSpPr>
          <p:spPr bwMode="auto">
            <a:xfrm>
              <a:off x="2260" y="24852"/>
              <a:ext cx="1280" cy="73035"/>
            </a:xfrm>
            <a:custGeom>
              <a:avLst/>
              <a:gdLst>
                <a:gd name="T0" fmla="*/ 347 w 542"/>
                <a:gd name="T1" fmla="*/ 108 h 244"/>
                <a:gd name="T2" fmla="*/ 352 w 542"/>
                <a:gd name="T3" fmla="*/ 81 h 244"/>
                <a:gd name="T4" fmla="*/ 271 w 542"/>
                <a:gd name="T5" fmla="*/ 0 h 244"/>
                <a:gd name="T6" fmla="*/ 190 w 542"/>
                <a:gd name="T7" fmla="*/ 81 h 244"/>
                <a:gd name="T8" fmla="*/ 195 w 542"/>
                <a:gd name="T9" fmla="*/ 108 h 244"/>
                <a:gd name="T10" fmla="*/ 0 w 542"/>
                <a:gd name="T11" fmla="*/ 108 h 244"/>
                <a:gd name="T12" fmla="*/ 0 w 542"/>
                <a:gd name="T13" fmla="*/ 244 h 244"/>
                <a:gd name="T14" fmla="*/ 542 w 542"/>
                <a:gd name="T15" fmla="*/ 244 h 244"/>
                <a:gd name="T16" fmla="*/ 542 w 542"/>
                <a:gd name="T17" fmla="*/ 108 h 244"/>
                <a:gd name="T18" fmla="*/ 347 w 542"/>
                <a:gd name="T19" fmla="*/ 1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2" h="244">
                  <a:moveTo>
                    <a:pt x="347" y="108"/>
                  </a:moveTo>
                  <a:cubicBezTo>
                    <a:pt x="350" y="100"/>
                    <a:pt x="352" y="91"/>
                    <a:pt x="352" y="81"/>
                  </a:cubicBezTo>
                  <a:cubicBezTo>
                    <a:pt x="352" y="36"/>
                    <a:pt x="316" y="0"/>
                    <a:pt x="271" y="0"/>
                  </a:cubicBezTo>
                  <a:cubicBezTo>
                    <a:pt x="226" y="0"/>
                    <a:pt x="190" y="36"/>
                    <a:pt x="190" y="81"/>
                  </a:cubicBezTo>
                  <a:cubicBezTo>
                    <a:pt x="190" y="91"/>
                    <a:pt x="192" y="100"/>
                    <a:pt x="195" y="108"/>
                  </a:cubicBezTo>
                  <a:cubicBezTo>
                    <a:pt x="0" y="108"/>
                    <a:pt x="0" y="108"/>
                    <a:pt x="0" y="108"/>
                  </a:cubicBezTo>
                  <a:cubicBezTo>
                    <a:pt x="0" y="244"/>
                    <a:pt x="0" y="244"/>
                    <a:pt x="0" y="244"/>
                  </a:cubicBezTo>
                  <a:cubicBezTo>
                    <a:pt x="542" y="244"/>
                    <a:pt x="542" y="244"/>
                    <a:pt x="542" y="244"/>
                  </a:cubicBezTo>
                  <a:cubicBezTo>
                    <a:pt x="542" y="108"/>
                    <a:pt x="542" y="108"/>
                    <a:pt x="542" y="108"/>
                  </a:cubicBezTo>
                  <a:lnTo>
                    <a:pt x="347" y="108"/>
                  </a:ln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8" name="Freeform 27"/>
            <p:cNvSpPr>
              <a:spLocks/>
            </p:cNvSpPr>
            <p:nvPr/>
          </p:nvSpPr>
          <p:spPr bwMode="auto">
            <a:xfrm>
              <a:off x="1875" y="73669"/>
              <a:ext cx="2050" cy="315849"/>
            </a:xfrm>
            <a:custGeom>
              <a:avLst/>
              <a:gdLst>
                <a:gd name="T0" fmla="*/ 1665 w 2050"/>
                <a:gd name="T1" fmla="*/ 0 h 2491"/>
                <a:gd name="T2" fmla="*/ 2050 w 2050"/>
                <a:gd name="T3" fmla="*/ 0 h 2491"/>
                <a:gd name="T4" fmla="*/ 2050 w 2050"/>
                <a:gd name="T5" fmla="*/ 2491 h 2491"/>
                <a:gd name="T6" fmla="*/ 0 w 2050"/>
                <a:gd name="T7" fmla="*/ 2491 h 2491"/>
                <a:gd name="T8" fmla="*/ 0 w 2050"/>
                <a:gd name="T9" fmla="*/ 0 h 2491"/>
                <a:gd name="T10" fmla="*/ 385 w 2050"/>
                <a:gd name="T11" fmla="*/ 0 h 2491"/>
              </a:gdLst>
              <a:ahLst/>
              <a:cxnLst>
                <a:cxn ang="0">
                  <a:pos x="T0" y="T1"/>
                </a:cxn>
                <a:cxn ang="0">
                  <a:pos x="T2" y="T3"/>
                </a:cxn>
                <a:cxn ang="0">
                  <a:pos x="T4" y="T5"/>
                </a:cxn>
                <a:cxn ang="0">
                  <a:pos x="T6" y="T7"/>
                </a:cxn>
                <a:cxn ang="0">
                  <a:pos x="T8" y="T9"/>
                </a:cxn>
                <a:cxn ang="0">
                  <a:pos x="T10" y="T11"/>
                </a:cxn>
              </a:cxnLst>
              <a:rect l="0" t="0" r="r" b="b"/>
              <a:pathLst>
                <a:path w="2050" h="2491">
                  <a:moveTo>
                    <a:pt x="1665" y="0"/>
                  </a:moveTo>
                  <a:lnTo>
                    <a:pt x="2050" y="0"/>
                  </a:lnTo>
                  <a:lnTo>
                    <a:pt x="2050" y="2491"/>
                  </a:lnTo>
                  <a:lnTo>
                    <a:pt x="0" y="2491"/>
                  </a:lnTo>
                  <a:lnTo>
                    <a:pt x="0" y="0"/>
                  </a:lnTo>
                  <a:lnTo>
                    <a:pt x="385"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29" name="Freeform 28"/>
            <p:cNvSpPr>
              <a:spLocks/>
            </p:cNvSpPr>
            <p:nvPr/>
          </p:nvSpPr>
          <p:spPr bwMode="auto">
            <a:xfrm>
              <a:off x="2196" y="154565"/>
              <a:ext cx="513" cy="64920"/>
            </a:xfrm>
            <a:custGeom>
              <a:avLst/>
              <a:gdLst>
                <a:gd name="T0" fmla="*/ 513 w 513"/>
                <a:gd name="T1" fmla="*/ 382 h 512"/>
                <a:gd name="T2" fmla="*/ 513 w 513"/>
                <a:gd name="T3" fmla="*/ 512 h 512"/>
                <a:gd name="T4" fmla="*/ 0 w 513"/>
                <a:gd name="T5" fmla="*/ 512 h 512"/>
                <a:gd name="T6" fmla="*/ 0 w 513"/>
                <a:gd name="T7" fmla="*/ 0 h 512"/>
                <a:gd name="T8" fmla="*/ 319 w 513"/>
                <a:gd name="T9" fmla="*/ 0 h 512"/>
              </a:gdLst>
              <a:ahLst/>
              <a:cxnLst>
                <a:cxn ang="0">
                  <a:pos x="T0" y="T1"/>
                </a:cxn>
                <a:cxn ang="0">
                  <a:pos x="T2" y="T3"/>
                </a:cxn>
                <a:cxn ang="0">
                  <a:pos x="T4" y="T5"/>
                </a:cxn>
                <a:cxn ang="0">
                  <a:pos x="T6" y="T7"/>
                </a:cxn>
                <a:cxn ang="0">
                  <a:pos x="T8" y="T9"/>
                </a:cxn>
              </a:cxnLst>
              <a:rect l="0" t="0" r="r" b="b"/>
              <a:pathLst>
                <a:path w="513" h="512">
                  <a:moveTo>
                    <a:pt x="513" y="382"/>
                  </a:moveTo>
                  <a:lnTo>
                    <a:pt x="513" y="512"/>
                  </a:lnTo>
                  <a:lnTo>
                    <a:pt x="0" y="512"/>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0" name="Freeform 29"/>
            <p:cNvSpPr>
              <a:spLocks/>
            </p:cNvSpPr>
            <p:nvPr/>
          </p:nvSpPr>
          <p:spPr bwMode="auto">
            <a:xfrm>
              <a:off x="2388" y="150380"/>
              <a:ext cx="479" cy="44632"/>
            </a:xfrm>
            <a:custGeom>
              <a:avLst/>
              <a:gdLst>
                <a:gd name="T0" fmla="*/ 0 w 479"/>
                <a:gd name="T1" fmla="*/ 224 h 352"/>
                <a:gd name="T2" fmla="*/ 127 w 479"/>
                <a:gd name="T3" fmla="*/ 352 h 352"/>
                <a:gd name="T4" fmla="*/ 479 w 479"/>
                <a:gd name="T5" fmla="*/ 0 h 352"/>
              </a:gdLst>
              <a:ahLst/>
              <a:cxnLst>
                <a:cxn ang="0">
                  <a:pos x="T0" y="T1"/>
                </a:cxn>
                <a:cxn ang="0">
                  <a:pos x="T2" y="T3"/>
                </a:cxn>
                <a:cxn ang="0">
                  <a:pos x="T4" y="T5"/>
                </a:cxn>
              </a:cxnLst>
              <a:rect l="0" t="0" r="r" b="b"/>
              <a:pathLst>
                <a:path w="479" h="352">
                  <a:moveTo>
                    <a:pt x="0" y="224"/>
                  </a:moveTo>
                  <a:lnTo>
                    <a:pt x="127" y="352"/>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1" name="Freeform 30"/>
            <p:cNvSpPr>
              <a:spLocks/>
            </p:cNvSpPr>
            <p:nvPr/>
          </p:nvSpPr>
          <p:spPr bwMode="auto">
            <a:xfrm>
              <a:off x="2196" y="267920"/>
              <a:ext cx="513" cy="64793"/>
            </a:xfrm>
            <a:custGeom>
              <a:avLst/>
              <a:gdLst>
                <a:gd name="T0" fmla="*/ 513 w 513"/>
                <a:gd name="T1" fmla="*/ 384 h 511"/>
                <a:gd name="T2" fmla="*/ 513 w 513"/>
                <a:gd name="T3" fmla="*/ 511 h 511"/>
                <a:gd name="T4" fmla="*/ 0 w 513"/>
                <a:gd name="T5" fmla="*/ 511 h 511"/>
                <a:gd name="T6" fmla="*/ 0 w 513"/>
                <a:gd name="T7" fmla="*/ 0 h 511"/>
                <a:gd name="T8" fmla="*/ 319 w 513"/>
                <a:gd name="T9" fmla="*/ 0 h 511"/>
              </a:gdLst>
              <a:ahLst/>
              <a:cxnLst>
                <a:cxn ang="0">
                  <a:pos x="T0" y="T1"/>
                </a:cxn>
                <a:cxn ang="0">
                  <a:pos x="T2" y="T3"/>
                </a:cxn>
                <a:cxn ang="0">
                  <a:pos x="T4" y="T5"/>
                </a:cxn>
                <a:cxn ang="0">
                  <a:pos x="T6" y="T7"/>
                </a:cxn>
                <a:cxn ang="0">
                  <a:pos x="T8" y="T9"/>
                </a:cxn>
              </a:cxnLst>
              <a:rect l="0" t="0" r="r" b="b"/>
              <a:pathLst>
                <a:path w="513" h="511">
                  <a:moveTo>
                    <a:pt x="513" y="384"/>
                  </a:moveTo>
                  <a:lnTo>
                    <a:pt x="513" y="511"/>
                  </a:lnTo>
                  <a:lnTo>
                    <a:pt x="0" y="511"/>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2" name="Freeform 31"/>
            <p:cNvSpPr>
              <a:spLocks/>
            </p:cNvSpPr>
            <p:nvPr/>
          </p:nvSpPr>
          <p:spPr bwMode="auto">
            <a:xfrm>
              <a:off x="2388" y="263990"/>
              <a:ext cx="479" cy="44505"/>
            </a:xfrm>
            <a:custGeom>
              <a:avLst/>
              <a:gdLst>
                <a:gd name="T0" fmla="*/ 0 w 479"/>
                <a:gd name="T1" fmla="*/ 224 h 351"/>
                <a:gd name="T2" fmla="*/ 127 w 479"/>
                <a:gd name="T3" fmla="*/ 351 h 351"/>
                <a:gd name="T4" fmla="*/ 479 w 479"/>
                <a:gd name="T5" fmla="*/ 0 h 351"/>
              </a:gdLst>
              <a:ahLst/>
              <a:cxnLst>
                <a:cxn ang="0">
                  <a:pos x="T0" y="T1"/>
                </a:cxn>
                <a:cxn ang="0">
                  <a:pos x="T2" y="T3"/>
                </a:cxn>
                <a:cxn ang="0">
                  <a:pos x="T4" y="T5"/>
                </a:cxn>
              </a:cxnLst>
              <a:rect l="0" t="0" r="r" b="b"/>
              <a:pathLst>
                <a:path w="479" h="351">
                  <a:moveTo>
                    <a:pt x="0" y="224"/>
                  </a:moveTo>
                  <a:lnTo>
                    <a:pt x="127" y="351"/>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3" name="Line 32"/>
            <p:cNvSpPr>
              <a:spLocks noChangeShapeType="1"/>
            </p:cNvSpPr>
            <p:nvPr/>
          </p:nvSpPr>
          <p:spPr bwMode="auto">
            <a:xfrm>
              <a:off x="3028" y="170794"/>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4" name="Line 33"/>
            <p:cNvSpPr>
              <a:spLocks noChangeShapeType="1"/>
            </p:cNvSpPr>
            <p:nvPr/>
          </p:nvSpPr>
          <p:spPr bwMode="auto">
            <a:xfrm>
              <a:off x="3028" y="203001"/>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5" name="Line 34"/>
            <p:cNvSpPr>
              <a:spLocks noChangeShapeType="1"/>
            </p:cNvSpPr>
            <p:nvPr/>
          </p:nvSpPr>
          <p:spPr bwMode="auto">
            <a:xfrm>
              <a:off x="3028" y="284277"/>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sp>
          <p:nvSpPr>
            <p:cNvPr id="36" name="Line 35"/>
            <p:cNvSpPr>
              <a:spLocks noChangeShapeType="1"/>
            </p:cNvSpPr>
            <p:nvPr/>
          </p:nvSpPr>
          <p:spPr bwMode="auto">
            <a:xfrm>
              <a:off x="3028" y="316822"/>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a:latin typeface="adiText Light Beta" pitchFamily="34" charset="0"/>
              </a:endParaRPr>
            </a:p>
          </p:txBody>
        </p:sp>
      </p:grpSp>
      <p:sp>
        <p:nvSpPr>
          <p:cNvPr id="40" name="Text Placeholder 39"/>
          <p:cNvSpPr>
            <a:spLocks noGrp="1"/>
          </p:cNvSpPr>
          <p:nvPr>
            <p:ph type="body" sz="quarter" idx="13"/>
          </p:nvPr>
        </p:nvSpPr>
        <p:spPr>
          <a:xfrm>
            <a:off x="760294"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a:xfrm>
            <a:off x="4189643"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a:xfrm>
            <a:off x="7620289"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Slide Number Placeholder 11">
            <a:extLst>
              <a:ext uri="{FF2B5EF4-FFF2-40B4-BE49-F238E27FC236}">
                <a16:creationId xmlns:a16="http://schemas.microsoft.com/office/drawing/2014/main" id="{95DC2891-1C7C-4A26-89A4-6B4B22A57FF9}"/>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43" name="text" descr="{&quot;templafy&quot;:{&quot;id&quot;:&quot;1d6e4445-2e91-4a99-8653-9e9d3a8364a3&quot;}}" title="Form.Footer">
            <a:extLst>
              <a:ext uri="{FF2B5EF4-FFF2-40B4-BE49-F238E27FC236}">
                <a16:creationId xmlns:a16="http://schemas.microsoft.com/office/drawing/2014/main" id="{435AD582-C58E-4938-A754-41FEC16182A3}"/>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44" name="date" descr="{&quot;templafy&quot;:{&quot;id&quot;:&quot;ac28dac3-39ca-48f6-9b5d-997a88691b9b&quot;}}" title="Form.Date">
            <a:extLst>
              <a:ext uri="{FF2B5EF4-FFF2-40B4-BE49-F238E27FC236}">
                <a16:creationId xmlns:a16="http://schemas.microsoft.com/office/drawing/2014/main" id="{5F54F833-761F-45A6-A97D-3CE03A55EF90}"/>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4110677077"/>
      </p:ext>
    </p:extLst>
  </p:cSld>
  <p:clrMapOvr>
    <a:masterClrMapping/>
  </p:clrMapOvr>
  <p:transition spd="med">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0" name="Text Placeholder 39"/>
          <p:cNvSpPr>
            <a:spLocks noGrp="1"/>
          </p:cNvSpPr>
          <p:nvPr>
            <p:ph type="body" sz="quarter" idx="13"/>
          </p:nvPr>
        </p:nvSpPr>
        <p:spPr>
          <a:xfrm>
            <a:off x="760294"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a:xfrm>
            <a:off x="4189643"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a:xfrm>
            <a:off x="7620289"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8CE91F0-0345-744C-8BA4-A7316AE9FFB3}"/>
              </a:ext>
            </a:extLst>
          </p:cNvPr>
          <p:cNvSpPr>
            <a:spLocks noGrp="1"/>
          </p:cNvSpPr>
          <p:nvPr>
            <p:ph type="pic" sz="quarter" idx="16"/>
          </p:nvPr>
        </p:nvSpPr>
        <p:spPr>
          <a:xfrm>
            <a:off x="760294" y="1266190"/>
            <a:ext cx="1180345" cy="896621"/>
          </a:xfrm>
        </p:spPr>
        <p:txBody>
          <a:bodyPr/>
          <a:lstStyle/>
          <a:p>
            <a:endParaRPr lang="en-US"/>
          </a:p>
        </p:txBody>
      </p:sp>
      <p:sp>
        <p:nvSpPr>
          <p:cNvPr id="43" name="Picture Placeholder 6">
            <a:extLst>
              <a:ext uri="{FF2B5EF4-FFF2-40B4-BE49-F238E27FC236}">
                <a16:creationId xmlns:a16="http://schemas.microsoft.com/office/drawing/2014/main" id="{0E9C7910-E703-9546-9ED2-A23EC25F214A}"/>
              </a:ext>
            </a:extLst>
          </p:cNvPr>
          <p:cNvSpPr>
            <a:spLocks noGrp="1"/>
          </p:cNvSpPr>
          <p:nvPr>
            <p:ph type="pic" sz="quarter" idx="17"/>
          </p:nvPr>
        </p:nvSpPr>
        <p:spPr>
          <a:xfrm>
            <a:off x="4190288" y="1266190"/>
            <a:ext cx="1180345" cy="896621"/>
          </a:xfrm>
        </p:spPr>
        <p:txBody>
          <a:bodyPr/>
          <a:lstStyle/>
          <a:p>
            <a:endParaRPr lang="en-US"/>
          </a:p>
        </p:txBody>
      </p:sp>
      <p:sp>
        <p:nvSpPr>
          <p:cNvPr id="44" name="Picture Placeholder 6">
            <a:extLst>
              <a:ext uri="{FF2B5EF4-FFF2-40B4-BE49-F238E27FC236}">
                <a16:creationId xmlns:a16="http://schemas.microsoft.com/office/drawing/2014/main" id="{A716FC87-FE95-BF49-BAC9-AE767893CD82}"/>
              </a:ext>
            </a:extLst>
          </p:cNvPr>
          <p:cNvSpPr>
            <a:spLocks noGrp="1"/>
          </p:cNvSpPr>
          <p:nvPr>
            <p:ph type="pic" sz="quarter" idx="18"/>
          </p:nvPr>
        </p:nvSpPr>
        <p:spPr>
          <a:xfrm>
            <a:off x="7612029" y="1266190"/>
            <a:ext cx="1180345" cy="896621"/>
          </a:xfrm>
        </p:spPr>
        <p:txBody>
          <a:bodyPr/>
          <a:lstStyle/>
          <a:p>
            <a:endParaRPr lang="en-US"/>
          </a:p>
        </p:txBody>
      </p:sp>
      <p:sp>
        <p:nvSpPr>
          <p:cNvPr id="12" name="Slide Number Placeholder 11">
            <a:extLst>
              <a:ext uri="{FF2B5EF4-FFF2-40B4-BE49-F238E27FC236}">
                <a16:creationId xmlns:a16="http://schemas.microsoft.com/office/drawing/2014/main" id="{BA34A14C-D8ED-426E-A163-F5D2F0D5B5FF}"/>
              </a:ext>
            </a:extLst>
          </p:cNvPr>
          <p:cNvSpPr>
            <a:spLocks noGrp="1"/>
          </p:cNvSpPr>
          <p:nvPr>
            <p:ph type="sldNum" sz="quarter" idx="19"/>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3" name="text" descr="{&quot;templafy&quot;:{&quot;id&quot;:&quot;e4617578-fd3e-44ca-b828-e4fcfb788a8b&quot;}}" title="Form.Footer">
            <a:extLst>
              <a:ext uri="{FF2B5EF4-FFF2-40B4-BE49-F238E27FC236}">
                <a16:creationId xmlns:a16="http://schemas.microsoft.com/office/drawing/2014/main" id="{B6A87204-36E8-45D3-A176-9E121B61AA85}"/>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4" name="date" descr="{&quot;templafy&quot;:{&quot;id&quot;:&quot;f7ffb5c6-5029-4724-95f3-b452c4a6dfa0&quot;}}" title="Form.Date">
            <a:extLst>
              <a:ext uri="{FF2B5EF4-FFF2-40B4-BE49-F238E27FC236}">
                <a16:creationId xmlns:a16="http://schemas.microsoft.com/office/drawing/2014/main" id="{CFEC300A-DB20-418C-B3F0-6E8C448ED2C4}"/>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3760626877"/>
      </p:ext>
    </p:extLst>
  </p:cSld>
  <p:clrMapOvr>
    <a:masterClrMapping/>
  </p:clrMapOvr>
  <p:transition spd="med">
    <p:fade/>
  </p:transition>
  <p:extLst>
    <p:ext uri="{DCECCB84-F9BA-43D5-87BE-67443E8EF086}">
      <p15:sldGuideLst xmlns:p15="http://schemas.microsoft.com/office/powerpoint/2012/main">
        <p15:guide id="1" orient="horz" pos="1633">
          <p15:clr>
            <a:srgbClr val="FBAE40"/>
          </p15:clr>
        </p15:guide>
        <p15:guide id="2" pos="2902">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0" name="Text Placeholder 39"/>
          <p:cNvSpPr>
            <a:spLocks noGrp="1"/>
          </p:cNvSpPr>
          <p:nvPr>
            <p:ph type="body" sz="quarter" idx="13"/>
          </p:nvPr>
        </p:nvSpPr>
        <p:spPr>
          <a:xfrm>
            <a:off x="760295" y="2286700"/>
            <a:ext cx="2328123"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8CE91F0-0345-744C-8BA4-A7316AE9FFB3}"/>
              </a:ext>
            </a:extLst>
          </p:cNvPr>
          <p:cNvSpPr>
            <a:spLocks noGrp="1"/>
          </p:cNvSpPr>
          <p:nvPr>
            <p:ph type="pic" sz="quarter" idx="16"/>
          </p:nvPr>
        </p:nvSpPr>
        <p:spPr>
          <a:xfrm>
            <a:off x="760294" y="1266190"/>
            <a:ext cx="1180345" cy="896621"/>
          </a:xfrm>
        </p:spPr>
        <p:txBody>
          <a:bodyPr/>
          <a:lstStyle/>
          <a:p>
            <a:endParaRPr lang="en-US"/>
          </a:p>
        </p:txBody>
      </p:sp>
      <p:sp>
        <p:nvSpPr>
          <p:cNvPr id="43" name="Picture Placeholder 6">
            <a:extLst>
              <a:ext uri="{FF2B5EF4-FFF2-40B4-BE49-F238E27FC236}">
                <a16:creationId xmlns:a16="http://schemas.microsoft.com/office/drawing/2014/main" id="{0E9C7910-E703-9546-9ED2-A23EC25F214A}"/>
              </a:ext>
            </a:extLst>
          </p:cNvPr>
          <p:cNvSpPr>
            <a:spLocks noGrp="1"/>
          </p:cNvSpPr>
          <p:nvPr>
            <p:ph type="pic" sz="quarter" idx="17"/>
          </p:nvPr>
        </p:nvSpPr>
        <p:spPr>
          <a:xfrm>
            <a:off x="3306770" y="1266190"/>
            <a:ext cx="1180345" cy="896621"/>
          </a:xfrm>
        </p:spPr>
        <p:txBody>
          <a:bodyPr/>
          <a:lstStyle/>
          <a:p>
            <a:endParaRPr lang="en-US"/>
          </a:p>
        </p:txBody>
      </p:sp>
      <p:sp>
        <p:nvSpPr>
          <p:cNvPr id="44" name="Picture Placeholder 6">
            <a:extLst>
              <a:ext uri="{FF2B5EF4-FFF2-40B4-BE49-F238E27FC236}">
                <a16:creationId xmlns:a16="http://schemas.microsoft.com/office/drawing/2014/main" id="{A716FC87-FE95-BF49-BAC9-AE767893CD82}"/>
              </a:ext>
            </a:extLst>
          </p:cNvPr>
          <p:cNvSpPr>
            <a:spLocks noGrp="1"/>
          </p:cNvSpPr>
          <p:nvPr>
            <p:ph type="pic" sz="quarter" idx="18"/>
          </p:nvPr>
        </p:nvSpPr>
        <p:spPr>
          <a:xfrm>
            <a:off x="5812822" y="1266190"/>
            <a:ext cx="1180345" cy="896621"/>
          </a:xfrm>
        </p:spPr>
        <p:txBody>
          <a:bodyPr/>
          <a:lstStyle/>
          <a:p>
            <a:endParaRPr lang="en-US"/>
          </a:p>
        </p:txBody>
      </p:sp>
      <p:sp>
        <p:nvSpPr>
          <p:cNvPr id="12" name="Text Placeholder 39">
            <a:extLst>
              <a:ext uri="{FF2B5EF4-FFF2-40B4-BE49-F238E27FC236}">
                <a16:creationId xmlns:a16="http://schemas.microsoft.com/office/drawing/2014/main" id="{BBCE0579-EE69-A449-8874-AE9EB6629C5C}"/>
              </a:ext>
            </a:extLst>
          </p:cNvPr>
          <p:cNvSpPr>
            <a:spLocks noGrp="1"/>
          </p:cNvSpPr>
          <p:nvPr>
            <p:ph type="body" sz="quarter" idx="19"/>
          </p:nvPr>
        </p:nvSpPr>
        <p:spPr>
          <a:xfrm>
            <a:off x="3286558" y="2286700"/>
            <a:ext cx="2328123"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9">
            <a:extLst>
              <a:ext uri="{FF2B5EF4-FFF2-40B4-BE49-F238E27FC236}">
                <a16:creationId xmlns:a16="http://schemas.microsoft.com/office/drawing/2014/main" id="{2E1332E2-7F8F-E14A-AAF8-A6B71BB0E2DA}"/>
              </a:ext>
            </a:extLst>
          </p:cNvPr>
          <p:cNvSpPr>
            <a:spLocks noGrp="1"/>
          </p:cNvSpPr>
          <p:nvPr>
            <p:ph type="body" sz="quarter" idx="20"/>
          </p:nvPr>
        </p:nvSpPr>
        <p:spPr>
          <a:xfrm>
            <a:off x="5812822" y="2286700"/>
            <a:ext cx="2328123"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9">
            <a:extLst>
              <a:ext uri="{FF2B5EF4-FFF2-40B4-BE49-F238E27FC236}">
                <a16:creationId xmlns:a16="http://schemas.microsoft.com/office/drawing/2014/main" id="{0ACE6003-D26B-8946-8D33-C85ADAF0F487}"/>
              </a:ext>
            </a:extLst>
          </p:cNvPr>
          <p:cNvSpPr>
            <a:spLocks noGrp="1"/>
          </p:cNvSpPr>
          <p:nvPr>
            <p:ph type="body" sz="quarter" idx="21"/>
          </p:nvPr>
        </p:nvSpPr>
        <p:spPr>
          <a:xfrm>
            <a:off x="8339087" y="2286700"/>
            <a:ext cx="2328123"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6">
            <a:extLst>
              <a:ext uri="{FF2B5EF4-FFF2-40B4-BE49-F238E27FC236}">
                <a16:creationId xmlns:a16="http://schemas.microsoft.com/office/drawing/2014/main" id="{8C53D18C-31CE-2144-931D-5458E38BC4A8}"/>
              </a:ext>
            </a:extLst>
          </p:cNvPr>
          <p:cNvSpPr>
            <a:spLocks noGrp="1"/>
          </p:cNvSpPr>
          <p:nvPr>
            <p:ph type="pic" sz="quarter" idx="22"/>
          </p:nvPr>
        </p:nvSpPr>
        <p:spPr>
          <a:xfrm>
            <a:off x="8339087" y="1266190"/>
            <a:ext cx="1180345" cy="896621"/>
          </a:xfrm>
        </p:spPr>
        <p:txBody>
          <a:bodyPr/>
          <a:lstStyle/>
          <a:p>
            <a:endParaRPr lang="en-US"/>
          </a:p>
        </p:txBody>
      </p:sp>
      <p:sp>
        <p:nvSpPr>
          <p:cNvPr id="15" name="Slide Number Placeholder 11">
            <a:extLst>
              <a:ext uri="{FF2B5EF4-FFF2-40B4-BE49-F238E27FC236}">
                <a16:creationId xmlns:a16="http://schemas.microsoft.com/office/drawing/2014/main" id="{CA4264CB-9786-4124-B9CC-C517DB20BB87}"/>
              </a:ext>
            </a:extLst>
          </p:cNvPr>
          <p:cNvSpPr>
            <a:spLocks noGrp="1"/>
          </p:cNvSpPr>
          <p:nvPr>
            <p:ph type="sldNum" sz="quarter" idx="23"/>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7" name="text" descr="{&quot;templafy&quot;:{&quot;id&quot;:&quot;e2c2739c-4627-4567-9852-59b063e79394&quot;}}" title="Form.Footer">
            <a:extLst>
              <a:ext uri="{FF2B5EF4-FFF2-40B4-BE49-F238E27FC236}">
                <a16:creationId xmlns:a16="http://schemas.microsoft.com/office/drawing/2014/main" id="{237D5101-8E8B-48EB-91FB-94CCAFB149FA}"/>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8" name="date" descr="{&quot;templafy&quot;:{&quot;id&quot;:&quot;a3d02d92-3ede-48d9-821c-14e5e4859f9c&quot;}}" title="Form.Date">
            <a:extLst>
              <a:ext uri="{FF2B5EF4-FFF2-40B4-BE49-F238E27FC236}">
                <a16:creationId xmlns:a16="http://schemas.microsoft.com/office/drawing/2014/main" id="{3A70EB2B-60E0-43D1-956A-9766A6EFE056}"/>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908711720"/>
      </p:ext>
    </p:extLst>
  </p:cSld>
  <p:clrMapOvr>
    <a:masterClrMapping/>
  </p:clrMapOvr>
  <p:transition spd="med">
    <p:fade/>
  </p:transition>
  <p:extLst>
    <p:ext uri="{DCECCB84-F9BA-43D5-87BE-67443E8EF086}">
      <p15:sldGuideLst xmlns:p15="http://schemas.microsoft.com/office/powerpoint/2012/main">
        <p15:guide id="1" orient="horz" pos="1633">
          <p15:clr>
            <a:srgbClr val="FBAE40"/>
          </p15:clr>
        </p15:guide>
        <p15:guide id="2" pos="2902">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4" name="Picture Placeholder 3"/>
          <p:cNvSpPr>
            <a:spLocks noGrp="1"/>
          </p:cNvSpPr>
          <p:nvPr>
            <p:ph type="pic" sz="quarter" idx="28"/>
          </p:nvPr>
        </p:nvSpPr>
        <p:spPr>
          <a:xfrm>
            <a:off x="5714803" y="525"/>
            <a:ext cx="6478070" cy="6857475"/>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a:t>Click to edit Master title style</a:t>
            </a:r>
            <a:endParaRPr lang="en-US"/>
          </a:p>
        </p:txBody>
      </p:sp>
      <p:sp>
        <p:nvSpPr>
          <p:cNvPr id="13" name="Slide Number Placeholder 11">
            <a:extLst>
              <a:ext uri="{FF2B5EF4-FFF2-40B4-BE49-F238E27FC236}">
                <a16:creationId xmlns:a16="http://schemas.microsoft.com/office/drawing/2014/main" id="{15324D56-E415-49C2-8CCD-71B70A258793}"/>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4" name="text" descr="{&quot;templafy&quot;:{&quot;id&quot;:&quot;c6e41136-e818-47c2-a303-3d73985b9779&quot;}}" title="Form.Footer">
            <a:extLst>
              <a:ext uri="{FF2B5EF4-FFF2-40B4-BE49-F238E27FC236}">
                <a16:creationId xmlns:a16="http://schemas.microsoft.com/office/drawing/2014/main" id="{B6BED5A2-0210-4686-90EF-2F1A39E8E122}"/>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5" name="date" descr="{&quot;templafy&quot;:{&quot;id&quot;:&quot;d89123cc-9155-44ce-a209-bf41f0b02776&quot;}}" title="Form.Date">
            <a:extLst>
              <a:ext uri="{FF2B5EF4-FFF2-40B4-BE49-F238E27FC236}">
                <a16:creationId xmlns:a16="http://schemas.microsoft.com/office/drawing/2014/main" id="{FFE64765-3CF3-4E6D-AA65-0D37D87C6F84}"/>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439539941"/>
      </p:ext>
    </p:extLst>
  </p:cSld>
  <p:clrMapOvr>
    <a:masterClrMapping/>
  </p:clrMapOvr>
  <p:transition spd="med">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1" name="Picture Placeholder 3"/>
          <p:cNvSpPr>
            <a:spLocks noGrp="1"/>
          </p:cNvSpPr>
          <p:nvPr>
            <p:ph type="pic" sz="quarter" idx="26"/>
          </p:nvPr>
        </p:nvSpPr>
        <p:spPr>
          <a:xfrm>
            <a:off x="5715327" y="524"/>
            <a:ext cx="3046950" cy="3428476"/>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23" name="Picture Placeholder 3"/>
          <p:cNvSpPr>
            <a:spLocks noGrp="1"/>
          </p:cNvSpPr>
          <p:nvPr>
            <p:ph type="pic" sz="quarter" idx="27"/>
          </p:nvPr>
        </p:nvSpPr>
        <p:spPr>
          <a:xfrm>
            <a:off x="5713753" y="3429001"/>
            <a:ext cx="3047474" cy="3428473"/>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24" name="Picture Placeholder 3"/>
          <p:cNvSpPr>
            <a:spLocks noGrp="1"/>
          </p:cNvSpPr>
          <p:nvPr>
            <p:ph type="pic" sz="quarter" idx="28"/>
          </p:nvPr>
        </p:nvSpPr>
        <p:spPr>
          <a:xfrm>
            <a:off x="8763153" y="525"/>
            <a:ext cx="3429720" cy="685747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a:t>Click to edit Master title style</a:t>
            </a:r>
            <a:endParaRPr lang="en-US"/>
          </a:p>
        </p:txBody>
      </p:sp>
      <p:sp>
        <p:nvSpPr>
          <p:cNvPr id="15" name="Slide Number Placeholder 11">
            <a:extLst>
              <a:ext uri="{FF2B5EF4-FFF2-40B4-BE49-F238E27FC236}">
                <a16:creationId xmlns:a16="http://schemas.microsoft.com/office/drawing/2014/main" id="{AC761EC2-CC3F-4635-A0B5-80E151EAC702}"/>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6" name="text" descr="{&quot;templafy&quot;:{&quot;id&quot;:&quot;a0142eaa-3beb-4685-9442-1382703eaba6&quot;}}" title="Form.Footer">
            <a:extLst>
              <a:ext uri="{FF2B5EF4-FFF2-40B4-BE49-F238E27FC236}">
                <a16:creationId xmlns:a16="http://schemas.microsoft.com/office/drawing/2014/main" id="{0115FEAE-A7B1-4E87-8B6A-377A4C5754C3}"/>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7" name="date" descr="{&quot;templafy&quot;:{&quot;id&quot;:&quot;9621b625-cb70-49d6-a0bc-b51069f0640f&quot;}}" title="Form.Date">
            <a:extLst>
              <a:ext uri="{FF2B5EF4-FFF2-40B4-BE49-F238E27FC236}">
                <a16:creationId xmlns:a16="http://schemas.microsoft.com/office/drawing/2014/main" id="{544FB411-EA07-4451-8D22-2729E0AEA7B6}"/>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3774168749"/>
      </p:ext>
    </p:extLst>
  </p:cSld>
  <p:clrMapOvr>
    <a:masterClrMapping/>
  </p:clrMapOvr>
  <p:transition spd="med">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10" name="Picture Placeholder 3"/>
          <p:cNvSpPr>
            <a:spLocks noGrp="1"/>
          </p:cNvSpPr>
          <p:nvPr>
            <p:ph type="pic" sz="quarter" idx="27"/>
          </p:nvPr>
        </p:nvSpPr>
        <p:spPr>
          <a:xfrm>
            <a:off x="762220" y="762234"/>
            <a:ext cx="1904583" cy="5333533"/>
          </a:xfrm>
          <a:solidFill>
            <a:schemeClr val="bg2">
              <a:lumMod val="60000"/>
              <a:lumOff val="40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1" name="Picture Placeholder 3"/>
          <p:cNvSpPr>
            <a:spLocks noGrp="1"/>
          </p:cNvSpPr>
          <p:nvPr>
            <p:ph type="pic" sz="quarter" idx="23"/>
          </p:nvPr>
        </p:nvSpPr>
        <p:spPr>
          <a:xfrm>
            <a:off x="9144176" y="762234"/>
            <a:ext cx="2286130" cy="2666767"/>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18" name="Picture Placeholder 3"/>
          <p:cNvSpPr>
            <a:spLocks noGrp="1"/>
          </p:cNvSpPr>
          <p:nvPr>
            <p:ph type="pic" sz="quarter" idx="25"/>
          </p:nvPr>
        </p:nvSpPr>
        <p:spPr>
          <a:xfrm>
            <a:off x="7620088" y="3429001"/>
            <a:ext cx="3809518" cy="2667466"/>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3" name="Titel 2"/>
          <p:cNvSpPr>
            <a:spLocks noGrp="1"/>
          </p:cNvSpPr>
          <p:nvPr>
            <p:ph type="title"/>
          </p:nvPr>
        </p:nvSpPr>
        <p:spPr bwMode="gray">
          <a:xfrm>
            <a:off x="760293" y="381466"/>
            <a:ext cx="5335707" cy="380942"/>
          </a:xfrm>
        </p:spPr>
        <p:txBody>
          <a:bodyPr/>
          <a:lstStyle>
            <a:lvl1pPr>
              <a:defRPr b="0" i="0">
                <a:latin typeface="adineue TEXT Black" panose="020B0A03020201060004" pitchFamily="34" charset="0"/>
              </a:defRPr>
            </a:lvl1pPr>
          </a:lstStyle>
          <a:p>
            <a:r>
              <a:rPr lang="en-US" noProof="0"/>
              <a:t>Click to edit Master title style</a:t>
            </a:r>
            <a:endParaRPr lang="en-US"/>
          </a:p>
        </p:txBody>
      </p:sp>
      <p:sp>
        <p:nvSpPr>
          <p:cNvPr id="14" name="Picture Placeholder 3"/>
          <p:cNvSpPr>
            <a:spLocks noGrp="1"/>
          </p:cNvSpPr>
          <p:nvPr>
            <p:ph type="pic" sz="quarter" idx="28"/>
          </p:nvPr>
        </p:nvSpPr>
        <p:spPr>
          <a:xfrm>
            <a:off x="2667679" y="762234"/>
            <a:ext cx="2664878" cy="1524467"/>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15" name="Picture Placeholder 3"/>
          <p:cNvSpPr>
            <a:spLocks noGrp="1"/>
          </p:cNvSpPr>
          <p:nvPr>
            <p:ph type="pic" sz="quarter" idx="29"/>
          </p:nvPr>
        </p:nvSpPr>
        <p:spPr>
          <a:xfrm>
            <a:off x="2667330" y="2285827"/>
            <a:ext cx="2665228" cy="1905407"/>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6" name="Picture Placeholder 3"/>
          <p:cNvSpPr>
            <a:spLocks noGrp="1"/>
          </p:cNvSpPr>
          <p:nvPr>
            <p:ph type="pic" sz="quarter" idx="30"/>
          </p:nvPr>
        </p:nvSpPr>
        <p:spPr>
          <a:xfrm>
            <a:off x="2667679" y="4191234"/>
            <a:ext cx="2664878" cy="1904534"/>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21" name="Slide Number Placeholder 11">
            <a:extLst>
              <a:ext uri="{FF2B5EF4-FFF2-40B4-BE49-F238E27FC236}">
                <a16:creationId xmlns:a16="http://schemas.microsoft.com/office/drawing/2014/main" id="{5480FDA4-B696-4381-B23D-D75443834E0D}"/>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22" name="text" descr="{&quot;templafy&quot;:{&quot;id&quot;:&quot;30fbfd64-c41e-4cee-9a82-024bf2358814&quot;}}" title="Form.Footer">
            <a:extLst>
              <a:ext uri="{FF2B5EF4-FFF2-40B4-BE49-F238E27FC236}">
                <a16:creationId xmlns:a16="http://schemas.microsoft.com/office/drawing/2014/main" id="{63885D98-22A9-4915-A1EC-508AA71DADF1}"/>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23" name="date" descr="{&quot;templafy&quot;:{&quot;id&quot;:&quot;f7736954-f5b6-460d-a55a-20113ff9f682&quot;}}" title="Form.Date">
            <a:extLst>
              <a:ext uri="{FF2B5EF4-FFF2-40B4-BE49-F238E27FC236}">
                <a16:creationId xmlns:a16="http://schemas.microsoft.com/office/drawing/2014/main" id="{51FEBE93-17CB-4DBF-A586-9D7D54B64935}"/>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4285365580"/>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Y-3">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F3932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7ACA83AB-6C81-4CE9-9F53-6281E615570C}"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Tree>
    <p:extLst>
      <p:ext uri="{BB962C8B-B14F-4D97-AF65-F5344CB8AC3E}">
        <p14:creationId xmlns:p14="http://schemas.microsoft.com/office/powerpoint/2010/main" val="3209946215"/>
      </p:ext>
    </p:extLst>
  </p:cSld>
  <p:clrMapOvr>
    <a:masterClrMapping/>
  </p:clrMapOvr>
  <p:transition spd="med">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a:t>Click icon to add picture</a:t>
            </a:r>
            <a:endParaRPr lang="en-US"/>
          </a:p>
        </p:txBody>
      </p:sp>
      <p:sp>
        <p:nvSpPr>
          <p:cNvPr id="6" name="Picture Placeholder 5"/>
          <p:cNvSpPr>
            <a:spLocks noGrp="1"/>
          </p:cNvSpPr>
          <p:nvPr>
            <p:ph type="pic" sz="quarter" idx="22"/>
          </p:nvPr>
        </p:nvSpPr>
        <p:spPr>
          <a:xfrm>
            <a:off x="760294" y="762234"/>
            <a:ext cx="3809869" cy="5333533"/>
          </a:xfrm>
          <a:solidFill>
            <a:schemeClr val="bg2"/>
          </a:solidFill>
        </p:spPr>
        <p:txBody>
          <a:bodyPr anchor="ctr"/>
          <a:lstStyle>
            <a:lvl1pPr algn="ctr">
              <a:defRPr b="0">
                <a:solidFill>
                  <a:srgbClr val="FAFAFA"/>
                </a:solidFill>
              </a:defRPr>
            </a:lvl1pPr>
          </a:lstStyle>
          <a:p>
            <a:r>
              <a:rPr lang="en-US" noProof="0"/>
              <a:t>Click icon to add picture</a:t>
            </a:r>
            <a:endParaRPr lang="en-US"/>
          </a:p>
        </p:txBody>
      </p:sp>
      <p:sp>
        <p:nvSpPr>
          <p:cNvPr id="3" name="Titel 2"/>
          <p:cNvSpPr>
            <a:spLocks noGrp="1"/>
          </p:cNvSpPr>
          <p:nvPr>
            <p:ph type="title"/>
          </p:nvPr>
        </p:nvSpPr>
        <p:spPr bwMode="gray">
          <a:xfrm>
            <a:off x="5333957" y="1904533"/>
            <a:ext cx="5715329" cy="1905407"/>
          </a:xfrm>
        </p:spPr>
        <p:txBody>
          <a:bodyPr anchor="b"/>
          <a:lstStyle>
            <a:lvl1pPr>
              <a:defRPr sz="4233" b="0" i="0">
                <a:latin typeface="adineue TEXT Black" panose="020B0A03020201060004" pitchFamily="34" charset="0"/>
              </a:defRPr>
            </a:lvl1pPr>
          </a:lstStyle>
          <a:p>
            <a:r>
              <a:rPr lang="en-US" noProof="0"/>
              <a:t>Click to edit Master title style</a:t>
            </a:r>
            <a:endParaRPr lang="en-US"/>
          </a:p>
        </p:txBody>
      </p:sp>
      <p:sp>
        <p:nvSpPr>
          <p:cNvPr id="4" name="Text Placeholder 3"/>
          <p:cNvSpPr>
            <a:spLocks noGrp="1"/>
          </p:cNvSpPr>
          <p:nvPr>
            <p:ph type="body" sz="quarter" idx="18"/>
          </p:nvPr>
        </p:nvSpPr>
        <p:spPr>
          <a:xfrm>
            <a:off x="5332556" y="3809941"/>
            <a:ext cx="5281083" cy="2285650"/>
          </a:xfrm>
        </p:spPr>
        <p:txBody>
          <a:bodyPr/>
          <a:lstStyle>
            <a:lvl1pPr>
              <a:defRPr b="0"/>
            </a:lvl1pPr>
            <a:lvl2pPr>
              <a:defRPr b="0"/>
            </a:lvl2pPr>
            <a:lvl3pPr>
              <a:defRPr b="0"/>
            </a:lvl3pPr>
            <a:lvl4pPr>
              <a:defRPr b="0"/>
            </a:lvl4pPr>
            <a:lvl5pPr>
              <a:defRPr b="0"/>
            </a:lvl5pPr>
          </a:lstStyle>
          <a:p>
            <a:pPr lvl="0"/>
            <a:r>
              <a:rPr lang="en-US" noProof="0"/>
              <a:t>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13" name="Slide Number Placeholder 11">
            <a:extLst>
              <a:ext uri="{FF2B5EF4-FFF2-40B4-BE49-F238E27FC236}">
                <a16:creationId xmlns:a16="http://schemas.microsoft.com/office/drawing/2014/main" id="{4F1D570F-738E-4355-9F84-0F422E99AF9A}"/>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4" name="text" descr="{&quot;templafy&quot;:{&quot;id&quot;:&quot;a35b2080-792e-4b5c-afcf-9f165a147e5e&quot;}}" title="Form.Footer">
            <a:extLst>
              <a:ext uri="{FF2B5EF4-FFF2-40B4-BE49-F238E27FC236}">
                <a16:creationId xmlns:a16="http://schemas.microsoft.com/office/drawing/2014/main" id="{52294AC3-B9D5-4B56-A27A-0B7696ECC835}"/>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5" name="date" descr="{&quot;templafy&quot;:{&quot;id&quot;:&quot;4e6c332f-6009-4506-8234-f9e5c2ea435e&quot;}}" title="Form.Date">
            <a:extLst>
              <a:ext uri="{FF2B5EF4-FFF2-40B4-BE49-F238E27FC236}">
                <a16:creationId xmlns:a16="http://schemas.microsoft.com/office/drawing/2014/main" id="{E8DD914A-497C-424E-829F-B3201613578C}"/>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571137708"/>
      </p:ext>
    </p:extLst>
  </p:cSld>
  <p:clrMapOvr>
    <a:masterClrMapping/>
  </p:clrMapOvr>
  <p:transition spd="med">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tx2"/>
                </a:solidFill>
              </a:defRPr>
            </a:lvl1pPr>
          </a:lstStyle>
          <a:p>
            <a:pPr lvl="0"/>
            <a:r>
              <a:rPr lang="en-US" noProof="0"/>
              <a:t>Click icon to add picture</a:t>
            </a:r>
            <a:endParaRPr lang="en-US"/>
          </a:p>
        </p:txBody>
      </p:sp>
      <p:sp>
        <p:nvSpPr>
          <p:cNvPr id="6" name="Picture Placeholder 5"/>
          <p:cNvSpPr>
            <a:spLocks noGrp="1"/>
          </p:cNvSpPr>
          <p:nvPr>
            <p:ph type="pic" sz="quarter" idx="22"/>
          </p:nvPr>
        </p:nvSpPr>
        <p:spPr>
          <a:xfrm>
            <a:off x="760295" y="762233"/>
            <a:ext cx="4954633" cy="5715525"/>
          </a:xfrm>
          <a:solidFill>
            <a:schemeClr val="bg2">
              <a:lumMod val="40000"/>
              <a:lumOff val="60000"/>
            </a:schemeClr>
          </a:solidFill>
        </p:spPr>
        <p:txBody>
          <a:bodyPr anchor="ctr"/>
          <a:lstStyle>
            <a:lvl1pPr algn="ctr">
              <a:defRPr b="0"/>
            </a:lvl1pPr>
          </a:lstStyle>
          <a:p>
            <a:r>
              <a:rPr lang="en-US" noProof="0"/>
              <a:t>Click icon to add picture</a:t>
            </a:r>
            <a:endParaRPr lang="en-US"/>
          </a:p>
        </p:txBody>
      </p:sp>
      <p:sp>
        <p:nvSpPr>
          <p:cNvPr id="3" name="Titel 2"/>
          <p:cNvSpPr>
            <a:spLocks noGrp="1"/>
          </p:cNvSpPr>
          <p:nvPr>
            <p:ph type="title"/>
          </p:nvPr>
        </p:nvSpPr>
        <p:spPr bwMode="gray">
          <a:xfrm>
            <a:off x="6094950" y="3060188"/>
            <a:ext cx="4952409" cy="3035403"/>
          </a:xfrm>
        </p:spPr>
        <p:txBody>
          <a:bodyPr/>
          <a:lstStyle>
            <a:lvl1pPr>
              <a:defRPr sz="4233" b="0" i="0">
                <a:solidFill>
                  <a:schemeClr val="bg1"/>
                </a:solidFill>
                <a:latin typeface="adineue TEXT Black" panose="020B0A03020201060004" pitchFamily="34" charset="0"/>
              </a:defRPr>
            </a:lvl1pPr>
          </a:lstStyle>
          <a:p>
            <a:r>
              <a:rPr lang="en-US" noProof="0"/>
              <a:t>Click to edit Master title style</a:t>
            </a:r>
            <a:endParaRPr lang="en-US"/>
          </a:p>
        </p:txBody>
      </p:sp>
      <p:sp>
        <p:nvSpPr>
          <p:cNvPr id="11" name="Slide Number Placeholder 11">
            <a:extLst>
              <a:ext uri="{FF2B5EF4-FFF2-40B4-BE49-F238E27FC236}">
                <a16:creationId xmlns:a16="http://schemas.microsoft.com/office/drawing/2014/main" id="{79CCC27A-A88E-4056-BA6D-C656EA9B028D}"/>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2" name="text" descr="{&quot;templafy&quot;:{&quot;id&quot;:&quot;63e7fdc0-fd02-4706-bab7-e25f92b0e9bf&quot;}}" title="Form.Footer">
            <a:extLst>
              <a:ext uri="{FF2B5EF4-FFF2-40B4-BE49-F238E27FC236}">
                <a16:creationId xmlns:a16="http://schemas.microsoft.com/office/drawing/2014/main" id="{F698EE24-1325-4E1F-99FA-79C7DC7E9335}"/>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3" name="date" descr="{&quot;templafy&quot;:{&quot;id&quot;:&quot;0736c6e3-b623-4354-9703-459c37e967eb&quot;}}" title="Form.Date">
            <a:extLst>
              <a:ext uri="{FF2B5EF4-FFF2-40B4-BE49-F238E27FC236}">
                <a16:creationId xmlns:a16="http://schemas.microsoft.com/office/drawing/2014/main" id="{5B2A8270-805F-44F7-8850-40C7C9FC388C}"/>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1270730900"/>
      </p:ext>
    </p:extLst>
  </p:cSld>
  <p:clrMapOvr>
    <a:masterClrMapping/>
  </p:clrMapOvr>
  <p:transition spd="med">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bg1"/>
                </a:solidFill>
              </a:defRPr>
            </a:lvl1pPr>
          </a:lstStyle>
          <a:p>
            <a:pPr lvl="0"/>
            <a:r>
              <a:rPr lang="en-US" noProof="0"/>
              <a:t>Click icon to add picture</a:t>
            </a:r>
            <a:endParaRPr lang="en-US"/>
          </a:p>
        </p:txBody>
      </p:sp>
      <p:sp>
        <p:nvSpPr>
          <p:cNvPr id="3" name="Titel 2"/>
          <p:cNvSpPr>
            <a:spLocks noGrp="1"/>
          </p:cNvSpPr>
          <p:nvPr>
            <p:ph type="title"/>
          </p:nvPr>
        </p:nvSpPr>
        <p:spPr bwMode="gray">
          <a:xfrm>
            <a:off x="760294" y="2286701"/>
            <a:ext cx="6097050" cy="3808890"/>
          </a:xfrm>
        </p:spPr>
        <p:txBody>
          <a:bodyPr/>
          <a:lstStyle>
            <a:lvl1pPr>
              <a:defRPr sz="5291" b="0" i="0">
                <a:solidFill>
                  <a:schemeClr val="bg1"/>
                </a:solidFill>
                <a:latin typeface="adineue TEXT Black" panose="020B0A03020201060004" pitchFamily="34" charset="0"/>
              </a:defRPr>
            </a:lvl1pPr>
          </a:lstStyle>
          <a:p>
            <a:r>
              <a:rPr lang="en-US" noProof="0"/>
              <a:t>Click to edit Master title style</a:t>
            </a:r>
            <a:endParaRPr lang="en-US"/>
          </a:p>
        </p:txBody>
      </p:sp>
      <p:sp>
        <p:nvSpPr>
          <p:cNvPr id="9" name="Slide Number Placeholder 11">
            <a:extLst>
              <a:ext uri="{FF2B5EF4-FFF2-40B4-BE49-F238E27FC236}">
                <a16:creationId xmlns:a16="http://schemas.microsoft.com/office/drawing/2014/main" id="{8C91B300-B425-4ED3-91A6-736F66B7AEDB}"/>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1" name="text" descr="{&quot;templafy&quot;:{&quot;id&quot;:&quot;3e1e37d2-20f5-4b68-ac44-a05109b2984d&quot;}}" title="Form.Footer">
            <a:extLst>
              <a:ext uri="{FF2B5EF4-FFF2-40B4-BE49-F238E27FC236}">
                <a16:creationId xmlns:a16="http://schemas.microsoft.com/office/drawing/2014/main" id="{46A835CB-2292-4057-BD13-88E6B1CA0506}"/>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2" name="date" descr="{&quot;templafy&quot;:{&quot;id&quot;:&quot;6906d3b3-b577-410e-b991-f47fa711287a&quot;}}" title="Form.Date">
            <a:extLst>
              <a:ext uri="{FF2B5EF4-FFF2-40B4-BE49-F238E27FC236}">
                <a16:creationId xmlns:a16="http://schemas.microsoft.com/office/drawing/2014/main" id="{128823AE-E3F3-4F50-9F64-9A0D607F7C76}"/>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466718410"/>
      </p:ext>
    </p:extLst>
  </p:cSld>
  <p:clrMapOvr>
    <a:masterClrMapping/>
  </p:clrMapOvr>
  <p:transition spd="med">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mage + Message (4)">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 y="0"/>
            <a:ext cx="12192000" cy="6858001"/>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a:t>Click icon to add picture</a:t>
            </a:r>
            <a:endParaRPr lang="en-US"/>
          </a:p>
        </p:txBody>
      </p:sp>
      <p:sp>
        <p:nvSpPr>
          <p:cNvPr id="3" name="Titel 2"/>
          <p:cNvSpPr>
            <a:spLocks noGrp="1"/>
          </p:cNvSpPr>
          <p:nvPr>
            <p:ph type="title" hasCustomPrompt="1"/>
          </p:nvPr>
        </p:nvSpPr>
        <p:spPr bwMode="gray">
          <a:xfrm>
            <a:off x="2285082" y="1905232"/>
            <a:ext cx="7619736" cy="1142300"/>
          </a:xfrm>
        </p:spPr>
        <p:txBody>
          <a:bodyPr anchor="b"/>
          <a:lstStyle>
            <a:lvl1pPr algn="ctr">
              <a:lnSpc>
                <a:spcPct val="70000"/>
              </a:lnSpc>
              <a:defRPr sz="4762" b="0" i="0">
                <a:solidFill>
                  <a:schemeClr val="bg1"/>
                </a:solidFill>
                <a:latin typeface="adineue TEXT Black" panose="020B0A03020201060004" pitchFamily="34" charset="0"/>
              </a:defRPr>
            </a:lvl1pPr>
          </a:lstStyle>
          <a:p>
            <a:pPr lvl="0"/>
            <a:r>
              <a:rPr lang="en-US"/>
              <a:t>Click to edit </a:t>
            </a:r>
            <a:br>
              <a:rPr lang="en-US"/>
            </a:br>
            <a:r>
              <a:rPr lang="en-US"/>
              <a:t>Master title style</a:t>
            </a:r>
          </a:p>
        </p:txBody>
      </p:sp>
      <p:sp>
        <p:nvSpPr>
          <p:cNvPr id="8" name="Text Placeholder 3"/>
          <p:cNvSpPr>
            <a:spLocks noGrp="1"/>
          </p:cNvSpPr>
          <p:nvPr>
            <p:ph type="body" sz="quarter" idx="18" hasCustomPrompt="1"/>
          </p:nvPr>
        </p:nvSpPr>
        <p:spPr>
          <a:xfrm>
            <a:off x="3047826" y="3428999"/>
            <a:ext cx="6094948" cy="2286701"/>
          </a:xfrm>
        </p:spPr>
        <p:txBody>
          <a:bodyPr anchor="t"/>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a:t>CLICK TO EDIT MASTER TEXT STYLES</a:t>
            </a:r>
          </a:p>
        </p:txBody>
      </p:sp>
      <p:sp>
        <p:nvSpPr>
          <p:cNvPr id="12" name="Slide Number Placeholder 11">
            <a:extLst>
              <a:ext uri="{FF2B5EF4-FFF2-40B4-BE49-F238E27FC236}">
                <a16:creationId xmlns:a16="http://schemas.microsoft.com/office/drawing/2014/main" id="{630DD758-E949-4736-9046-8D328F542D46}"/>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3" name="text" descr="{&quot;templafy&quot;:{&quot;id&quot;:&quot;662b03bd-dad3-4898-a137-3e15a6bce649&quot;}}" title="Form.Footer">
            <a:extLst>
              <a:ext uri="{FF2B5EF4-FFF2-40B4-BE49-F238E27FC236}">
                <a16:creationId xmlns:a16="http://schemas.microsoft.com/office/drawing/2014/main" id="{98F28BC1-7402-4E2B-8C26-12A0F5A60636}"/>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4" name="date" descr="{&quot;templafy&quot;:{&quot;id&quot;:&quot;7de99981-8a31-4c6c-839c-c5565000c6d4&quot;}}" title="Form.Date">
            <a:extLst>
              <a:ext uri="{FF2B5EF4-FFF2-40B4-BE49-F238E27FC236}">
                <a16:creationId xmlns:a16="http://schemas.microsoft.com/office/drawing/2014/main" id="{75D8D845-E941-4B95-981E-3DC95228DD13}"/>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2489723520"/>
      </p:ext>
    </p:extLst>
  </p:cSld>
  <p:clrMapOvr>
    <a:masterClrMapping/>
  </p:clrMapOvr>
  <p:transition spd="med">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mage + Message (5)">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a:solidFill>
                  <a:schemeClr val="tx1"/>
                </a:solidFill>
              </a:defRPr>
            </a:lvl1pPr>
          </a:lstStyle>
          <a:p>
            <a:r>
              <a:rPr lang="en-US"/>
              <a:t>Click icon to add picture</a:t>
            </a:r>
          </a:p>
        </p:txBody>
      </p:sp>
      <p:sp>
        <p:nvSpPr>
          <p:cNvPr id="2" name="Titel 1"/>
          <p:cNvSpPr>
            <a:spLocks noGrp="1"/>
          </p:cNvSpPr>
          <p:nvPr>
            <p:ph type="title"/>
          </p:nvPr>
        </p:nvSpPr>
        <p:spPr bwMode="gray">
          <a:xfrm>
            <a:off x="380149" y="382167"/>
            <a:ext cx="5334656" cy="760133"/>
          </a:xfrm>
        </p:spPr>
        <p:txBody>
          <a:bodyPr/>
          <a:lstStyle>
            <a:lvl1pPr>
              <a:defRPr b="0"/>
            </a:lvl1pPr>
          </a:lstStyle>
          <a:p>
            <a:r>
              <a:rPr lang="en-US"/>
              <a:t>Click to edit Master title style</a:t>
            </a:r>
          </a:p>
        </p:txBody>
      </p:sp>
      <p:sp>
        <p:nvSpPr>
          <p:cNvPr id="6" name="Picture Placeholder 5"/>
          <p:cNvSpPr>
            <a:spLocks noGrp="1"/>
          </p:cNvSpPr>
          <p:nvPr>
            <p:ph type="pic" sz="quarter" idx="27"/>
          </p:nvPr>
        </p:nvSpPr>
        <p:spPr>
          <a:xfrm>
            <a:off x="6857343" y="1142299"/>
            <a:ext cx="4190016" cy="4573400"/>
          </a:xfrm>
          <a:solidFill>
            <a:schemeClr val="bg2"/>
          </a:solidFill>
        </p:spPr>
        <p:txBody>
          <a:bodyPr anchor="ctr"/>
          <a:lstStyle>
            <a:lvl1pPr algn="ctr">
              <a:defRPr b="0">
                <a:solidFill>
                  <a:schemeClr val="bg1"/>
                </a:solidFill>
              </a:defRPr>
            </a:lvl1pPr>
          </a:lstStyle>
          <a:p>
            <a:r>
              <a:rPr lang="en-US"/>
              <a:t>Click icon to add picture</a:t>
            </a:r>
          </a:p>
        </p:txBody>
      </p:sp>
      <p:sp>
        <p:nvSpPr>
          <p:cNvPr id="8" name="Slide Number Placeholder 11">
            <a:extLst>
              <a:ext uri="{FF2B5EF4-FFF2-40B4-BE49-F238E27FC236}">
                <a16:creationId xmlns:a16="http://schemas.microsoft.com/office/drawing/2014/main" id="{26C08D07-F560-4CDB-B459-A87CAD267237}"/>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2" name="text" descr="{&quot;templafy&quot;:{&quot;id&quot;:&quot;57bf4a66-8754-4134-8966-ffc614041fa2&quot;}}" title="Form.Footer">
            <a:extLst>
              <a:ext uri="{FF2B5EF4-FFF2-40B4-BE49-F238E27FC236}">
                <a16:creationId xmlns:a16="http://schemas.microsoft.com/office/drawing/2014/main" id="{112CFA48-95AD-407B-B0B7-0BA7459C902D}"/>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3" name="date" descr="{&quot;templafy&quot;:{&quot;id&quot;:&quot;e241e3fa-550a-4d86-b1c1-6b8f9150efea&quot;}}" title="Form.Date">
            <a:extLst>
              <a:ext uri="{FF2B5EF4-FFF2-40B4-BE49-F238E27FC236}">
                <a16:creationId xmlns:a16="http://schemas.microsoft.com/office/drawing/2014/main" id="{AD109106-53E2-4B8C-A356-C4DD87BD1DFC}"/>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1391654307"/>
      </p:ext>
    </p:extLst>
  </p:cSld>
  <p:clrMapOvr>
    <a:masterClrMapping/>
  </p:clrMapOvr>
  <p:transition spd="med">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1" y="0"/>
            <a:ext cx="6096000" cy="6857474"/>
          </a:xfrm>
          <a:solidFill>
            <a:schemeClr val="bg2">
              <a:lumMod val="60000"/>
              <a:lumOff val="40000"/>
            </a:schemeClr>
          </a:solidFill>
        </p:spPr>
        <p:txBody>
          <a:bodyPr anchor="ctr"/>
          <a:lstStyle>
            <a:lvl1pPr algn="ctr">
              <a:defRPr b="0">
                <a:solidFill>
                  <a:schemeClr val="tx1"/>
                </a:solidFill>
              </a:defRPr>
            </a:lvl1pPr>
          </a:lstStyle>
          <a:p>
            <a:r>
              <a:rPr lang="en-US" noProof="0"/>
              <a:t>Click icon to add picture</a:t>
            </a:r>
            <a:endParaRPr lang="en-US"/>
          </a:p>
        </p:txBody>
      </p:sp>
      <p:sp>
        <p:nvSpPr>
          <p:cNvPr id="2" name="Titel 1"/>
          <p:cNvSpPr>
            <a:spLocks noGrp="1"/>
          </p:cNvSpPr>
          <p:nvPr>
            <p:ph type="title"/>
          </p:nvPr>
        </p:nvSpPr>
        <p:spPr bwMode="gray">
          <a:xfrm>
            <a:off x="380149" y="3809941"/>
            <a:ext cx="5334656" cy="1523066"/>
          </a:xfrm>
        </p:spPr>
        <p:txBody>
          <a:bodyPr/>
          <a:lstStyle>
            <a:lvl1pPr>
              <a:defRPr sz="4233" b="0" i="0">
                <a:solidFill>
                  <a:schemeClr val="bg1"/>
                </a:solidFill>
                <a:latin typeface="adineue TEXT Black" panose="020B0A03020201060004" pitchFamily="34" charset="0"/>
              </a:defRPr>
            </a:lvl1pPr>
          </a:lstStyle>
          <a:p>
            <a:r>
              <a:rPr lang="en-US" noProof="0"/>
              <a:t>Click to edit Master title style</a:t>
            </a:r>
            <a:endParaRPr lang="en-US"/>
          </a:p>
        </p:txBody>
      </p:sp>
      <p:sp>
        <p:nvSpPr>
          <p:cNvPr id="9" name="Picture Placeholder 5"/>
          <p:cNvSpPr>
            <a:spLocks noGrp="1"/>
          </p:cNvSpPr>
          <p:nvPr>
            <p:ph type="pic" sz="quarter" idx="28"/>
          </p:nvPr>
        </p:nvSpPr>
        <p:spPr>
          <a:xfrm>
            <a:off x="6096000" y="525"/>
            <a:ext cx="6096351" cy="6857476"/>
          </a:xfrm>
          <a:solidFill>
            <a:schemeClr val="bg2">
              <a:lumMod val="75000"/>
            </a:schemeClr>
          </a:solidFill>
        </p:spPr>
        <p:txBody>
          <a:bodyPr anchor="ctr"/>
          <a:lstStyle>
            <a:lvl1pPr algn="ctr">
              <a:defRPr b="0">
                <a:solidFill>
                  <a:schemeClr val="bg1"/>
                </a:solidFill>
              </a:defRPr>
            </a:lvl1pPr>
          </a:lstStyle>
          <a:p>
            <a:r>
              <a:rPr lang="en-US" noProof="0"/>
              <a:t>Click icon to add picture</a:t>
            </a:r>
            <a:endParaRPr lang="en-US"/>
          </a:p>
        </p:txBody>
      </p:sp>
      <p:sp>
        <p:nvSpPr>
          <p:cNvPr id="6" name="Picture Placeholder 5"/>
          <p:cNvSpPr>
            <a:spLocks noGrp="1"/>
          </p:cNvSpPr>
          <p:nvPr>
            <p:ph type="pic" sz="quarter" idx="27"/>
          </p:nvPr>
        </p:nvSpPr>
        <p:spPr>
          <a:xfrm>
            <a:off x="6857345" y="1143349"/>
            <a:ext cx="3429721" cy="3810118"/>
          </a:xfrm>
          <a:solidFill>
            <a:schemeClr val="bg2"/>
          </a:solidFill>
        </p:spPr>
        <p:txBody>
          <a:bodyPr anchor="ctr"/>
          <a:lstStyle>
            <a:lvl1pPr algn="ctr">
              <a:defRPr b="0">
                <a:solidFill>
                  <a:schemeClr val="bg1"/>
                </a:solidFill>
              </a:defRPr>
            </a:lvl1pPr>
          </a:lstStyle>
          <a:p>
            <a:r>
              <a:rPr lang="en-US" noProof="0"/>
              <a:t>Click icon to add picture</a:t>
            </a:r>
            <a:endParaRPr lang="en-US"/>
          </a:p>
        </p:txBody>
      </p:sp>
      <p:sp>
        <p:nvSpPr>
          <p:cNvPr id="13" name="Slide Number Placeholder 11">
            <a:extLst>
              <a:ext uri="{FF2B5EF4-FFF2-40B4-BE49-F238E27FC236}">
                <a16:creationId xmlns:a16="http://schemas.microsoft.com/office/drawing/2014/main" id="{A63DCD63-508E-4A2F-B61B-9F9277D60B96}"/>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4" name="text" descr="{&quot;templafy&quot;:{&quot;id&quot;:&quot;eb8139ef-f5c9-44b9-b2b1-ad6a51a13bea&quot;}}" title="Form.Footer">
            <a:extLst>
              <a:ext uri="{FF2B5EF4-FFF2-40B4-BE49-F238E27FC236}">
                <a16:creationId xmlns:a16="http://schemas.microsoft.com/office/drawing/2014/main" id="{BA9A9824-37D9-45A3-8C3C-5A1EF10803A7}"/>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5" name="date" descr="{&quot;templafy&quot;:{&quot;id&quot;:&quot;c384110b-b5cf-4724-87bc-e6228a9e200b&quot;}}" title="Form.Date">
            <a:extLst>
              <a:ext uri="{FF2B5EF4-FFF2-40B4-BE49-F238E27FC236}">
                <a16:creationId xmlns:a16="http://schemas.microsoft.com/office/drawing/2014/main" id="{0570E7B6-8383-463A-B36A-24EA4B04F51B}"/>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1994559807"/>
      </p:ext>
    </p:extLst>
  </p:cSld>
  <p:clrMapOvr>
    <a:masterClrMapping/>
  </p:clrMapOvr>
  <p:transition spd="med">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mages split">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i="0">
                <a:solidFill>
                  <a:schemeClr val="tx1"/>
                </a:solidFill>
              </a:defRPr>
            </a:lvl1pPr>
          </a:lstStyle>
          <a:p>
            <a:r>
              <a:rPr lang="en-US" noProof="0"/>
              <a:t>Click icon to add picture</a:t>
            </a:r>
            <a:endParaRPr lang="en-US"/>
          </a:p>
        </p:txBody>
      </p:sp>
      <p:sp>
        <p:nvSpPr>
          <p:cNvPr id="2" name="Titel 1"/>
          <p:cNvSpPr>
            <a:spLocks noGrp="1"/>
          </p:cNvSpPr>
          <p:nvPr>
            <p:ph type="title"/>
          </p:nvPr>
        </p:nvSpPr>
        <p:spPr bwMode="gray">
          <a:xfrm>
            <a:off x="760294" y="382167"/>
            <a:ext cx="10669312" cy="760133"/>
          </a:xfrm>
        </p:spPr>
        <p:txBody>
          <a:bodyPr/>
          <a:lstStyle>
            <a:lvl1pPr algn="ctr">
              <a:defRPr b="0" i="0">
                <a:solidFill>
                  <a:schemeClr val="bg1"/>
                </a:solidFill>
                <a:latin typeface="adineue TEXT Black" panose="020B0A03020201060004" pitchFamily="34" charset="0"/>
              </a:defRPr>
            </a:lvl1pPr>
          </a:lstStyle>
          <a:p>
            <a:r>
              <a:rPr lang="en-US" noProof="0"/>
              <a:t>Click to edit Master title style</a:t>
            </a:r>
            <a:endParaRPr lang="en-US"/>
          </a:p>
        </p:txBody>
      </p:sp>
      <p:sp>
        <p:nvSpPr>
          <p:cNvPr id="6" name="Picture Placeholder 5"/>
          <p:cNvSpPr>
            <a:spLocks noGrp="1"/>
          </p:cNvSpPr>
          <p:nvPr>
            <p:ph type="pic" sz="quarter" idx="27"/>
          </p:nvPr>
        </p:nvSpPr>
        <p:spPr>
          <a:xfrm>
            <a:off x="760293" y="1524040"/>
            <a:ext cx="5335707" cy="4191661"/>
          </a:xfrm>
          <a:solidFill>
            <a:schemeClr val="bg2"/>
          </a:solidFill>
        </p:spPr>
        <p:txBody>
          <a:bodyPr anchor="ctr"/>
          <a:lstStyle>
            <a:lvl1pPr algn="ctr">
              <a:defRPr b="0" i="0">
                <a:solidFill>
                  <a:schemeClr val="bg1"/>
                </a:solidFill>
              </a:defRPr>
            </a:lvl1pPr>
          </a:lstStyle>
          <a:p>
            <a:r>
              <a:rPr lang="en-US" noProof="0"/>
              <a:t>Click icon to add picture</a:t>
            </a:r>
            <a:endParaRPr lang="en-US"/>
          </a:p>
        </p:txBody>
      </p:sp>
      <p:sp>
        <p:nvSpPr>
          <p:cNvPr id="9" name="Picture Placeholder 5"/>
          <p:cNvSpPr>
            <a:spLocks noGrp="1"/>
          </p:cNvSpPr>
          <p:nvPr>
            <p:ph type="pic" sz="quarter" idx="28"/>
          </p:nvPr>
        </p:nvSpPr>
        <p:spPr>
          <a:xfrm>
            <a:off x="6095999" y="1524040"/>
            <a:ext cx="5335012" cy="4191661"/>
          </a:xfrm>
          <a:solidFill>
            <a:schemeClr val="bg2">
              <a:lumMod val="40000"/>
              <a:lumOff val="60000"/>
            </a:schemeClr>
          </a:solidFill>
        </p:spPr>
        <p:txBody>
          <a:bodyPr anchor="ctr"/>
          <a:lstStyle>
            <a:lvl1pPr algn="ctr">
              <a:defRPr b="0" i="0"/>
            </a:lvl1pPr>
          </a:lstStyle>
          <a:p>
            <a:r>
              <a:rPr lang="en-US" noProof="0"/>
              <a:t>Click icon to add picture</a:t>
            </a:r>
            <a:endParaRPr lang="en-US"/>
          </a:p>
        </p:txBody>
      </p:sp>
      <p:sp>
        <p:nvSpPr>
          <p:cNvPr id="13" name="Slide Number Placeholder 11">
            <a:extLst>
              <a:ext uri="{FF2B5EF4-FFF2-40B4-BE49-F238E27FC236}">
                <a16:creationId xmlns:a16="http://schemas.microsoft.com/office/drawing/2014/main" id="{189A051F-92CB-4157-A4BE-939C8283B873}"/>
              </a:ext>
            </a:extLst>
          </p:cNvPr>
          <p:cNvSpPr>
            <a:spLocks noGrp="1"/>
          </p:cNvSpPr>
          <p:nvPr>
            <p:ph type="sldNum" sz="quarter" idx="17"/>
          </p:nvPr>
        </p:nvSpPr>
        <p:spPr>
          <a:xfrm>
            <a:off x="11432127" y="6572372"/>
            <a:ext cx="762393" cy="285629"/>
          </a:xfrm>
          <a:prstGeom prst="rect">
            <a:avLst/>
          </a:prstGeom>
        </p:spPr>
        <p:txBody>
          <a:bodyPr lIns="0" tIns="0" rIns="0" bIns="0"/>
          <a:lstStyle>
            <a:lvl1pPr>
              <a:defRPr sz="661"/>
            </a:lvl1pPr>
          </a:lstStyle>
          <a:p>
            <a:pPr>
              <a:defRPr/>
            </a:pPr>
            <a:fld id="{66C8B3C2-955F-42B1-8DED-EE47D723596C}" type="slidenum">
              <a:rPr lang="en-US" smtClean="0"/>
              <a:pPr>
                <a:defRPr/>
              </a:pPr>
              <a:t>‹#›</a:t>
            </a:fld>
            <a:endParaRPr lang="en-US"/>
          </a:p>
        </p:txBody>
      </p:sp>
      <p:sp>
        <p:nvSpPr>
          <p:cNvPr id="14" name="text" descr="{&quot;templafy&quot;:{&quot;id&quot;:&quot;b32e45cd-b1c6-49a3-b41c-e2f3f8a0885b&quot;}}" title="Form.Footer">
            <a:extLst>
              <a:ext uri="{FF2B5EF4-FFF2-40B4-BE49-F238E27FC236}">
                <a16:creationId xmlns:a16="http://schemas.microsoft.com/office/drawing/2014/main" id="{2B711326-F91D-4572-A710-C971E5D17C54}"/>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5" name="date" descr="{&quot;templafy&quot;:{&quot;id&quot;:&quot;9a1f2186-5e21-42d9-8b78-242c26eed761&quot;}}" title="Form.Date">
            <a:extLst>
              <a:ext uri="{FF2B5EF4-FFF2-40B4-BE49-F238E27FC236}">
                <a16:creationId xmlns:a16="http://schemas.microsoft.com/office/drawing/2014/main" id="{AC26D751-BF78-49F8-BBFA-8474D2B9BE20}"/>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r>
              <a:rPr lang="en-US" sz="661" b="0" cap="all" baseline="0">
                <a:solidFill>
                  <a:schemeClr val="tx2"/>
                </a:solidFill>
                <a:cs typeface="AdihausDIN Cn" panose="020B0506020101010102" pitchFamily="34" charset="0"/>
              </a:rPr>
              <a:t>22-Feb-2020</a:t>
            </a:r>
          </a:p>
        </p:txBody>
      </p:sp>
    </p:spTree>
    <p:extLst>
      <p:ext uri="{BB962C8B-B14F-4D97-AF65-F5344CB8AC3E}">
        <p14:creationId xmlns:p14="http://schemas.microsoft.com/office/powerpoint/2010/main" val="1055239030"/>
      </p:ext>
    </p:extLst>
  </p:cSld>
  <p:clrMapOvr>
    <a:masterClrMapping/>
  </p:clrMapOvr>
  <p:transition spd="med">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X-GUIDES">
    <p:spTree>
      <p:nvGrpSpPr>
        <p:cNvPr id="1" name=""/>
        <p:cNvGrpSpPr/>
        <p:nvPr/>
      </p:nvGrpSpPr>
      <p:grpSpPr>
        <a:xfrm>
          <a:off x="0" y="0"/>
          <a:ext cx="0" cy="0"/>
          <a:chOff x="0" y="0"/>
          <a:chExt cx="0" cy="0"/>
        </a:xfrm>
      </p:grpSpPr>
      <p:grpSp>
        <p:nvGrpSpPr>
          <p:cNvPr id="2" name="Group 2"/>
          <p:cNvGrpSpPr>
            <a:grpSpLocks/>
          </p:cNvGrpSpPr>
          <p:nvPr userDrawn="1"/>
        </p:nvGrpSpPr>
        <p:grpSpPr bwMode="auto">
          <a:xfrm>
            <a:off x="95252" y="1212476"/>
            <a:ext cx="11999382" cy="4441512"/>
            <a:chOff x="9468829" y="902018"/>
            <a:chExt cx="1008112" cy="3306445"/>
          </a:xfrm>
        </p:grpSpPr>
        <p:cxnSp>
          <p:nvCxnSpPr>
            <p:cNvPr id="3" name="Straight Connector 42"/>
            <p:cNvCxnSpPr/>
            <p:nvPr/>
          </p:nvCxnSpPr>
          <p:spPr bwMode="gray">
            <a:xfrm>
              <a:off x="9468829" y="338145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4" name="Straight Connector 43"/>
            <p:cNvCxnSpPr/>
            <p:nvPr/>
          </p:nvCxnSpPr>
          <p:spPr bwMode="gray">
            <a:xfrm>
              <a:off x="9468829" y="255287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5" name="Straight Connector 44"/>
            <p:cNvCxnSpPr/>
            <p:nvPr/>
          </p:nvCxnSpPr>
          <p:spPr bwMode="gray">
            <a:xfrm>
              <a:off x="9468829" y="4208463"/>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6" name="Straight Connector 56"/>
            <p:cNvCxnSpPr/>
            <p:nvPr/>
          </p:nvCxnSpPr>
          <p:spPr bwMode="gray">
            <a:xfrm>
              <a:off x="9468829" y="1724297"/>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7" name="Straight Connector 57"/>
            <p:cNvCxnSpPr/>
            <p:nvPr/>
          </p:nvCxnSpPr>
          <p:spPr bwMode="gray">
            <a:xfrm>
              <a:off x="9468829" y="90201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grpSp>
      <p:grpSp>
        <p:nvGrpSpPr>
          <p:cNvPr id="8" name="Group 1"/>
          <p:cNvGrpSpPr>
            <a:grpSpLocks/>
          </p:cNvGrpSpPr>
          <p:nvPr userDrawn="1"/>
        </p:nvGrpSpPr>
        <p:grpSpPr bwMode="auto">
          <a:xfrm>
            <a:off x="0" y="1"/>
            <a:ext cx="12192000" cy="6858000"/>
            <a:chOff x="0" y="0"/>
            <a:chExt cx="9072564" cy="5105402"/>
          </a:xfrm>
        </p:grpSpPr>
        <p:cxnSp>
          <p:nvCxnSpPr>
            <p:cNvPr id="9" name="Straight Connector 64"/>
            <p:cNvCxnSpPr/>
            <p:nvPr userDrawn="1"/>
          </p:nvCxnSpPr>
          <p:spPr bwMode="gray">
            <a:xfrm>
              <a:off x="1512360"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0" name="Straight Connector 65"/>
            <p:cNvCxnSpPr/>
            <p:nvPr userDrawn="1"/>
          </p:nvCxnSpPr>
          <p:spPr bwMode="gray">
            <a:xfrm>
              <a:off x="302472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1" name="Straight Connector 66"/>
            <p:cNvCxnSpPr/>
            <p:nvPr userDrawn="1"/>
          </p:nvCxnSpPr>
          <p:spPr bwMode="gray">
            <a:xfrm>
              <a:off x="604784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2" name="Straight Connector 67"/>
            <p:cNvCxnSpPr/>
            <p:nvPr userDrawn="1"/>
          </p:nvCxnSpPr>
          <p:spPr bwMode="gray">
            <a:xfrm>
              <a:off x="7560204"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3" name="Straight Connector 71"/>
            <p:cNvCxnSpPr/>
            <p:nvPr userDrawn="1"/>
          </p:nvCxnSpPr>
          <p:spPr bwMode="gray">
            <a:xfrm>
              <a:off x="453708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4" name="Straight Connector 45"/>
            <p:cNvCxnSpPr/>
            <p:nvPr userDrawn="1"/>
          </p:nvCxnSpPr>
          <p:spPr bwMode="gray">
            <a:xfrm flipH="1">
              <a:off x="0"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5" name="Straight Connector 46"/>
            <p:cNvCxnSpPr/>
            <p:nvPr userDrawn="1"/>
          </p:nvCxnSpPr>
          <p:spPr bwMode="gray">
            <a:xfrm flipH="1">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6" name="Straight Connector 47"/>
            <p:cNvCxnSpPr/>
            <p:nvPr userDrawn="1"/>
          </p:nvCxnSpPr>
          <p:spPr bwMode="gray">
            <a:xfrm flipH="1">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7" name="Straight Connector 48"/>
            <p:cNvCxnSpPr/>
            <p:nvPr userDrawn="1"/>
          </p:nvCxnSpPr>
          <p:spPr bwMode="gray">
            <a:xfrm>
              <a:off x="0" y="0"/>
              <a:ext cx="45370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8" name="Straight Connector 49"/>
            <p:cNvCxnSpPr/>
            <p:nvPr userDrawn="1"/>
          </p:nvCxnSpPr>
          <p:spPr bwMode="gray">
            <a:xfrm>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9" name="Straight Connector 50"/>
            <p:cNvCxnSpPr/>
            <p:nvPr userDrawn="1"/>
          </p:nvCxnSpPr>
          <p:spPr bwMode="gray">
            <a:xfrm>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20" name="Straight Connector 52"/>
            <p:cNvCxnSpPr/>
            <p:nvPr userDrawn="1"/>
          </p:nvCxnSpPr>
          <p:spPr bwMode="gray">
            <a:xfrm flipV="1">
              <a:off x="0"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1" name="Straight Connector 53"/>
            <p:cNvCxnSpPr/>
            <p:nvPr userDrawn="1"/>
          </p:nvCxnSpPr>
          <p:spPr bwMode="gray">
            <a:xfrm>
              <a:off x="0" y="2553510"/>
              <a:ext cx="4537082" cy="255189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2" name="Straight Connector 54"/>
            <p:cNvCxnSpPr/>
            <p:nvPr userDrawn="1"/>
          </p:nvCxnSpPr>
          <p:spPr bwMode="gray">
            <a:xfrm flipH="1">
              <a:off x="4537082" y="2547038"/>
              <a:ext cx="4535482" cy="2558364"/>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3" name="Straight Connector 61"/>
            <p:cNvCxnSpPr/>
            <p:nvPr userDrawn="1"/>
          </p:nvCxnSpPr>
          <p:spPr bwMode="gray">
            <a:xfrm flipH="1" flipV="1">
              <a:off x="4537082"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grpSp>
      <p:sp>
        <p:nvSpPr>
          <p:cNvPr id="24" name="Oval 72"/>
          <p:cNvSpPr/>
          <p:nvPr userDrawn="1"/>
        </p:nvSpPr>
        <p:spPr bwMode="gray">
          <a:xfrm>
            <a:off x="5990167" y="3322142"/>
            <a:ext cx="211666"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5" name="Oval 73"/>
          <p:cNvSpPr/>
          <p:nvPr userDrawn="1"/>
        </p:nvSpPr>
        <p:spPr bwMode="gray">
          <a:xfrm>
            <a:off x="8987368" y="3322142"/>
            <a:ext cx="213784"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6" name="Oval 78"/>
          <p:cNvSpPr/>
          <p:nvPr userDrawn="1"/>
        </p:nvSpPr>
        <p:spPr bwMode="gray">
          <a:xfrm>
            <a:off x="9988551" y="4435165"/>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7" name="Oval 38"/>
          <p:cNvSpPr/>
          <p:nvPr userDrawn="1"/>
        </p:nvSpPr>
        <p:spPr bwMode="gray">
          <a:xfrm>
            <a:off x="8987368" y="4987445"/>
            <a:ext cx="213784" cy="213717"/>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8" name="Oval 63"/>
          <p:cNvSpPr/>
          <p:nvPr userDrawn="1"/>
        </p:nvSpPr>
        <p:spPr bwMode="gray">
          <a:xfrm>
            <a:off x="7975600" y="4435165"/>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29" name="Oval 80"/>
          <p:cNvSpPr/>
          <p:nvPr userDrawn="1"/>
        </p:nvSpPr>
        <p:spPr bwMode="gray">
          <a:xfrm>
            <a:off x="9988551" y="2209119"/>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30" name="Oval 82"/>
          <p:cNvSpPr/>
          <p:nvPr userDrawn="1"/>
        </p:nvSpPr>
        <p:spPr bwMode="gray">
          <a:xfrm>
            <a:off x="8987368" y="1650491"/>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
        <p:nvSpPr>
          <p:cNvPr id="31" name="Oval 83"/>
          <p:cNvSpPr/>
          <p:nvPr userDrawn="1"/>
        </p:nvSpPr>
        <p:spPr bwMode="gray">
          <a:xfrm>
            <a:off x="7981951" y="2209119"/>
            <a:ext cx="213783"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a:latin typeface="adineue PRO TT Black" panose="020B0A03020201060004" pitchFamily="34" charset="0"/>
              <a:cs typeface="AdihausDIN" panose="020B0504020101020102" pitchFamily="34" charset="0"/>
            </a:endParaRPr>
          </a:p>
        </p:txBody>
      </p:sp>
    </p:spTree>
    <p:extLst>
      <p:ext uri="{BB962C8B-B14F-4D97-AF65-F5344CB8AC3E}">
        <p14:creationId xmlns:p14="http://schemas.microsoft.com/office/powerpoint/2010/main" val="1114932406"/>
      </p:ext>
    </p:extLst>
  </p:cSld>
  <p:clrMapOvr>
    <a:masterClrMapping/>
  </p:clrMapOvr>
  <p:transition spd="med">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8EB7E47-58F9-4E01-8782-1ED32E0F0080}"/>
              </a:ext>
            </a:extLst>
          </p:cNvPr>
          <p:cNvSpPr/>
          <p:nvPr userDrawn="1"/>
        </p:nvSpPr>
        <p:spPr bwMode="gray">
          <a:xfrm>
            <a:off x="0" y="1"/>
            <a:ext cx="2032000" cy="6858000"/>
          </a:xfrm>
          <a:prstGeom prst="rect">
            <a:avLst/>
          </a:prstGeom>
          <a:solidFill>
            <a:schemeClr val="accent1"/>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7" name="Rectangle 6">
            <a:extLst>
              <a:ext uri="{FF2B5EF4-FFF2-40B4-BE49-F238E27FC236}">
                <a16:creationId xmlns:a16="http://schemas.microsoft.com/office/drawing/2014/main" id="{97061792-4EBB-449C-B551-E8C0281CA55D}"/>
              </a:ext>
            </a:extLst>
          </p:cNvPr>
          <p:cNvSpPr/>
          <p:nvPr userDrawn="1"/>
        </p:nvSpPr>
        <p:spPr bwMode="gray">
          <a:xfrm>
            <a:off x="2031999" y="1"/>
            <a:ext cx="2032000" cy="6858000"/>
          </a:xfrm>
          <a:prstGeom prst="rect">
            <a:avLst/>
          </a:prstGeom>
          <a:solidFill>
            <a:schemeClr val="accent2"/>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8" name="Rectangle 7">
            <a:extLst>
              <a:ext uri="{FF2B5EF4-FFF2-40B4-BE49-F238E27FC236}">
                <a16:creationId xmlns:a16="http://schemas.microsoft.com/office/drawing/2014/main" id="{32D66342-C4E5-4E6A-B602-C83DAAC0C118}"/>
              </a:ext>
            </a:extLst>
          </p:cNvPr>
          <p:cNvSpPr/>
          <p:nvPr userDrawn="1"/>
        </p:nvSpPr>
        <p:spPr bwMode="gray">
          <a:xfrm>
            <a:off x="4064000" y="1"/>
            <a:ext cx="2032000" cy="6858000"/>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9" name="Rectangle 8">
            <a:extLst>
              <a:ext uri="{FF2B5EF4-FFF2-40B4-BE49-F238E27FC236}">
                <a16:creationId xmlns:a16="http://schemas.microsoft.com/office/drawing/2014/main" id="{16F15D0B-0313-4703-8E3E-0A01F24ADF77}"/>
              </a:ext>
            </a:extLst>
          </p:cNvPr>
          <p:cNvSpPr/>
          <p:nvPr userDrawn="1"/>
        </p:nvSpPr>
        <p:spPr bwMode="gray">
          <a:xfrm>
            <a:off x="6096000" y="1"/>
            <a:ext cx="2032000" cy="6858000"/>
          </a:xfrm>
          <a:prstGeom prst="rect">
            <a:avLst/>
          </a:prstGeom>
          <a:solidFill>
            <a:schemeClr val="accent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10" name="Rectangle 9">
            <a:extLst>
              <a:ext uri="{FF2B5EF4-FFF2-40B4-BE49-F238E27FC236}">
                <a16:creationId xmlns:a16="http://schemas.microsoft.com/office/drawing/2014/main" id="{6EEA44E1-E041-4262-8E28-C4320552C8BF}"/>
              </a:ext>
            </a:extLst>
          </p:cNvPr>
          <p:cNvSpPr/>
          <p:nvPr userDrawn="1"/>
        </p:nvSpPr>
        <p:spPr bwMode="gray">
          <a:xfrm>
            <a:off x="8127999" y="1"/>
            <a:ext cx="2032000" cy="6858000"/>
          </a:xfrm>
          <a:prstGeom prst="rect">
            <a:avLst/>
          </a:prstGeom>
          <a:solidFill>
            <a:schemeClr val="accent5"/>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
        <p:nvSpPr>
          <p:cNvPr id="11" name="Rectangle 10">
            <a:extLst>
              <a:ext uri="{FF2B5EF4-FFF2-40B4-BE49-F238E27FC236}">
                <a16:creationId xmlns:a16="http://schemas.microsoft.com/office/drawing/2014/main" id="{5F255E2C-855C-4365-895D-7CC01F8F7921}"/>
              </a:ext>
            </a:extLst>
          </p:cNvPr>
          <p:cNvSpPr/>
          <p:nvPr userDrawn="1"/>
        </p:nvSpPr>
        <p:spPr bwMode="gray">
          <a:xfrm>
            <a:off x="10160000" y="1"/>
            <a:ext cx="2032000" cy="6858000"/>
          </a:xfrm>
          <a:prstGeom prst="rect">
            <a:avLst/>
          </a:prstGeom>
          <a:solidFill>
            <a:schemeClr val="accent6"/>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a:solidFill>
                <a:schemeClr val="bg1"/>
              </a:solidFill>
              <a:cs typeface="AdihausDIN Cn" panose="020B0506020101010102" pitchFamily="34" charset="0"/>
            </a:endParaRPr>
          </a:p>
        </p:txBody>
      </p:sp>
    </p:spTree>
    <p:extLst>
      <p:ext uri="{BB962C8B-B14F-4D97-AF65-F5344CB8AC3E}">
        <p14:creationId xmlns:p14="http://schemas.microsoft.com/office/powerpoint/2010/main" val="1946633468"/>
      </p:ext>
    </p:extLst>
  </p:cSld>
  <p:clrMapOvr>
    <a:masterClrMapping/>
  </p:clrMapOvr>
  <p:transition spd="med">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D37C4876-F1CB-49DA-8B69-1E8E832DDDE6}"/>
              </a:ext>
            </a:extLst>
          </p:cNvPr>
          <p:cNvSpPr>
            <a:spLocks noGrp="1"/>
          </p:cNvSpPr>
          <p:nvPr>
            <p:ph type="pic" sz="quarter" idx="14"/>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a:solidFill>
                  <a:schemeClr val="tx1"/>
                </a:solidFill>
              </a:defRPr>
            </a:lvl1pPr>
          </a:lstStyle>
          <a:p>
            <a:pPr lvl="0"/>
            <a:r>
              <a:rPr lang="en-US" noProof="0"/>
              <a:t>Click icon to add picture</a:t>
            </a:r>
          </a:p>
        </p:txBody>
      </p:sp>
      <p:sp>
        <p:nvSpPr>
          <p:cNvPr id="7" name="Title 1">
            <a:extLst>
              <a:ext uri="{FF2B5EF4-FFF2-40B4-BE49-F238E27FC236}">
                <a16:creationId xmlns:a16="http://schemas.microsoft.com/office/drawing/2014/main" id="{7279423D-05BE-4471-BD21-CF8A186ADE76}"/>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tx1"/>
                </a:solidFill>
                <a:latin typeface="+mj-lt"/>
              </a:defRPr>
            </a:lvl1pPr>
            <a:lvl2pPr>
              <a:lnSpc>
                <a:spcPct val="75000"/>
              </a:lnSpc>
              <a:defRPr sz="6349" b="1" spc="26" baseline="0">
                <a:solidFill>
                  <a:schemeClr val="tx1"/>
                </a:solidFill>
                <a:latin typeface="+mj-lt"/>
              </a:defRPr>
            </a:lvl2pPr>
            <a:lvl3pPr>
              <a:lnSpc>
                <a:spcPct val="75000"/>
              </a:lnSpc>
              <a:defRPr sz="6349" b="1" spc="26" baseline="0">
                <a:solidFill>
                  <a:schemeClr val="tx1"/>
                </a:solidFill>
                <a:latin typeface="+mj-lt"/>
              </a:defRPr>
            </a:lvl3pPr>
            <a:lvl4pPr>
              <a:lnSpc>
                <a:spcPct val="75000"/>
              </a:lnSpc>
              <a:defRPr sz="6349" b="1" spc="26" baseline="0">
                <a:solidFill>
                  <a:schemeClr val="tx1"/>
                </a:solidFill>
                <a:latin typeface="+mj-lt"/>
              </a:defRPr>
            </a:lvl4pPr>
            <a:lvl5pPr>
              <a:lnSpc>
                <a:spcPct val="75000"/>
              </a:lnSpc>
              <a:defRPr sz="6349" b="1" spc="26" baseline="0">
                <a:solidFill>
                  <a:schemeClr val="tx1"/>
                </a:solidFill>
                <a:latin typeface="+mj-lt"/>
              </a:defRPr>
            </a:lvl5pPr>
            <a:lvl6pPr>
              <a:lnSpc>
                <a:spcPct val="75000"/>
              </a:lnSpc>
              <a:defRPr sz="6349" b="1" spc="26" baseline="0">
                <a:solidFill>
                  <a:schemeClr val="tx1"/>
                </a:solidFill>
                <a:latin typeface="+mj-lt"/>
              </a:defRPr>
            </a:lvl6pPr>
            <a:lvl7pPr>
              <a:lnSpc>
                <a:spcPct val="75000"/>
              </a:lnSpc>
              <a:defRPr sz="6349" b="1" spc="26" baseline="0">
                <a:solidFill>
                  <a:schemeClr val="tx1"/>
                </a:solidFill>
                <a:latin typeface="+mj-lt"/>
              </a:defRPr>
            </a:lvl7pPr>
            <a:lvl8pPr>
              <a:lnSpc>
                <a:spcPct val="75000"/>
              </a:lnSpc>
              <a:defRPr sz="6349" b="1" spc="26" baseline="0">
                <a:solidFill>
                  <a:schemeClr val="tx1"/>
                </a:solidFill>
                <a:latin typeface="+mj-lt"/>
              </a:defRPr>
            </a:lvl8pPr>
            <a:lvl9pPr algn="l">
              <a:lnSpc>
                <a:spcPct val="75000"/>
              </a:lnSpc>
              <a:defRPr sz="6349" b="1" spc="26" baseline="0">
                <a:solidFill>
                  <a:schemeClr val="tx1"/>
                </a:solidFill>
                <a:latin typeface="+mj-lt"/>
              </a:defRPr>
            </a:lvl9pPr>
          </a:lstStyle>
          <a:p>
            <a:pPr lvl="0"/>
            <a:r>
              <a:rPr lang="en-US" noProof="0"/>
              <a:t>Title of your presentation</a:t>
            </a:r>
          </a:p>
        </p:txBody>
      </p:sp>
      <p:sp>
        <p:nvSpPr>
          <p:cNvPr id="9" name="Subtitle 2">
            <a:extLst>
              <a:ext uri="{FF2B5EF4-FFF2-40B4-BE49-F238E27FC236}">
                <a16:creationId xmlns:a16="http://schemas.microsoft.com/office/drawing/2014/main" id="{CE607C86-A073-4B8A-9703-E7131EEB5579}"/>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tx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6pPr>
            <a:lvl7pPr marL="0" indent="0" algn="l">
              <a:lnSpc>
                <a:spcPct val="75000"/>
              </a:lnSpc>
              <a:spcBef>
                <a:spcPts val="0"/>
              </a:spcBef>
              <a:spcAft>
                <a:spcPts val="0"/>
              </a:spcAft>
              <a:buNone/>
              <a:defRPr sz="1852" b="0" cap="all" spc="26" baseline="0">
                <a:solidFill>
                  <a:schemeClr val="tx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8pPr>
            <a:lvl9pPr marL="0" indent="0" algn="l">
              <a:lnSpc>
                <a:spcPct val="75000"/>
              </a:lnSpc>
              <a:spcBef>
                <a:spcPts val="0"/>
              </a:spcBef>
              <a:spcAft>
                <a:spcPts val="0"/>
              </a:spcAft>
              <a:buNone/>
              <a:defRPr sz="1852" b="0" cap="all" spc="26" baseline="0">
                <a:solidFill>
                  <a:schemeClr val="tx1"/>
                </a:solidFill>
                <a:latin typeface="+mj-lt"/>
              </a:defRPr>
            </a:lvl9pPr>
          </a:lstStyle>
          <a:p>
            <a:pPr lvl="0"/>
            <a:r>
              <a:rPr lang="en-US" noProof="0"/>
              <a:t>Click to edit Master subtitle style</a:t>
            </a:r>
          </a:p>
        </p:txBody>
      </p:sp>
      <p:sp>
        <p:nvSpPr>
          <p:cNvPr id="78" name="Text Placeholder 77">
            <a:extLst>
              <a:ext uri="{FF2B5EF4-FFF2-40B4-BE49-F238E27FC236}">
                <a16:creationId xmlns:a16="http://schemas.microsoft.com/office/drawing/2014/main" id="{1100DE97-1C17-4DE5-AF51-6F3963ECEC24}"/>
              </a:ext>
            </a:extLst>
          </p:cNvPr>
          <p:cNvSpPr>
            <a:spLocks noGrp="1"/>
          </p:cNvSpPr>
          <p:nvPr>
            <p:ph type="body" sz="quarter" idx="15" hasCustomPrompt="1"/>
          </p:nvPr>
        </p:nvSpPr>
        <p:spPr bwMode="gray">
          <a:xfrm>
            <a:off x="8953676" y="4936795"/>
            <a:ext cx="1714603" cy="398825"/>
          </a:xfrm>
          <a:custGeom>
            <a:avLst/>
            <a:gdLst>
              <a:gd name="connsiteX0" fmla="*/ 962020 w 1295999"/>
              <a:gd name="connsiteY0" fmla="*/ 123589 h 301519"/>
              <a:gd name="connsiteX1" fmla="*/ 899264 w 1295999"/>
              <a:gd name="connsiteY1" fmla="*/ 187067 h 301519"/>
              <a:gd name="connsiteX2" fmla="*/ 962020 w 1295999"/>
              <a:gd name="connsiteY2" fmla="*/ 250545 h 301519"/>
              <a:gd name="connsiteX3" fmla="*/ 1024776 w 1295999"/>
              <a:gd name="connsiteY3" fmla="*/ 187067 h 301519"/>
              <a:gd name="connsiteX4" fmla="*/ 962020 w 1295999"/>
              <a:gd name="connsiteY4" fmla="*/ 123589 h 301519"/>
              <a:gd name="connsiteX5" fmla="*/ 706668 w 1295999"/>
              <a:gd name="connsiteY5" fmla="*/ 123589 h 301519"/>
              <a:gd name="connsiteX6" fmla="*/ 644392 w 1295999"/>
              <a:gd name="connsiteY6" fmla="*/ 187067 h 301519"/>
              <a:gd name="connsiteX7" fmla="*/ 706668 w 1295999"/>
              <a:gd name="connsiteY7" fmla="*/ 250545 h 301519"/>
              <a:gd name="connsiteX8" fmla="*/ 768944 w 1295999"/>
              <a:gd name="connsiteY8" fmla="*/ 187067 h 301519"/>
              <a:gd name="connsiteX9" fmla="*/ 706668 w 1295999"/>
              <a:gd name="connsiteY9" fmla="*/ 123589 h 301519"/>
              <a:gd name="connsiteX10" fmla="*/ 370526 w 1295999"/>
              <a:gd name="connsiteY10" fmla="*/ 123589 h 301519"/>
              <a:gd name="connsiteX11" fmla="*/ 308250 w 1295999"/>
              <a:gd name="connsiteY11" fmla="*/ 187067 h 301519"/>
              <a:gd name="connsiteX12" fmla="*/ 370526 w 1295999"/>
              <a:gd name="connsiteY12" fmla="*/ 250545 h 301519"/>
              <a:gd name="connsiteX13" fmla="*/ 432802 w 1295999"/>
              <a:gd name="connsiteY13" fmla="*/ 187067 h 301519"/>
              <a:gd name="connsiteX14" fmla="*/ 370526 w 1295999"/>
              <a:gd name="connsiteY14" fmla="*/ 123589 h 301519"/>
              <a:gd name="connsiteX15" fmla="*/ 115172 w 1295999"/>
              <a:gd name="connsiteY15" fmla="*/ 123589 h 301519"/>
              <a:gd name="connsiteX16" fmla="*/ 52416 w 1295999"/>
              <a:gd name="connsiteY16" fmla="*/ 187067 h 301519"/>
              <a:gd name="connsiteX17" fmla="*/ 115172 w 1295999"/>
              <a:gd name="connsiteY17" fmla="*/ 250545 h 301519"/>
              <a:gd name="connsiteX18" fmla="*/ 177928 w 1295999"/>
              <a:gd name="connsiteY18" fmla="*/ 187067 h 301519"/>
              <a:gd name="connsiteX19" fmla="*/ 115172 w 1295999"/>
              <a:gd name="connsiteY19" fmla="*/ 123589 h 301519"/>
              <a:gd name="connsiteX20" fmla="*/ 514071 w 1295999"/>
              <a:gd name="connsiteY20" fmla="*/ 75019 h 301519"/>
              <a:gd name="connsiteX21" fmla="*/ 568893 w 1295999"/>
              <a:gd name="connsiteY21" fmla="*/ 75019 h 301519"/>
              <a:gd name="connsiteX22" fmla="*/ 568893 w 1295999"/>
              <a:gd name="connsiteY22" fmla="*/ 296710 h 301519"/>
              <a:gd name="connsiteX23" fmla="*/ 514071 w 1295999"/>
              <a:gd name="connsiteY23" fmla="*/ 296710 h 301519"/>
              <a:gd name="connsiteX24" fmla="*/ 1194227 w 1295999"/>
              <a:gd name="connsiteY24" fmla="*/ 72615 h 301519"/>
              <a:gd name="connsiteX25" fmla="*/ 1287995 w 1295999"/>
              <a:gd name="connsiteY25" fmla="*/ 145448 h 301519"/>
              <a:gd name="connsiteX26" fmla="*/ 1231963 w 1295999"/>
              <a:gd name="connsiteY26" fmla="*/ 145448 h 301519"/>
              <a:gd name="connsiteX27" fmla="*/ 1193083 w 1295999"/>
              <a:gd name="connsiteY27" fmla="*/ 114234 h 301519"/>
              <a:gd name="connsiteX28" fmla="*/ 1158778 w 1295999"/>
              <a:gd name="connsiteY28" fmla="*/ 136200 h 301519"/>
              <a:gd name="connsiteX29" fmla="*/ 1196514 w 1295999"/>
              <a:gd name="connsiteY29" fmla="*/ 158165 h 301519"/>
              <a:gd name="connsiteX30" fmla="*/ 1231963 w 1295999"/>
              <a:gd name="connsiteY30" fmla="*/ 165102 h 301519"/>
              <a:gd name="connsiteX31" fmla="*/ 1295999 w 1295999"/>
              <a:gd name="connsiteY31" fmla="*/ 228686 h 301519"/>
              <a:gd name="connsiteX32" fmla="*/ 1201088 w 1295999"/>
              <a:gd name="connsiteY32" fmla="*/ 301519 h 301519"/>
              <a:gd name="connsiteX33" fmla="*/ 1099315 w 1295999"/>
              <a:gd name="connsiteY33" fmla="*/ 225218 h 301519"/>
              <a:gd name="connsiteX34" fmla="*/ 1154204 w 1295999"/>
              <a:gd name="connsiteY34" fmla="*/ 225218 h 301519"/>
              <a:gd name="connsiteX35" fmla="*/ 1202231 w 1295999"/>
              <a:gd name="connsiteY35" fmla="*/ 259900 h 301519"/>
              <a:gd name="connsiteX36" fmla="*/ 1237680 w 1295999"/>
              <a:gd name="connsiteY36" fmla="*/ 237935 h 301519"/>
              <a:gd name="connsiteX37" fmla="*/ 1207949 w 1295999"/>
              <a:gd name="connsiteY37" fmla="*/ 215969 h 301519"/>
              <a:gd name="connsiteX38" fmla="*/ 1179361 w 1295999"/>
              <a:gd name="connsiteY38" fmla="*/ 210189 h 301519"/>
              <a:gd name="connsiteX39" fmla="*/ 1103889 w 1295999"/>
              <a:gd name="connsiteY39" fmla="*/ 145448 h 301519"/>
              <a:gd name="connsiteX40" fmla="*/ 1194227 w 1295999"/>
              <a:gd name="connsiteY40" fmla="*/ 72615 h 301519"/>
              <a:gd name="connsiteX41" fmla="*/ 959735 w 1295999"/>
              <a:gd name="connsiteY41" fmla="*/ 72615 h 301519"/>
              <a:gd name="connsiteX42" fmla="*/ 1023759 w 1295999"/>
              <a:gd name="connsiteY42" fmla="*/ 93425 h 301519"/>
              <a:gd name="connsiteX43" fmla="*/ 1023759 w 1295999"/>
              <a:gd name="connsiteY43" fmla="*/ 74927 h 301519"/>
              <a:gd name="connsiteX44" fmla="*/ 1078637 w 1295999"/>
              <a:gd name="connsiteY44" fmla="*/ 74927 h 301519"/>
              <a:gd name="connsiteX45" fmla="*/ 1078637 w 1295999"/>
              <a:gd name="connsiteY45" fmla="*/ 296895 h 301519"/>
              <a:gd name="connsiteX46" fmla="*/ 1023759 w 1295999"/>
              <a:gd name="connsiteY46" fmla="*/ 296895 h 301519"/>
              <a:gd name="connsiteX47" fmla="*/ 1023759 w 1295999"/>
              <a:gd name="connsiteY47" fmla="*/ 281866 h 301519"/>
              <a:gd name="connsiteX48" fmla="*/ 959735 w 1295999"/>
              <a:gd name="connsiteY48" fmla="*/ 301519 h 301519"/>
              <a:gd name="connsiteX49" fmla="*/ 845405 w 1295999"/>
              <a:gd name="connsiteY49" fmla="*/ 187067 h 301519"/>
              <a:gd name="connsiteX50" fmla="*/ 959735 w 1295999"/>
              <a:gd name="connsiteY50" fmla="*/ 72615 h 301519"/>
              <a:gd name="connsiteX51" fmla="*/ 113040 w 1295999"/>
              <a:gd name="connsiteY51" fmla="*/ 72615 h 301519"/>
              <a:gd name="connsiteX52" fmla="*/ 178124 w 1295999"/>
              <a:gd name="connsiteY52" fmla="*/ 93425 h 301519"/>
              <a:gd name="connsiteX53" fmla="*/ 178124 w 1295999"/>
              <a:gd name="connsiteY53" fmla="*/ 74927 h 301519"/>
              <a:gd name="connsiteX54" fmla="*/ 231789 w 1295999"/>
              <a:gd name="connsiteY54" fmla="*/ 74927 h 301519"/>
              <a:gd name="connsiteX55" fmla="*/ 231789 w 1295999"/>
              <a:gd name="connsiteY55" fmla="*/ 296895 h 301519"/>
              <a:gd name="connsiteX56" fmla="*/ 178124 w 1295999"/>
              <a:gd name="connsiteY56" fmla="*/ 296895 h 301519"/>
              <a:gd name="connsiteX57" fmla="*/ 178124 w 1295999"/>
              <a:gd name="connsiteY57" fmla="*/ 281866 h 301519"/>
              <a:gd name="connsiteX58" fmla="*/ 113040 w 1295999"/>
              <a:gd name="connsiteY58" fmla="*/ 301519 h 301519"/>
              <a:gd name="connsiteX59" fmla="*/ 0 w 1295999"/>
              <a:gd name="connsiteY59" fmla="*/ 187067 h 301519"/>
              <a:gd name="connsiteX60" fmla="*/ 113040 w 1295999"/>
              <a:gd name="connsiteY60" fmla="*/ 72615 h 301519"/>
              <a:gd name="connsiteX61" fmla="*/ 768887 w 1295999"/>
              <a:gd name="connsiteY61" fmla="*/ 0 h 301519"/>
              <a:gd name="connsiteX62" fmla="*/ 823765 w 1295999"/>
              <a:gd name="connsiteY62" fmla="*/ 0 h 301519"/>
              <a:gd name="connsiteX63" fmla="*/ 823765 w 1295999"/>
              <a:gd name="connsiteY63" fmla="*/ 296898 h 301519"/>
              <a:gd name="connsiteX64" fmla="*/ 768887 w 1295999"/>
              <a:gd name="connsiteY64" fmla="*/ 296898 h 301519"/>
              <a:gd name="connsiteX65" fmla="*/ 768887 w 1295999"/>
              <a:gd name="connsiteY65" fmla="*/ 281880 h 301519"/>
              <a:gd name="connsiteX66" fmla="*/ 703719 w 1295999"/>
              <a:gd name="connsiteY66" fmla="*/ 301519 h 301519"/>
              <a:gd name="connsiteX67" fmla="*/ 590533 w 1295999"/>
              <a:gd name="connsiteY67" fmla="*/ 187150 h 301519"/>
              <a:gd name="connsiteX68" fmla="*/ 703719 w 1295999"/>
              <a:gd name="connsiteY68" fmla="*/ 72781 h 301519"/>
              <a:gd name="connsiteX69" fmla="*/ 768887 w 1295999"/>
              <a:gd name="connsiteY69" fmla="*/ 93575 h 301519"/>
              <a:gd name="connsiteX70" fmla="*/ 768887 w 1295999"/>
              <a:gd name="connsiteY70" fmla="*/ 0 h 301519"/>
              <a:gd name="connsiteX71" fmla="*/ 514071 w 1295999"/>
              <a:gd name="connsiteY71" fmla="*/ 0 h 301519"/>
              <a:gd name="connsiteX72" fmla="*/ 568893 w 1295999"/>
              <a:gd name="connsiteY72" fmla="*/ 0 h 301519"/>
              <a:gd name="connsiteX73" fmla="*/ 568893 w 1295999"/>
              <a:gd name="connsiteY73" fmla="*/ 55303 h 301519"/>
              <a:gd name="connsiteX74" fmla="*/ 514071 w 1295999"/>
              <a:gd name="connsiteY74" fmla="*/ 55303 h 301519"/>
              <a:gd name="connsiteX75" fmla="*/ 432857 w 1295999"/>
              <a:gd name="connsiteY75" fmla="*/ 0 h 301519"/>
              <a:gd name="connsiteX76" fmla="*/ 487622 w 1295999"/>
              <a:gd name="connsiteY76" fmla="*/ 0 h 301519"/>
              <a:gd name="connsiteX77" fmla="*/ 487622 w 1295999"/>
              <a:gd name="connsiteY77" fmla="*/ 296898 h 301519"/>
              <a:gd name="connsiteX78" fmla="*/ 432857 w 1295999"/>
              <a:gd name="connsiteY78" fmla="*/ 296898 h 301519"/>
              <a:gd name="connsiteX79" fmla="*/ 432857 w 1295999"/>
              <a:gd name="connsiteY79" fmla="*/ 281880 h 301519"/>
              <a:gd name="connsiteX80" fmla="*/ 367824 w 1295999"/>
              <a:gd name="connsiteY80" fmla="*/ 301519 h 301519"/>
              <a:gd name="connsiteX81" fmla="*/ 254871 w 1295999"/>
              <a:gd name="connsiteY81" fmla="*/ 187150 h 301519"/>
              <a:gd name="connsiteX82" fmla="*/ 367824 w 1295999"/>
              <a:gd name="connsiteY82" fmla="*/ 72781 h 301519"/>
              <a:gd name="connsiteX83" fmla="*/ 432857 w 1295999"/>
              <a:gd name="connsiteY83" fmla="*/ 93575 h 301519"/>
              <a:gd name="connsiteX84" fmla="*/ 432857 w 1295999"/>
              <a:gd name="connsiteY84" fmla="*/ 0 h 30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95999" h="301519">
                <a:moveTo>
                  <a:pt x="962020" y="123589"/>
                </a:moveTo>
                <a:cubicBezTo>
                  <a:pt x="927361" y="123589"/>
                  <a:pt x="899264" y="152009"/>
                  <a:pt x="899264" y="187067"/>
                </a:cubicBezTo>
                <a:cubicBezTo>
                  <a:pt x="899264" y="222125"/>
                  <a:pt x="927361" y="250545"/>
                  <a:pt x="962020" y="250545"/>
                </a:cubicBezTo>
                <a:cubicBezTo>
                  <a:pt x="996679" y="250545"/>
                  <a:pt x="1024776" y="222125"/>
                  <a:pt x="1024776" y="187067"/>
                </a:cubicBezTo>
                <a:cubicBezTo>
                  <a:pt x="1024776" y="152009"/>
                  <a:pt x="996679" y="123589"/>
                  <a:pt x="962020" y="123589"/>
                </a:cubicBezTo>
                <a:close/>
                <a:moveTo>
                  <a:pt x="706668" y="123589"/>
                </a:moveTo>
                <a:cubicBezTo>
                  <a:pt x="672274" y="123589"/>
                  <a:pt x="644392" y="152009"/>
                  <a:pt x="644392" y="187067"/>
                </a:cubicBezTo>
                <a:cubicBezTo>
                  <a:pt x="644392" y="222125"/>
                  <a:pt x="672274" y="250545"/>
                  <a:pt x="706668" y="250545"/>
                </a:cubicBezTo>
                <a:cubicBezTo>
                  <a:pt x="741062" y="250545"/>
                  <a:pt x="768944" y="222125"/>
                  <a:pt x="768944" y="187067"/>
                </a:cubicBezTo>
                <a:cubicBezTo>
                  <a:pt x="768944" y="152009"/>
                  <a:pt x="741062" y="123589"/>
                  <a:pt x="706668" y="123589"/>
                </a:cubicBezTo>
                <a:close/>
                <a:moveTo>
                  <a:pt x="370526" y="123589"/>
                </a:moveTo>
                <a:cubicBezTo>
                  <a:pt x="336132" y="123589"/>
                  <a:pt x="308250" y="152009"/>
                  <a:pt x="308250" y="187067"/>
                </a:cubicBezTo>
                <a:cubicBezTo>
                  <a:pt x="308250" y="222125"/>
                  <a:pt x="336132" y="250545"/>
                  <a:pt x="370526" y="250545"/>
                </a:cubicBezTo>
                <a:cubicBezTo>
                  <a:pt x="404920" y="250545"/>
                  <a:pt x="432802" y="222125"/>
                  <a:pt x="432802" y="187067"/>
                </a:cubicBezTo>
                <a:cubicBezTo>
                  <a:pt x="432802" y="152009"/>
                  <a:pt x="404920" y="123589"/>
                  <a:pt x="370526" y="123589"/>
                </a:cubicBezTo>
                <a:close/>
                <a:moveTo>
                  <a:pt x="115172" y="123589"/>
                </a:moveTo>
                <a:cubicBezTo>
                  <a:pt x="80513" y="123589"/>
                  <a:pt x="52416" y="152009"/>
                  <a:pt x="52416" y="187067"/>
                </a:cubicBezTo>
                <a:cubicBezTo>
                  <a:pt x="52416" y="222125"/>
                  <a:pt x="80513" y="250545"/>
                  <a:pt x="115172" y="250545"/>
                </a:cubicBezTo>
                <a:cubicBezTo>
                  <a:pt x="149831" y="250545"/>
                  <a:pt x="177928" y="222125"/>
                  <a:pt x="177928" y="187067"/>
                </a:cubicBezTo>
                <a:cubicBezTo>
                  <a:pt x="177928" y="152009"/>
                  <a:pt x="149831" y="123589"/>
                  <a:pt x="115172" y="123589"/>
                </a:cubicBezTo>
                <a:close/>
                <a:moveTo>
                  <a:pt x="514071" y="75019"/>
                </a:moveTo>
                <a:lnTo>
                  <a:pt x="568893" y="75019"/>
                </a:lnTo>
                <a:lnTo>
                  <a:pt x="568893" y="296710"/>
                </a:lnTo>
                <a:lnTo>
                  <a:pt x="514071" y="296710"/>
                </a:lnTo>
                <a:close/>
                <a:moveTo>
                  <a:pt x="1194227" y="72615"/>
                </a:moveTo>
                <a:cubicBezTo>
                  <a:pt x="1250259" y="72615"/>
                  <a:pt x="1284564" y="101517"/>
                  <a:pt x="1287995" y="145448"/>
                </a:cubicBezTo>
                <a:cubicBezTo>
                  <a:pt x="1287995" y="145448"/>
                  <a:pt x="1287995" y="145448"/>
                  <a:pt x="1231963" y="145448"/>
                </a:cubicBezTo>
                <a:cubicBezTo>
                  <a:pt x="1231963" y="128107"/>
                  <a:pt x="1220527" y="114234"/>
                  <a:pt x="1193083" y="114234"/>
                </a:cubicBezTo>
                <a:cubicBezTo>
                  <a:pt x="1173644" y="114234"/>
                  <a:pt x="1158778" y="121171"/>
                  <a:pt x="1158778" y="136200"/>
                </a:cubicBezTo>
                <a:cubicBezTo>
                  <a:pt x="1158778" y="148916"/>
                  <a:pt x="1174787" y="153541"/>
                  <a:pt x="1196514" y="158165"/>
                </a:cubicBezTo>
                <a:cubicBezTo>
                  <a:pt x="1196514" y="158165"/>
                  <a:pt x="1196514" y="158165"/>
                  <a:pt x="1231963" y="165102"/>
                </a:cubicBezTo>
                <a:cubicBezTo>
                  <a:pt x="1276560" y="173194"/>
                  <a:pt x="1295999" y="194004"/>
                  <a:pt x="1295999" y="228686"/>
                </a:cubicBezTo>
                <a:cubicBezTo>
                  <a:pt x="1295999" y="278398"/>
                  <a:pt x="1253689" y="301519"/>
                  <a:pt x="1201088" y="301519"/>
                </a:cubicBezTo>
                <a:cubicBezTo>
                  <a:pt x="1138195" y="301519"/>
                  <a:pt x="1100459" y="270305"/>
                  <a:pt x="1099315" y="225218"/>
                </a:cubicBezTo>
                <a:cubicBezTo>
                  <a:pt x="1099315" y="225218"/>
                  <a:pt x="1099315" y="225218"/>
                  <a:pt x="1154204" y="225218"/>
                </a:cubicBezTo>
                <a:cubicBezTo>
                  <a:pt x="1155347" y="241403"/>
                  <a:pt x="1166782" y="259900"/>
                  <a:pt x="1202231" y="259900"/>
                </a:cubicBezTo>
                <a:cubicBezTo>
                  <a:pt x="1227389" y="259900"/>
                  <a:pt x="1237680" y="248339"/>
                  <a:pt x="1237680" y="237935"/>
                </a:cubicBezTo>
                <a:cubicBezTo>
                  <a:pt x="1237680" y="226374"/>
                  <a:pt x="1228532" y="219437"/>
                  <a:pt x="1207949" y="215969"/>
                </a:cubicBezTo>
                <a:cubicBezTo>
                  <a:pt x="1207949" y="215969"/>
                  <a:pt x="1207949" y="215969"/>
                  <a:pt x="1179361" y="210189"/>
                </a:cubicBezTo>
                <a:cubicBezTo>
                  <a:pt x="1143912" y="204408"/>
                  <a:pt x="1103889" y="196316"/>
                  <a:pt x="1103889" y="145448"/>
                </a:cubicBezTo>
                <a:cubicBezTo>
                  <a:pt x="1103889" y="103829"/>
                  <a:pt x="1137051" y="72615"/>
                  <a:pt x="1194227" y="72615"/>
                </a:cubicBezTo>
                <a:close/>
                <a:moveTo>
                  <a:pt x="959735" y="72615"/>
                </a:moveTo>
                <a:cubicBezTo>
                  <a:pt x="983744" y="72615"/>
                  <a:pt x="1005466" y="79552"/>
                  <a:pt x="1023759" y="93425"/>
                </a:cubicBezTo>
                <a:cubicBezTo>
                  <a:pt x="1023759" y="93425"/>
                  <a:pt x="1023759" y="93425"/>
                  <a:pt x="1023759" y="74927"/>
                </a:cubicBezTo>
                <a:cubicBezTo>
                  <a:pt x="1023759" y="74927"/>
                  <a:pt x="1023759" y="74927"/>
                  <a:pt x="1078637" y="74927"/>
                </a:cubicBezTo>
                <a:cubicBezTo>
                  <a:pt x="1078637" y="74927"/>
                  <a:pt x="1078637" y="74927"/>
                  <a:pt x="1078637" y="296895"/>
                </a:cubicBezTo>
                <a:cubicBezTo>
                  <a:pt x="1078637" y="296895"/>
                  <a:pt x="1078637" y="296895"/>
                  <a:pt x="1023759" y="296895"/>
                </a:cubicBezTo>
                <a:cubicBezTo>
                  <a:pt x="1023759" y="296895"/>
                  <a:pt x="1023759" y="296895"/>
                  <a:pt x="1023759" y="281866"/>
                </a:cubicBezTo>
                <a:cubicBezTo>
                  <a:pt x="1005466" y="294583"/>
                  <a:pt x="983744" y="301519"/>
                  <a:pt x="959735" y="301519"/>
                </a:cubicBezTo>
                <a:cubicBezTo>
                  <a:pt x="896853" y="301519"/>
                  <a:pt x="845405" y="250652"/>
                  <a:pt x="845405" y="187067"/>
                </a:cubicBezTo>
                <a:cubicBezTo>
                  <a:pt x="845405" y="123483"/>
                  <a:pt x="896853" y="72615"/>
                  <a:pt x="959735" y="72615"/>
                </a:cubicBezTo>
                <a:close/>
                <a:moveTo>
                  <a:pt x="113040" y="72615"/>
                </a:moveTo>
                <a:cubicBezTo>
                  <a:pt x="137018" y="72615"/>
                  <a:pt x="159855" y="79552"/>
                  <a:pt x="178124" y="93425"/>
                </a:cubicBezTo>
                <a:cubicBezTo>
                  <a:pt x="178124" y="93425"/>
                  <a:pt x="178124" y="93425"/>
                  <a:pt x="178124" y="74927"/>
                </a:cubicBezTo>
                <a:cubicBezTo>
                  <a:pt x="178124" y="74927"/>
                  <a:pt x="178124" y="74927"/>
                  <a:pt x="231789" y="74927"/>
                </a:cubicBezTo>
                <a:cubicBezTo>
                  <a:pt x="231789" y="74927"/>
                  <a:pt x="231789" y="74927"/>
                  <a:pt x="231789" y="296895"/>
                </a:cubicBezTo>
                <a:cubicBezTo>
                  <a:pt x="231789" y="296895"/>
                  <a:pt x="231789" y="296895"/>
                  <a:pt x="178124" y="296895"/>
                </a:cubicBezTo>
                <a:cubicBezTo>
                  <a:pt x="178124" y="296895"/>
                  <a:pt x="178124" y="296895"/>
                  <a:pt x="178124" y="281866"/>
                </a:cubicBezTo>
                <a:cubicBezTo>
                  <a:pt x="159855" y="294583"/>
                  <a:pt x="137018" y="301519"/>
                  <a:pt x="113040" y="301519"/>
                </a:cubicBezTo>
                <a:cubicBezTo>
                  <a:pt x="50240" y="301519"/>
                  <a:pt x="0" y="250652"/>
                  <a:pt x="0" y="187067"/>
                </a:cubicBezTo>
                <a:cubicBezTo>
                  <a:pt x="0" y="123483"/>
                  <a:pt x="50240" y="72615"/>
                  <a:pt x="113040" y="72615"/>
                </a:cubicBezTo>
                <a:close/>
                <a:moveTo>
                  <a:pt x="768887" y="0"/>
                </a:moveTo>
                <a:cubicBezTo>
                  <a:pt x="768887" y="0"/>
                  <a:pt x="768887" y="0"/>
                  <a:pt x="823765" y="0"/>
                </a:cubicBezTo>
                <a:cubicBezTo>
                  <a:pt x="823765" y="0"/>
                  <a:pt x="823765" y="0"/>
                  <a:pt x="823765" y="296898"/>
                </a:cubicBezTo>
                <a:cubicBezTo>
                  <a:pt x="823765" y="296898"/>
                  <a:pt x="823765" y="296898"/>
                  <a:pt x="768887" y="296898"/>
                </a:cubicBezTo>
                <a:cubicBezTo>
                  <a:pt x="768887" y="296898"/>
                  <a:pt x="768887" y="296898"/>
                  <a:pt x="768887" y="281880"/>
                </a:cubicBezTo>
                <a:cubicBezTo>
                  <a:pt x="750594" y="294588"/>
                  <a:pt x="727729" y="301519"/>
                  <a:pt x="703719" y="301519"/>
                </a:cubicBezTo>
                <a:cubicBezTo>
                  <a:pt x="641981" y="301519"/>
                  <a:pt x="590533" y="250688"/>
                  <a:pt x="590533" y="187150"/>
                </a:cubicBezTo>
                <a:cubicBezTo>
                  <a:pt x="590533" y="123611"/>
                  <a:pt x="641981" y="72781"/>
                  <a:pt x="703719" y="72781"/>
                </a:cubicBezTo>
                <a:cubicBezTo>
                  <a:pt x="727729" y="72781"/>
                  <a:pt x="750594" y="79712"/>
                  <a:pt x="768887" y="93575"/>
                </a:cubicBezTo>
                <a:cubicBezTo>
                  <a:pt x="768887" y="93575"/>
                  <a:pt x="768887" y="93575"/>
                  <a:pt x="768887" y="0"/>
                </a:cubicBezTo>
                <a:close/>
                <a:moveTo>
                  <a:pt x="514071" y="0"/>
                </a:moveTo>
                <a:lnTo>
                  <a:pt x="568893" y="0"/>
                </a:lnTo>
                <a:lnTo>
                  <a:pt x="568893" y="55303"/>
                </a:lnTo>
                <a:lnTo>
                  <a:pt x="514071" y="55303"/>
                </a:lnTo>
                <a:close/>
                <a:moveTo>
                  <a:pt x="432857" y="0"/>
                </a:moveTo>
                <a:cubicBezTo>
                  <a:pt x="432857" y="0"/>
                  <a:pt x="432857" y="0"/>
                  <a:pt x="487622" y="0"/>
                </a:cubicBezTo>
                <a:cubicBezTo>
                  <a:pt x="487622" y="0"/>
                  <a:pt x="487622" y="0"/>
                  <a:pt x="487622" y="296898"/>
                </a:cubicBezTo>
                <a:cubicBezTo>
                  <a:pt x="487622" y="296898"/>
                  <a:pt x="487622" y="296898"/>
                  <a:pt x="432857" y="296898"/>
                </a:cubicBezTo>
                <a:cubicBezTo>
                  <a:pt x="432857" y="296898"/>
                  <a:pt x="432857" y="296898"/>
                  <a:pt x="432857" y="281880"/>
                </a:cubicBezTo>
                <a:cubicBezTo>
                  <a:pt x="414602" y="294588"/>
                  <a:pt x="391784" y="301519"/>
                  <a:pt x="367824" y="301519"/>
                </a:cubicBezTo>
                <a:cubicBezTo>
                  <a:pt x="305072" y="301519"/>
                  <a:pt x="254871" y="250688"/>
                  <a:pt x="254871" y="187150"/>
                </a:cubicBezTo>
                <a:cubicBezTo>
                  <a:pt x="254871" y="123611"/>
                  <a:pt x="305072" y="72781"/>
                  <a:pt x="367824" y="72781"/>
                </a:cubicBezTo>
                <a:cubicBezTo>
                  <a:pt x="391784" y="72781"/>
                  <a:pt x="414602" y="79712"/>
                  <a:pt x="432857" y="93575"/>
                </a:cubicBezTo>
                <a:cubicBezTo>
                  <a:pt x="432857" y="93575"/>
                  <a:pt x="432857" y="93575"/>
                  <a:pt x="432857" y="0"/>
                </a:cubicBezTo>
                <a:close/>
              </a:path>
            </a:pathLst>
          </a:custGeom>
          <a:solidFill>
            <a:schemeClr val="tx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
        <p:nvSpPr>
          <p:cNvPr id="6" name="Date Placeholder 1">
            <a:extLst>
              <a:ext uri="{FF2B5EF4-FFF2-40B4-BE49-F238E27FC236}">
                <a16:creationId xmlns:a16="http://schemas.microsoft.com/office/drawing/2014/main" id="{919B434F-6EDB-41B6-9086-531B1182B80E}"/>
              </a:ext>
            </a:extLst>
          </p:cNvPr>
          <p:cNvSpPr>
            <a:spLocks noGrp="1"/>
          </p:cNvSpPr>
          <p:nvPr>
            <p:ph type="dt" sz="half" idx="19"/>
          </p:nvPr>
        </p:nvSpPr>
        <p:spPr bwMode="gray">
          <a:xfrm>
            <a:off x="10667212" y="6953115"/>
            <a:ext cx="763799" cy="95306"/>
          </a:xfrm>
        </p:spPr>
        <p:txBody>
          <a:bodyPr/>
          <a:lstStyle>
            <a:lvl1pPr>
              <a:defRPr>
                <a:solidFill>
                  <a:schemeClr val="tx1">
                    <a:alpha val="0"/>
                  </a:schemeClr>
                </a:solidFill>
              </a:defRPr>
            </a:lvl1pPr>
          </a:lstStyle>
          <a:p>
            <a:pPr>
              <a:defRPr/>
            </a:pPr>
            <a:fld id="{42BF04FA-B6B2-426E-B966-0885AFBCCA49}" type="datetime5">
              <a:rPr lang="en-US" smtClean="0"/>
              <a:t>6-Oct-21</a:t>
            </a:fld>
            <a:endParaRPr lang="en-US"/>
          </a:p>
        </p:txBody>
      </p:sp>
      <p:sp>
        <p:nvSpPr>
          <p:cNvPr id="8" name="Footer Placeholder 3">
            <a:extLst>
              <a:ext uri="{FF2B5EF4-FFF2-40B4-BE49-F238E27FC236}">
                <a16:creationId xmlns:a16="http://schemas.microsoft.com/office/drawing/2014/main" id="{F5DEDE58-B1C9-417C-A829-790D4D1E9B93}"/>
              </a:ext>
            </a:extLst>
          </p:cNvPr>
          <p:cNvSpPr>
            <a:spLocks noGrp="1"/>
          </p:cNvSpPr>
          <p:nvPr>
            <p:ph type="ftr" sz="quarter" idx="20"/>
          </p:nvPr>
        </p:nvSpPr>
        <p:spPr bwMode="gray">
          <a:xfrm>
            <a:off x="1142717" y="6953115"/>
            <a:ext cx="3048187" cy="95306"/>
          </a:xfrm>
        </p:spPr>
        <p:txBody>
          <a:bodyPr/>
          <a:lstStyle>
            <a:lvl1pPr>
              <a:defRPr>
                <a:solidFill>
                  <a:schemeClr val="tx1">
                    <a:alpha val="0"/>
                  </a:schemeClr>
                </a:solidFill>
              </a:defRPr>
            </a:lvl1pPr>
          </a:lstStyle>
          <a:p>
            <a:pPr>
              <a:defRPr/>
            </a:pPr>
            <a:r>
              <a:rPr lang="en-US"/>
              <a:t>FOOTER / PRESENTATION NAME</a:t>
            </a:r>
          </a:p>
        </p:txBody>
      </p:sp>
      <p:sp>
        <p:nvSpPr>
          <p:cNvPr id="10" name="Slide Number Placeholder 9">
            <a:extLst>
              <a:ext uri="{FF2B5EF4-FFF2-40B4-BE49-F238E27FC236}">
                <a16:creationId xmlns:a16="http://schemas.microsoft.com/office/drawing/2014/main" id="{D8B5D026-2A8A-4910-89F4-0AC9748D422F}"/>
              </a:ext>
            </a:extLst>
          </p:cNvPr>
          <p:cNvSpPr>
            <a:spLocks noGrp="1"/>
          </p:cNvSpPr>
          <p:nvPr>
            <p:ph type="sldNum" sz="quarter" idx="21"/>
          </p:nvPr>
        </p:nvSpPr>
        <p:spPr bwMode="gray">
          <a:xfrm>
            <a:off x="11429607" y="6952918"/>
            <a:ext cx="381742" cy="95574"/>
          </a:xfrm>
        </p:spPr>
        <p:txBody>
          <a:bodyPr/>
          <a:lstStyle>
            <a:lvl1pPr>
              <a:defRPr>
                <a:solidFill>
                  <a:schemeClr val="tx1">
                    <a:alpha val="0"/>
                  </a:schemeClr>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422192444"/>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Stella">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54A92305-31FC-40A9-B2DE-8E3DE5EB4FA8}"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Tree>
    <p:extLst>
      <p:ext uri="{BB962C8B-B14F-4D97-AF65-F5344CB8AC3E}">
        <p14:creationId xmlns:p14="http://schemas.microsoft.com/office/powerpoint/2010/main" val="3112809451"/>
      </p:ext>
    </p:extLst>
  </p:cSld>
  <p:clrMapOvr>
    <a:masterClrMapping/>
  </p:clrMapOvr>
  <p:transition spd="med">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Badge of Sport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0" anchor="ctr" anchorCtr="0"/>
          <a:lstStyle>
            <a:lvl1pPr algn="ctr">
              <a:lnSpc>
                <a:spcPct val="100000"/>
              </a:lnSpc>
              <a:spcAft>
                <a:spcPts val="0"/>
              </a:spcAft>
              <a:defRPr sz="1058">
                <a:solidFill>
                  <a:schemeClr val="bg1"/>
                </a:solidFill>
              </a:defRPr>
            </a:lvl1pPr>
          </a:lstStyle>
          <a:p>
            <a:pPr lvl="0"/>
            <a:r>
              <a:rPr lang="en-US" noProof="0"/>
              <a:t>Click icon to add picture</a:t>
            </a:r>
          </a:p>
        </p:txBody>
      </p:sp>
      <p:sp>
        <p:nvSpPr>
          <p:cNvPr id="8" name="Date Placeholder 1">
            <a:extLst>
              <a:ext uri="{FF2B5EF4-FFF2-40B4-BE49-F238E27FC236}">
                <a16:creationId xmlns:a16="http://schemas.microsoft.com/office/drawing/2014/main" id="{B19CAA23-9F95-4B49-B02B-5758E00A60C2}"/>
              </a:ext>
            </a:extLst>
          </p:cNvPr>
          <p:cNvSpPr>
            <a:spLocks noGrp="1"/>
          </p:cNvSpPr>
          <p:nvPr>
            <p:ph type="dt" sz="half" idx="19"/>
          </p:nvPr>
        </p:nvSpPr>
        <p:spPr bwMode="gray">
          <a:xfrm>
            <a:off x="10667212" y="6953115"/>
            <a:ext cx="763799" cy="95306"/>
          </a:xfrm>
        </p:spPr>
        <p:txBody>
          <a:bodyPr/>
          <a:lstStyle>
            <a:lvl1pPr>
              <a:defRPr>
                <a:solidFill>
                  <a:schemeClr val="tx1">
                    <a:alpha val="0"/>
                  </a:schemeClr>
                </a:solidFill>
              </a:defRPr>
            </a:lvl1pPr>
          </a:lstStyle>
          <a:p>
            <a:pPr>
              <a:defRPr/>
            </a:pPr>
            <a:fld id="{2760376A-013D-4B68-8C68-9013D9BC8C34}" type="datetime5">
              <a:rPr lang="en-US" smtClean="0"/>
              <a:t>6-Oct-21</a:t>
            </a:fld>
            <a:endParaRPr lang="en-US"/>
          </a:p>
        </p:txBody>
      </p:sp>
      <p:sp>
        <p:nvSpPr>
          <p:cNvPr id="9" name="Footer Placeholder 3">
            <a:extLst>
              <a:ext uri="{FF2B5EF4-FFF2-40B4-BE49-F238E27FC236}">
                <a16:creationId xmlns:a16="http://schemas.microsoft.com/office/drawing/2014/main" id="{72A86092-67B3-4CED-A612-382B04BD50F8}"/>
              </a:ext>
            </a:extLst>
          </p:cNvPr>
          <p:cNvSpPr>
            <a:spLocks noGrp="1"/>
          </p:cNvSpPr>
          <p:nvPr>
            <p:ph type="ftr" sz="quarter" idx="20"/>
          </p:nvPr>
        </p:nvSpPr>
        <p:spPr bwMode="gray">
          <a:xfrm>
            <a:off x="1142717" y="6953115"/>
            <a:ext cx="3048187" cy="95306"/>
          </a:xfrm>
        </p:spPr>
        <p:txBody>
          <a:bodyPr/>
          <a:lstStyle>
            <a:lvl1pPr>
              <a:defRPr>
                <a:solidFill>
                  <a:schemeClr val="tx1">
                    <a:alpha val="0"/>
                  </a:schemeClr>
                </a:solidFill>
              </a:defRPr>
            </a:lvl1pPr>
          </a:lstStyle>
          <a:p>
            <a:pPr>
              <a:defRPr/>
            </a:pPr>
            <a:r>
              <a:rPr lang="en-US"/>
              <a:t>FOOTER / PRESENTATION NAME</a:t>
            </a:r>
          </a:p>
        </p:txBody>
      </p:sp>
      <p:sp>
        <p:nvSpPr>
          <p:cNvPr id="10" name="Slide Number Placeholder 9">
            <a:extLst>
              <a:ext uri="{FF2B5EF4-FFF2-40B4-BE49-F238E27FC236}">
                <a16:creationId xmlns:a16="http://schemas.microsoft.com/office/drawing/2014/main" id="{84605183-B303-46B3-AD11-32C51C25EF52}"/>
              </a:ext>
            </a:extLst>
          </p:cNvPr>
          <p:cNvSpPr>
            <a:spLocks noGrp="1"/>
          </p:cNvSpPr>
          <p:nvPr>
            <p:ph type="sldNum" sz="quarter" idx="21"/>
          </p:nvPr>
        </p:nvSpPr>
        <p:spPr bwMode="gray">
          <a:xfrm>
            <a:off x="11429607" y="6952918"/>
            <a:ext cx="381742" cy="95574"/>
          </a:xfrm>
        </p:spPr>
        <p:txBody>
          <a:bodyPr/>
          <a:lstStyle>
            <a:lvl1pPr>
              <a:defRPr>
                <a:solidFill>
                  <a:schemeClr val="tx1">
                    <a:alpha val="0"/>
                  </a:schemeClr>
                </a:solidFill>
              </a:defRPr>
            </a:lvl1pPr>
          </a:lstStyle>
          <a:p>
            <a:pPr>
              <a:defRPr/>
            </a:pPr>
            <a:fld id="{66C8B3C2-955F-42B1-8DED-EE47D723596C}" type="slidenum">
              <a:rPr lang="en-US" smtClean="0"/>
              <a:pPr>
                <a:defRPr/>
              </a:pPr>
              <a:t>‹#›</a:t>
            </a:fld>
            <a:endParaRPr lang="en-US"/>
          </a:p>
        </p:txBody>
      </p:sp>
      <p:sp>
        <p:nvSpPr>
          <p:cNvPr id="11" name="Title 1">
            <a:extLst>
              <a:ext uri="{FF2B5EF4-FFF2-40B4-BE49-F238E27FC236}">
                <a16:creationId xmlns:a16="http://schemas.microsoft.com/office/drawing/2014/main" id="{BC5232D5-2341-4EA3-9A49-EFA4B2DA6426}"/>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latin typeface="+mj-lt"/>
              </a:defRPr>
            </a:lvl7pPr>
            <a:lvl8pPr>
              <a:lnSpc>
                <a:spcPct val="75000"/>
              </a:lnSpc>
              <a:defRPr sz="6349" b="1" spc="26" baseline="0">
                <a:solidFill>
                  <a:schemeClr val="bg1"/>
                </a:solidFill>
                <a:latin typeface="+mj-lt"/>
              </a:defRPr>
            </a:lvl8pPr>
            <a:lvl9pPr algn="l">
              <a:lnSpc>
                <a:spcPct val="75000"/>
              </a:lnSpc>
              <a:defRPr sz="6349" b="1" spc="26" baseline="0">
                <a:solidFill>
                  <a:schemeClr val="bg1"/>
                </a:solidFill>
                <a:latin typeface="+mj-lt"/>
              </a:defRPr>
            </a:lvl9pPr>
          </a:lstStyle>
          <a:p>
            <a:pPr lvl="0"/>
            <a:r>
              <a:rPr lang="en-US" noProof="0"/>
              <a:t>Title of your presentation</a:t>
            </a:r>
          </a:p>
        </p:txBody>
      </p:sp>
      <p:sp>
        <p:nvSpPr>
          <p:cNvPr id="12" name="Subtitle 2">
            <a:extLst>
              <a:ext uri="{FF2B5EF4-FFF2-40B4-BE49-F238E27FC236}">
                <a16:creationId xmlns:a16="http://schemas.microsoft.com/office/drawing/2014/main" id="{C1E0360F-7E9C-4772-A307-A0B67E3B4437}"/>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bg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6pPr>
            <a:lvl7pPr marL="0" indent="0" algn="l">
              <a:lnSpc>
                <a:spcPct val="75000"/>
              </a:lnSpc>
              <a:spcBef>
                <a:spcPts val="0"/>
              </a:spcBef>
              <a:spcAft>
                <a:spcPts val="0"/>
              </a:spcAft>
              <a:buNone/>
              <a:defRPr sz="1852" b="0" cap="all" spc="26" baseline="0">
                <a:solidFill>
                  <a:schemeClr val="bg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8pPr>
            <a:lvl9pPr marL="0" indent="0" algn="l">
              <a:lnSpc>
                <a:spcPct val="75000"/>
              </a:lnSpc>
              <a:spcBef>
                <a:spcPts val="0"/>
              </a:spcBef>
              <a:spcAft>
                <a:spcPts val="0"/>
              </a:spcAft>
              <a:buNone/>
              <a:defRPr sz="1852" b="0" cap="all" spc="26" baseline="0">
                <a:solidFill>
                  <a:schemeClr val="bg1"/>
                </a:solidFill>
                <a:latin typeface="+mj-lt"/>
              </a:defRPr>
            </a:lvl9pPr>
          </a:lstStyle>
          <a:p>
            <a:pPr lvl="0"/>
            <a:r>
              <a:rPr lang="en-US" noProof="0"/>
              <a:t>Click to edit Master subtitle style</a:t>
            </a:r>
          </a:p>
        </p:txBody>
      </p:sp>
      <p:sp>
        <p:nvSpPr>
          <p:cNvPr id="28" name="Text Placeholder 27">
            <a:extLst>
              <a:ext uri="{FF2B5EF4-FFF2-40B4-BE49-F238E27FC236}">
                <a16:creationId xmlns:a16="http://schemas.microsoft.com/office/drawing/2014/main" id="{3263AB9C-3C65-442C-B186-7803FA958432}"/>
              </a:ext>
            </a:extLst>
          </p:cNvPr>
          <p:cNvSpPr>
            <a:spLocks noGrp="1" noChangeAspect="1"/>
          </p:cNvSpPr>
          <p:nvPr>
            <p:ph type="body" sz="quarter" idx="16" hasCustomPrompt="1"/>
          </p:nvPr>
        </p:nvSpPr>
        <p:spPr bwMode="gray">
          <a:xfrm>
            <a:off x="8954110" y="4181727"/>
            <a:ext cx="1714677" cy="1152199"/>
          </a:xfrm>
          <a:custGeom>
            <a:avLst/>
            <a:gdLst>
              <a:gd name="connsiteX0" fmla="*/ 962421 w 1296055"/>
              <a:gd name="connsiteY0" fmla="*/ 695176 h 871084"/>
              <a:gd name="connsiteX1" fmla="*/ 900261 w 1296055"/>
              <a:gd name="connsiteY1" fmla="*/ 757970 h 871084"/>
              <a:gd name="connsiteX2" fmla="*/ 962421 w 1296055"/>
              <a:gd name="connsiteY2" fmla="*/ 820764 h 871084"/>
              <a:gd name="connsiteX3" fmla="*/ 1024581 w 1296055"/>
              <a:gd name="connsiteY3" fmla="*/ 757970 h 871084"/>
              <a:gd name="connsiteX4" fmla="*/ 962421 w 1296055"/>
              <a:gd name="connsiteY4" fmla="*/ 695176 h 871084"/>
              <a:gd name="connsiteX5" fmla="*/ 707228 w 1296055"/>
              <a:gd name="connsiteY5" fmla="*/ 695176 h 871084"/>
              <a:gd name="connsiteX6" fmla="*/ 644856 w 1296055"/>
              <a:gd name="connsiteY6" fmla="*/ 757970 h 871084"/>
              <a:gd name="connsiteX7" fmla="*/ 707228 w 1296055"/>
              <a:gd name="connsiteY7" fmla="*/ 820764 h 871084"/>
              <a:gd name="connsiteX8" fmla="*/ 769600 w 1296055"/>
              <a:gd name="connsiteY8" fmla="*/ 757970 h 871084"/>
              <a:gd name="connsiteX9" fmla="*/ 707228 w 1296055"/>
              <a:gd name="connsiteY9" fmla="*/ 695176 h 871084"/>
              <a:gd name="connsiteX10" fmla="*/ 371056 w 1296055"/>
              <a:gd name="connsiteY10" fmla="*/ 695176 h 871084"/>
              <a:gd name="connsiteX11" fmla="*/ 308262 w 1296055"/>
              <a:gd name="connsiteY11" fmla="*/ 757970 h 871084"/>
              <a:gd name="connsiteX12" fmla="*/ 371056 w 1296055"/>
              <a:gd name="connsiteY12" fmla="*/ 820764 h 871084"/>
              <a:gd name="connsiteX13" fmla="*/ 433850 w 1296055"/>
              <a:gd name="connsiteY13" fmla="*/ 757970 h 871084"/>
              <a:gd name="connsiteX14" fmla="*/ 371056 w 1296055"/>
              <a:gd name="connsiteY14" fmla="*/ 695176 h 871084"/>
              <a:gd name="connsiteX15" fmla="*/ 116074 w 1296055"/>
              <a:gd name="connsiteY15" fmla="*/ 695176 h 871084"/>
              <a:gd name="connsiteX16" fmla="*/ 53280 w 1296055"/>
              <a:gd name="connsiteY16" fmla="*/ 757970 h 871084"/>
              <a:gd name="connsiteX17" fmla="*/ 116074 w 1296055"/>
              <a:gd name="connsiteY17" fmla="*/ 820764 h 871084"/>
              <a:gd name="connsiteX18" fmla="*/ 178868 w 1296055"/>
              <a:gd name="connsiteY18" fmla="*/ 757970 h 871084"/>
              <a:gd name="connsiteX19" fmla="*/ 116074 w 1296055"/>
              <a:gd name="connsiteY19" fmla="*/ 695176 h 871084"/>
              <a:gd name="connsiteX20" fmla="*/ 514616 w 1296055"/>
              <a:gd name="connsiteY20" fmla="*/ 646970 h 871084"/>
              <a:gd name="connsiteX21" fmla="*/ 568742 w 1296055"/>
              <a:gd name="connsiteY21" fmla="*/ 646970 h 871084"/>
              <a:gd name="connsiteX22" fmla="*/ 568742 w 1296055"/>
              <a:gd name="connsiteY22" fmla="*/ 867278 h 871084"/>
              <a:gd name="connsiteX23" fmla="*/ 514616 w 1296055"/>
              <a:gd name="connsiteY23" fmla="*/ 867278 h 871084"/>
              <a:gd name="connsiteX24" fmla="*/ 1195519 w 1296055"/>
              <a:gd name="connsiteY24" fmla="*/ 644856 h 871084"/>
              <a:gd name="connsiteX25" fmla="*/ 1288012 w 1296055"/>
              <a:gd name="connsiteY25" fmla="*/ 716244 h 871084"/>
              <a:gd name="connsiteX26" fmla="*/ 1232717 w 1296055"/>
              <a:gd name="connsiteY26" fmla="*/ 716244 h 871084"/>
              <a:gd name="connsiteX27" fmla="*/ 1193508 w 1296055"/>
              <a:gd name="connsiteY27" fmla="*/ 686080 h 871084"/>
              <a:gd name="connsiteX28" fmla="*/ 1159326 w 1296055"/>
              <a:gd name="connsiteY28" fmla="*/ 707195 h 871084"/>
              <a:gd name="connsiteX29" fmla="*/ 1197530 w 1296055"/>
              <a:gd name="connsiteY29" fmla="*/ 729315 h 871084"/>
              <a:gd name="connsiteX30" fmla="*/ 1232717 w 1296055"/>
              <a:gd name="connsiteY30" fmla="*/ 736353 h 871084"/>
              <a:gd name="connsiteX31" fmla="*/ 1296055 w 1296055"/>
              <a:gd name="connsiteY31" fmla="*/ 798691 h 871084"/>
              <a:gd name="connsiteX32" fmla="*/ 1202557 w 1296055"/>
              <a:gd name="connsiteY32" fmla="*/ 871084 h 871084"/>
              <a:gd name="connsiteX33" fmla="*/ 1099004 w 1296055"/>
              <a:gd name="connsiteY33" fmla="*/ 795675 h 871084"/>
              <a:gd name="connsiteX34" fmla="*/ 1155305 w 1296055"/>
              <a:gd name="connsiteY34" fmla="*/ 795675 h 871084"/>
              <a:gd name="connsiteX35" fmla="*/ 1203562 w 1296055"/>
              <a:gd name="connsiteY35" fmla="*/ 829860 h 871084"/>
              <a:gd name="connsiteX36" fmla="*/ 1237744 w 1296055"/>
              <a:gd name="connsiteY36" fmla="*/ 807740 h 871084"/>
              <a:gd name="connsiteX37" fmla="*/ 1208589 w 1296055"/>
              <a:gd name="connsiteY37" fmla="*/ 786626 h 871084"/>
              <a:gd name="connsiteX38" fmla="*/ 1179433 w 1296055"/>
              <a:gd name="connsiteY38" fmla="*/ 781598 h 871084"/>
              <a:gd name="connsiteX39" fmla="*/ 1104031 w 1296055"/>
              <a:gd name="connsiteY39" fmla="*/ 716244 h 871084"/>
              <a:gd name="connsiteX40" fmla="*/ 1195519 w 1296055"/>
              <a:gd name="connsiteY40" fmla="*/ 644856 h 871084"/>
              <a:gd name="connsiteX41" fmla="*/ 959538 w 1296055"/>
              <a:gd name="connsiteY41" fmla="*/ 644856 h 871084"/>
              <a:gd name="connsiteX42" fmla="*/ 1024861 w 1296055"/>
              <a:gd name="connsiteY42" fmla="*/ 664965 h 871084"/>
              <a:gd name="connsiteX43" fmla="*/ 1024861 w 1296055"/>
              <a:gd name="connsiteY43" fmla="*/ 646867 h 871084"/>
              <a:gd name="connsiteX44" fmla="*/ 1079129 w 1296055"/>
              <a:gd name="connsiteY44" fmla="*/ 646867 h 871084"/>
              <a:gd name="connsiteX45" fmla="*/ 1079129 w 1296055"/>
              <a:gd name="connsiteY45" fmla="*/ 867062 h 871084"/>
              <a:gd name="connsiteX46" fmla="*/ 1024861 w 1296055"/>
              <a:gd name="connsiteY46" fmla="*/ 867062 h 871084"/>
              <a:gd name="connsiteX47" fmla="*/ 1024861 w 1296055"/>
              <a:gd name="connsiteY47" fmla="*/ 850975 h 871084"/>
              <a:gd name="connsiteX48" fmla="*/ 959538 w 1296055"/>
              <a:gd name="connsiteY48" fmla="*/ 871084 h 871084"/>
              <a:gd name="connsiteX49" fmla="*/ 846981 w 1296055"/>
              <a:gd name="connsiteY49" fmla="*/ 757467 h 871084"/>
              <a:gd name="connsiteX50" fmla="*/ 959538 w 1296055"/>
              <a:gd name="connsiteY50" fmla="*/ 644856 h 871084"/>
              <a:gd name="connsiteX51" fmla="*/ 113561 w 1296055"/>
              <a:gd name="connsiteY51" fmla="*/ 644856 h 871084"/>
              <a:gd name="connsiteX52" fmla="*/ 177880 w 1296055"/>
              <a:gd name="connsiteY52" fmla="*/ 664965 h 871084"/>
              <a:gd name="connsiteX53" fmla="*/ 177880 w 1296055"/>
              <a:gd name="connsiteY53" fmla="*/ 646867 h 871084"/>
              <a:gd name="connsiteX54" fmla="*/ 232148 w 1296055"/>
              <a:gd name="connsiteY54" fmla="*/ 646867 h 871084"/>
              <a:gd name="connsiteX55" fmla="*/ 232148 w 1296055"/>
              <a:gd name="connsiteY55" fmla="*/ 867062 h 871084"/>
              <a:gd name="connsiteX56" fmla="*/ 177880 w 1296055"/>
              <a:gd name="connsiteY56" fmla="*/ 867062 h 871084"/>
              <a:gd name="connsiteX57" fmla="*/ 177880 w 1296055"/>
              <a:gd name="connsiteY57" fmla="*/ 850975 h 871084"/>
              <a:gd name="connsiteX58" fmla="*/ 113561 w 1296055"/>
              <a:gd name="connsiteY58" fmla="*/ 871084 h 871084"/>
              <a:gd name="connsiteX59" fmla="*/ 0 w 1296055"/>
              <a:gd name="connsiteY59" fmla="*/ 757467 h 871084"/>
              <a:gd name="connsiteX60" fmla="*/ 113561 w 1296055"/>
              <a:gd name="connsiteY60" fmla="*/ 644856 h 871084"/>
              <a:gd name="connsiteX61" fmla="*/ 332788 w 1296055"/>
              <a:gd name="connsiteY61" fmla="*/ 397484 h 871084"/>
              <a:gd name="connsiteX62" fmla="*/ 433005 w 1296055"/>
              <a:gd name="connsiteY62" fmla="*/ 572547 h 871084"/>
              <a:gd name="connsiteX63" fmla="*/ 433807 w 1296055"/>
              <a:gd name="connsiteY63" fmla="*/ 572547 h 871084"/>
              <a:gd name="connsiteX64" fmla="*/ 487130 w 1296055"/>
              <a:gd name="connsiteY64" fmla="*/ 572547 h 871084"/>
              <a:gd name="connsiteX65" fmla="*/ 487130 w 1296055"/>
              <a:gd name="connsiteY65" fmla="*/ 867063 h 871084"/>
              <a:gd name="connsiteX66" fmla="*/ 432961 w 1296055"/>
              <a:gd name="connsiteY66" fmla="*/ 867063 h 871084"/>
              <a:gd name="connsiteX67" fmla="*/ 432961 w 1296055"/>
              <a:gd name="connsiteY67" fmla="*/ 850981 h 871084"/>
              <a:gd name="connsiteX68" fmla="*/ 368760 w 1296055"/>
              <a:gd name="connsiteY68" fmla="*/ 871084 h 871084"/>
              <a:gd name="connsiteX69" fmla="*/ 255405 w 1296055"/>
              <a:gd name="connsiteY69" fmla="*/ 757499 h 871084"/>
              <a:gd name="connsiteX70" fmla="*/ 368760 w 1296055"/>
              <a:gd name="connsiteY70" fmla="*/ 644920 h 871084"/>
              <a:gd name="connsiteX71" fmla="*/ 432961 w 1296055"/>
              <a:gd name="connsiteY71" fmla="*/ 665023 h 871084"/>
              <a:gd name="connsiteX72" fmla="*/ 432961 w 1296055"/>
              <a:gd name="connsiteY72" fmla="*/ 572547 h 871084"/>
              <a:gd name="connsiteX73" fmla="*/ 178868 w 1296055"/>
              <a:gd name="connsiteY73" fmla="*/ 572547 h 871084"/>
              <a:gd name="connsiteX74" fmla="*/ 141657 w 1296055"/>
              <a:gd name="connsiteY74" fmla="*/ 507004 h 871084"/>
              <a:gd name="connsiteX75" fmla="*/ 555633 w 1296055"/>
              <a:gd name="connsiteY75" fmla="*/ 200856 h 871084"/>
              <a:gd name="connsiteX76" fmla="*/ 769599 w 1296055"/>
              <a:gd name="connsiteY76" fmla="*/ 572547 h 871084"/>
              <a:gd name="connsiteX77" fmla="*/ 770304 w 1296055"/>
              <a:gd name="connsiteY77" fmla="*/ 572547 h 871084"/>
              <a:gd name="connsiteX78" fmla="*/ 823724 w 1296055"/>
              <a:gd name="connsiteY78" fmla="*/ 572547 h 871084"/>
              <a:gd name="connsiteX79" fmla="*/ 823724 w 1296055"/>
              <a:gd name="connsiteY79" fmla="*/ 867063 h 871084"/>
              <a:gd name="connsiteX80" fmla="*/ 769456 w 1296055"/>
              <a:gd name="connsiteY80" fmla="*/ 867063 h 871084"/>
              <a:gd name="connsiteX81" fmla="*/ 769456 w 1296055"/>
              <a:gd name="connsiteY81" fmla="*/ 850981 h 871084"/>
              <a:gd name="connsiteX82" fmla="*/ 704133 w 1296055"/>
              <a:gd name="connsiteY82" fmla="*/ 871084 h 871084"/>
              <a:gd name="connsiteX83" fmla="*/ 591576 w 1296055"/>
              <a:gd name="connsiteY83" fmla="*/ 757499 h 871084"/>
              <a:gd name="connsiteX84" fmla="*/ 704133 w 1296055"/>
              <a:gd name="connsiteY84" fmla="*/ 644920 h 871084"/>
              <a:gd name="connsiteX85" fmla="*/ 769456 w 1296055"/>
              <a:gd name="connsiteY85" fmla="*/ 665023 h 871084"/>
              <a:gd name="connsiteX86" fmla="*/ 769456 w 1296055"/>
              <a:gd name="connsiteY86" fmla="*/ 572547 h 871084"/>
              <a:gd name="connsiteX87" fmla="*/ 568742 w 1296055"/>
              <a:gd name="connsiteY87" fmla="*/ 572547 h 871084"/>
              <a:gd name="connsiteX88" fmla="*/ 568742 w 1296055"/>
              <a:gd name="connsiteY88" fmla="*/ 626672 h 871084"/>
              <a:gd name="connsiteX89" fmla="*/ 514616 w 1296055"/>
              <a:gd name="connsiteY89" fmla="*/ 626672 h 871084"/>
              <a:gd name="connsiteX90" fmla="*/ 514616 w 1296055"/>
              <a:gd name="connsiteY90" fmla="*/ 572547 h 871084"/>
              <a:gd name="connsiteX91" fmla="*/ 364925 w 1296055"/>
              <a:gd name="connsiteY91" fmla="*/ 310799 h 871084"/>
              <a:gd name="connsiteX92" fmla="*/ 775519 w 1296055"/>
              <a:gd name="connsiteY92" fmla="*/ 0 h 871084"/>
              <a:gd name="connsiteX93" fmla="*/ 1106192 w 1296055"/>
              <a:gd name="connsiteY93" fmla="*/ 572547 h 871084"/>
              <a:gd name="connsiteX94" fmla="*/ 850787 w 1296055"/>
              <a:gd name="connsiteY94" fmla="*/ 572547 h 871084"/>
              <a:gd name="connsiteX95" fmla="*/ 585656 w 1296055"/>
              <a:gd name="connsiteY95" fmla="*/ 110366 h 87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296055" h="871084">
                <a:moveTo>
                  <a:pt x="962421" y="695176"/>
                </a:moveTo>
                <a:cubicBezTo>
                  <a:pt x="928091" y="695176"/>
                  <a:pt x="900261" y="723290"/>
                  <a:pt x="900261" y="757970"/>
                </a:cubicBezTo>
                <a:cubicBezTo>
                  <a:pt x="900261" y="792650"/>
                  <a:pt x="928091" y="820764"/>
                  <a:pt x="962421" y="820764"/>
                </a:cubicBezTo>
                <a:cubicBezTo>
                  <a:pt x="996751" y="820764"/>
                  <a:pt x="1024581" y="792650"/>
                  <a:pt x="1024581" y="757970"/>
                </a:cubicBezTo>
                <a:cubicBezTo>
                  <a:pt x="1024581" y="723290"/>
                  <a:pt x="996751" y="695176"/>
                  <a:pt x="962421" y="695176"/>
                </a:cubicBezTo>
                <a:close/>
                <a:moveTo>
                  <a:pt x="707228" y="695176"/>
                </a:moveTo>
                <a:cubicBezTo>
                  <a:pt x="672781" y="695176"/>
                  <a:pt x="644856" y="723290"/>
                  <a:pt x="644856" y="757970"/>
                </a:cubicBezTo>
                <a:cubicBezTo>
                  <a:pt x="644856" y="792650"/>
                  <a:pt x="672781" y="820764"/>
                  <a:pt x="707228" y="820764"/>
                </a:cubicBezTo>
                <a:cubicBezTo>
                  <a:pt x="741675" y="820764"/>
                  <a:pt x="769600" y="792650"/>
                  <a:pt x="769600" y="757970"/>
                </a:cubicBezTo>
                <a:cubicBezTo>
                  <a:pt x="769600" y="723290"/>
                  <a:pt x="741675" y="695176"/>
                  <a:pt x="707228" y="695176"/>
                </a:cubicBezTo>
                <a:close/>
                <a:moveTo>
                  <a:pt x="371056" y="695176"/>
                </a:moveTo>
                <a:cubicBezTo>
                  <a:pt x="336376" y="695176"/>
                  <a:pt x="308262" y="723290"/>
                  <a:pt x="308262" y="757970"/>
                </a:cubicBezTo>
                <a:cubicBezTo>
                  <a:pt x="308262" y="792650"/>
                  <a:pt x="336376" y="820764"/>
                  <a:pt x="371056" y="820764"/>
                </a:cubicBezTo>
                <a:cubicBezTo>
                  <a:pt x="405736" y="820764"/>
                  <a:pt x="433850" y="792650"/>
                  <a:pt x="433850" y="757970"/>
                </a:cubicBezTo>
                <a:cubicBezTo>
                  <a:pt x="433850" y="723290"/>
                  <a:pt x="405736" y="695176"/>
                  <a:pt x="371056" y="695176"/>
                </a:cubicBezTo>
                <a:close/>
                <a:moveTo>
                  <a:pt x="116074" y="695176"/>
                </a:moveTo>
                <a:cubicBezTo>
                  <a:pt x="81394" y="695176"/>
                  <a:pt x="53280" y="723290"/>
                  <a:pt x="53280" y="757970"/>
                </a:cubicBezTo>
                <a:cubicBezTo>
                  <a:pt x="53280" y="792650"/>
                  <a:pt x="81394" y="820764"/>
                  <a:pt x="116074" y="820764"/>
                </a:cubicBezTo>
                <a:cubicBezTo>
                  <a:pt x="150754" y="820764"/>
                  <a:pt x="178868" y="792650"/>
                  <a:pt x="178868" y="757970"/>
                </a:cubicBezTo>
                <a:cubicBezTo>
                  <a:pt x="178868" y="723290"/>
                  <a:pt x="150754" y="695176"/>
                  <a:pt x="116074" y="695176"/>
                </a:cubicBezTo>
                <a:close/>
                <a:moveTo>
                  <a:pt x="514616" y="646970"/>
                </a:moveTo>
                <a:lnTo>
                  <a:pt x="568742" y="646970"/>
                </a:lnTo>
                <a:lnTo>
                  <a:pt x="568742" y="867278"/>
                </a:lnTo>
                <a:lnTo>
                  <a:pt x="514616" y="867278"/>
                </a:lnTo>
                <a:close/>
                <a:moveTo>
                  <a:pt x="1195519" y="644856"/>
                </a:moveTo>
                <a:cubicBezTo>
                  <a:pt x="1250814" y="644856"/>
                  <a:pt x="1284996" y="673009"/>
                  <a:pt x="1288012" y="716244"/>
                </a:cubicBezTo>
                <a:cubicBezTo>
                  <a:pt x="1288012" y="716244"/>
                  <a:pt x="1288012" y="716244"/>
                  <a:pt x="1232717" y="716244"/>
                </a:cubicBezTo>
                <a:cubicBezTo>
                  <a:pt x="1232717" y="700156"/>
                  <a:pt x="1220653" y="686080"/>
                  <a:pt x="1193508" y="686080"/>
                </a:cubicBezTo>
                <a:cubicBezTo>
                  <a:pt x="1174406" y="686080"/>
                  <a:pt x="1159326" y="692113"/>
                  <a:pt x="1159326" y="707195"/>
                </a:cubicBezTo>
                <a:cubicBezTo>
                  <a:pt x="1159326" y="720265"/>
                  <a:pt x="1175412" y="725293"/>
                  <a:pt x="1197530" y="729315"/>
                </a:cubicBezTo>
                <a:cubicBezTo>
                  <a:pt x="1197530" y="729315"/>
                  <a:pt x="1197530" y="729315"/>
                  <a:pt x="1232717" y="736353"/>
                </a:cubicBezTo>
                <a:cubicBezTo>
                  <a:pt x="1276953" y="744396"/>
                  <a:pt x="1296055" y="764506"/>
                  <a:pt x="1296055" y="798691"/>
                </a:cubicBezTo>
                <a:cubicBezTo>
                  <a:pt x="1296055" y="848964"/>
                  <a:pt x="1253830" y="871084"/>
                  <a:pt x="1202557" y="871084"/>
                </a:cubicBezTo>
                <a:cubicBezTo>
                  <a:pt x="1139219" y="871084"/>
                  <a:pt x="1101015" y="839915"/>
                  <a:pt x="1099004" y="795675"/>
                </a:cubicBezTo>
                <a:cubicBezTo>
                  <a:pt x="1099004" y="795675"/>
                  <a:pt x="1099004" y="795675"/>
                  <a:pt x="1155305" y="795675"/>
                </a:cubicBezTo>
                <a:cubicBezTo>
                  <a:pt x="1155305" y="810757"/>
                  <a:pt x="1167369" y="829860"/>
                  <a:pt x="1203562" y="829860"/>
                </a:cubicBezTo>
                <a:cubicBezTo>
                  <a:pt x="1227691" y="829860"/>
                  <a:pt x="1237744" y="818800"/>
                  <a:pt x="1237744" y="807740"/>
                </a:cubicBezTo>
                <a:cubicBezTo>
                  <a:pt x="1237744" y="795675"/>
                  <a:pt x="1228696" y="790648"/>
                  <a:pt x="1208589" y="786626"/>
                </a:cubicBezTo>
                <a:cubicBezTo>
                  <a:pt x="1208589" y="786626"/>
                  <a:pt x="1208589" y="786626"/>
                  <a:pt x="1179433" y="781598"/>
                </a:cubicBezTo>
                <a:cubicBezTo>
                  <a:pt x="1144246" y="774560"/>
                  <a:pt x="1104031" y="766517"/>
                  <a:pt x="1104031" y="716244"/>
                </a:cubicBezTo>
                <a:cubicBezTo>
                  <a:pt x="1104031" y="676025"/>
                  <a:pt x="1138213" y="644856"/>
                  <a:pt x="1195519" y="644856"/>
                </a:cubicBezTo>
                <a:close/>
                <a:moveTo>
                  <a:pt x="959538" y="644856"/>
                </a:moveTo>
                <a:cubicBezTo>
                  <a:pt x="983657" y="644856"/>
                  <a:pt x="1006771" y="651894"/>
                  <a:pt x="1024861" y="664965"/>
                </a:cubicBezTo>
                <a:cubicBezTo>
                  <a:pt x="1024861" y="664965"/>
                  <a:pt x="1024861" y="664965"/>
                  <a:pt x="1024861" y="646867"/>
                </a:cubicBezTo>
                <a:cubicBezTo>
                  <a:pt x="1024861" y="646867"/>
                  <a:pt x="1024861" y="646867"/>
                  <a:pt x="1079129" y="646867"/>
                </a:cubicBezTo>
                <a:cubicBezTo>
                  <a:pt x="1079129" y="646867"/>
                  <a:pt x="1079129" y="646867"/>
                  <a:pt x="1079129" y="867062"/>
                </a:cubicBezTo>
                <a:cubicBezTo>
                  <a:pt x="1079129" y="867062"/>
                  <a:pt x="1079129" y="867062"/>
                  <a:pt x="1024861" y="867062"/>
                </a:cubicBezTo>
                <a:cubicBezTo>
                  <a:pt x="1024861" y="867062"/>
                  <a:pt x="1024861" y="867062"/>
                  <a:pt x="1024861" y="850975"/>
                </a:cubicBezTo>
                <a:cubicBezTo>
                  <a:pt x="1006771" y="864046"/>
                  <a:pt x="983657" y="871084"/>
                  <a:pt x="959538" y="871084"/>
                </a:cubicBezTo>
                <a:cubicBezTo>
                  <a:pt x="897230" y="871084"/>
                  <a:pt x="846981" y="820811"/>
                  <a:pt x="846981" y="757467"/>
                </a:cubicBezTo>
                <a:cubicBezTo>
                  <a:pt x="846981" y="695129"/>
                  <a:pt x="897230" y="644856"/>
                  <a:pt x="959538" y="644856"/>
                </a:cubicBezTo>
                <a:close/>
                <a:moveTo>
                  <a:pt x="113561" y="644856"/>
                </a:moveTo>
                <a:cubicBezTo>
                  <a:pt x="137681" y="644856"/>
                  <a:pt x="159790" y="651894"/>
                  <a:pt x="177880" y="664965"/>
                </a:cubicBezTo>
                <a:cubicBezTo>
                  <a:pt x="177880" y="664965"/>
                  <a:pt x="177880" y="664965"/>
                  <a:pt x="177880" y="646867"/>
                </a:cubicBezTo>
                <a:cubicBezTo>
                  <a:pt x="177880" y="646867"/>
                  <a:pt x="177880" y="646867"/>
                  <a:pt x="232148" y="646867"/>
                </a:cubicBezTo>
                <a:cubicBezTo>
                  <a:pt x="232148" y="646867"/>
                  <a:pt x="232148" y="646867"/>
                  <a:pt x="232148" y="867062"/>
                </a:cubicBezTo>
                <a:cubicBezTo>
                  <a:pt x="232148" y="867062"/>
                  <a:pt x="232148" y="867062"/>
                  <a:pt x="177880" y="867062"/>
                </a:cubicBezTo>
                <a:cubicBezTo>
                  <a:pt x="177880" y="867062"/>
                  <a:pt x="177880" y="867062"/>
                  <a:pt x="177880" y="850975"/>
                </a:cubicBezTo>
                <a:cubicBezTo>
                  <a:pt x="159790" y="864046"/>
                  <a:pt x="137681" y="871084"/>
                  <a:pt x="113561" y="871084"/>
                </a:cubicBezTo>
                <a:cubicBezTo>
                  <a:pt x="50248" y="871084"/>
                  <a:pt x="0" y="820811"/>
                  <a:pt x="0" y="757467"/>
                </a:cubicBezTo>
                <a:cubicBezTo>
                  <a:pt x="0" y="695129"/>
                  <a:pt x="50248" y="644856"/>
                  <a:pt x="113561" y="644856"/>
                </a:cubicBezTo>
                <a:close/>
                <a:moveTo>
                  <a:pt x="332788" y="397484"/>
                </a:moveTo>
                <a:lnTo>
                  <a:pt x="433005" y="572547"/>
                </a:lnTo>
                <a:lnTo>
                  <a:pt x="433807" y="572547"/>
                </a:lnTo>
                <a:cubicBezTo>
                  <a:pt x="436346" y="572547"/>
                  <a:pt x="446503" y="572547"/>
                  <a:pt x="487130" y="572547"/>
                </a:cubicBezTo>
                <a:cubicBezTo>
                  <a:pt x="487130" y="572547"/>
                  <a:pt x="487130" y="572547"/>
                  <a:pt x="487130" y="867063"/>
                </a:cubicBezTo>
                <a:cubicBezTo>
                  <a:pt x="487130" y="867063"/>
                  <a:pt x="487130" y="867063"/>
                  <a:pt x="432961" y="867063"/>
                </a:cubicBezTo>
                <a:cubicBezTo>
                  <a:pt x="432961" y="867063"/>
                  <a:pt x="432961" y="867063"/>
                  <a:pt x="432961" y="850981"/>
                </a:cubicBezTo>
                <a:cubicBezTo>
                  <a:pt x="414904" y="864048"/>
                  <a:pt x="392835" y="871084"/>
                  <a:pt x="368760" y="871084"/>
                </a:cubicBezTo>
                <a:cubicBezTo>
                  <a:pt x="305562" y="871084"/>
                  <a:pt x="255405" y="820825"/>
                  <a:pt x="255405" y="757499"/>
                </a:cubicBezTo>
                <a:cubicBezTo>
                  <a:pt x="255405" y="695178"/>
                  <a:pt x="305562" y="644920"/>
                  <a:pt x="368760" y="644920"/>
                </a:cubicBezTo>
                <a:cubicBezTo>
                  <a:pt x="392835" y="644920"/>
                  <a:pt x="414904" y="651956"/>
                  <a:pt x="432961" y="665023"/>
                </a:cubicBezTo>
                <a:cubicBezTo>
                  <a:pt x="432961" y="665023"/>
                  <a:pt x="432961" y="665023"/>
                  <a:pt x="432961" y="572547"/>
                </a:cubicBezTo>
                <a:lnTo>
                  <a:pt x="178868" y="572547"/>
                </a:lnTo>
                <a:lnTo>
                  <a:pt x="141657" y="507004"/>
                </a:lnTo>
                <a:close/>
                <a:moveTo>
                  <a:pt x="555633" y="200856"/>
                </a:moveTo>
                <a:lnTo>
                  <a:pt x="769599" y="572547"/>
                </a:lnTo>
                <a:lnTo>
                  <a:pt x="770304" y="572547"/>
                </a:lnTo>
                <a:cubicBezTo>
                  <a:pt x="772848" y="572547"/>
                  <a:pt x="783023" y="572547"/>
                  <a:pt x="823724" y="572547"/>
                </a:cubicBezTo>
                <a:cubicBezTo>
                  <a:pt x="823724" y="572547"/>
                  <a:pt x="823724" y="572547"/>
                  <a:pt x="823724" y="867063"/>
                </a:cubicBezTo>
                <a:cubicBezTo>
                  <a:pt x="823724" y="867063"/>
                  <a:pt x="823724" y="867063"/>
                  <a:pt x="769456" y="867063"/>
                </a:cubicBezTo>
                <a:cubicBezTo>
                  <a:pt x="769456" y="867063"/>
                  <a:pt x="769456" y="867063"/>
                  <a:pt x="769456" y="850981"/>
                </a:cubicBezTo>
                <a:cubicBezTo>
                  <a:pt x="751366" y="864048"/>
                  <a:pt x="728252" y="871084"/>
                  <a:pt x="704133" y="871084"/>
                </a:cubicBezTo>
                <a:cubicBezTo>
                  <a:pt x="641825" y="871084"/>
                  <a:pt x="591576" y="820825"/>
                  <a:pt x="591576" y="757499"/>
                </a:cubicBezTo>
                <a:cubicBezTo>
                  <a:pt x="591576" y="695178"/>
                  <a:pt x="641825" y="644920"/>
                  <a:pt x="704133" y="644920"/>
                </a:cubicBezTo>
                <a:cubicBezTo>
                  <a:pt x="728252" y="644920"/>
                  <a:pt x="751366" y="651956"/>
                  <a:pt x="769456" y="665023"/>
                </a:cubicBezTo>
                <a:cubicBezTo>
                  <a:pt x="769456" y="665023"/>
                  <a:pt x="769456" y="665023"/>
                  <a:pt x="769456" y="572547"/>
                </a:cubicBezTo>
                <a:lnTo>
                  <a:pt x="568742" y="572547"/>
                </a:lnTo>
                <a:lnTo>
                  <a:pt x="568742" y="626672"/>
                </a:lnTo>
                <a:lnTo>
                  <a:pt x="514616" y="626672"/>
                </a:lnTo>
                <a:lnTo>
                  <a:pt x="514616" y="572547"/>
                </a:lnTo>
                <a:lnTo>
                  <a:pt x="364925" y="310799"/>
                </a:lnTo>
                <a:close/>
                <a:moveTo>
                  <a:pt x="775519" y="0"/>
                </a:moveTo>
                <a:lnTo>
                  <a:pt x="1106192" y="572547"/>
                </a:lnTo>
                <a:lnTo>
                  <a:pt x="850787" y="572547"/>
                </a:lnTo>
                <a:lnTo>
                  <a:pt x="585656" y="110366"/>
                </a:lnTo>
                <a:close/>
              </a:path>
            </a:pathLst>
          </a:custGeom>
          <a:solidFill>
            <a:schemeClr val="bg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Tree>
    <p:extLst>
      <p:ext uri="{BB962C8B-B14F-4D97-AF65-F5344CB8AC3E}">
        <p14:creationId xmlns:p14="http://schemas.microsoft.com/office/powerpoint/2010/main" val="1155013421"/>
      </p:ext>
    </p:extLst>
  </p:cSld>
  <p:clrMapOvr>
    <a:masterClrMapping/>
  </p:clrMapOvr>
  <p:transition>
    <p:fade/>
  </p:transition>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F50423A5-26E1-44EC-A20A-3492C942C7D4}"/>
              </a:ext>
            </a:extLst>
          </p:cNvPr>
          <p:cNvSpPr>
            <a:spLocks noGrp="1"/>
          </p:cNvSpPr>
          <p:nvPr>
            <p:ph type="pic" sz="quarter" idx="15"/>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007FC5"/>
          </a:solidFill>
          <a:ln>
            <a:noFill/>
          </a:ln>
        </p:spPr>
        <p:txBody>
          <a:bodyPr tIns="0" anchor="ctr" anchorCtr="0"/>
          <a:lstStyle>
            <a:lvl1pPr algn="ctr">
              <a:lnSpc>
                <a:spcPct val="100000"/>
              </a:lnSpc>
              <a:spcAft>
                <a:spcPts val="0"/>
              </a:spcAft>
              <a:defRPr sz="1058">
                <a:solidFill>
                  <a:schemeClr val="bg1"/>
                </a:solidFill>
              </a:defRPr>
            </a:lvl1pPr>
          </a:lstStyle>
          <a:p>
            <a:pPr lvl="0"/>
            <a:r>
              <a:rPr lang="en-US" noProof="0"/>
              <a:t>Click icon to add picture</a:t>
            </a:r>
          </a:p>
        </p:txBody>
      </p:sp>
      <p:sp>
        <p:nvSpPr>
          <p:cNvPr id="86" name="Text Placeholder 85">
            <a:extLst>
              <a:ext uri="{FF2B5EF4-FFF2-40B4-BE49-F238E27FC236}">
                <a16:creationId xmlns:a16="http://schemas.microsoft.com/office/drawing/2014/main" id="{66357334-A6F0-47AA-BEF2-8EAC464113D6}"/>
              </a:ext>
            </a:extLst>
          </p:cNvPr>
          <p:cNvSpPr>
            <a:spLocks noGrp="1" noChangeAspect="1"/>
          </p:cNvSpPr>
          <p:nvPr>
            <p:ph type="body" sz="quarter" idx="17" hasCustomPrompt="1"/>
          </p:nvPr>
        </p:nvSpPr>
        <p:spPr bwMode="gray">
          <a:xfrm>
            <a:off x="8953674" y="3667652"/>
            <a:ext cx="1714605" cy="1666062"/>
          </a:xfrm>
          <a:custGeom>
            <a:avLst/>
            <a:gdLst>
              <a:gd name="connsiteX0" fmla="*/ 955140 w 1289296"/>
              <a:gd name="connsiteY0" fmla="*/ 1076565 h 1253058"/>
              <a:gd name="connsiteX1" fmla="*/ 891054 w 1289296"/>
              <a:gd name="connsiteY1" fmla="*/ 1139771 h 1253058"/>
              <a:gd name="connsiteX2" fmla="*/ 955140 w 1289296"/>
              <a:gd name="connsiteY2" fmla="*/ 1201957 h 1253058"/>
              <a:gd name="connsiteX3" fmla="*/ 1015157 w 1289296"/>
              <a:gd name="connsiteY3" fmla="*/ 1139771 h 1253058"/>
              <a:gd name="connsiteX4" fmla="*/ 955140 w 1289296"/>
              <a:gd name="connsiteY4" fmla="*/ 1076565 h 1253058"/>
              <a:gd name="connsiteX5" fmla="*/ 703316 w 1289296"/>
              <a:gd name="connsiteY5" fmla="*/ 1076565 h 1253058"/>
              <a:gd name="connsiteX6" fmla="*/ 641129 w 1289296"/>
              <a:gd name="connsiteY6" fmla="*/ 1139771 h 1253058"/>
              <a:gd name="connsiteX7" fmla="*/ 703316 w 1289296"/>
              <a:gd name="connsiteY7" fmla="*/ 1201957 h 1253058"/>
              <a:gd name="connsiteX8" fmla="*/ 766521 w 1289296"/>
              <a:gd name="connsiteY8" fmla="*/ 1139771 h 1253058"/>
              <a:gd name="connsiteX9" fmla="*/ 703316 w 1289296"/>
              <a:gd name="connsiteY9" fmla="*/ 1076565 h 1253058"/>
              <a:gd name="connsiteX10" fmla="*/ 368473 w 1289296"/>
              <a:gd name="connsiteY10" fmla="*/ 1076565 h 1253058"/>
              <a:gd name="connsiteX11" fmla="*/ 303173 w 1289296"/>
              <a:gd name="connsiteY11" fmla="*/ 1139771 h 1253058"/>
              <a:gd name="connsiteX12" fmla="*/ 368473 w 1289296"/>
              <a:gd name="connsiteY12" fmla="*/ 1201957 h 1253058"/>
              <a:gd name="connsiteX13" fmla="*/ 430712 w 1289296"/>
              <a:gd name="connsiteY13" fmla="*/ 1139771 h 1253058"/>
              <a:gd name="connsiteX14" fmla="*/ 368473 w 1289296"/>
              <a:gd name="connsiteY14" fmla="*/ 1076565 h 1253058"/>
              <a:gd name="connsiteX15" fmla="*/ 115568 w 1289296"/>
              <a:gd name="connsiteY15" fmla="*/ 1076565 h 1253058"/>
              <a:gd name="connsiteX16" fmla="*/ 53249 w 1289296"/>
              <a:gd name="connsiteY16" fmla="*/ 1139771 h 1253058"/>
              <a:gd name="connsiteX17" fmla="*/ 115568 w 1289296"/>
              <a:gd name="connsiteY17" fmla="*/ 1201957 h 1253058"/>
              <a:gd name="connsiteX18" fmla="*/ 179929 w 1289296"/>
              <a:gd name="connsiteY18" fmla="*/ 1139771 h 1253058"/>
              <a:gd name="connsiteX19" fmla="*/ 115568 w 1289296"/>
              <a:gd name="connsiteY19" fmla="*/ 1076565 h 1253058"/>
              <a:gd name="connsiteX20" fmla="*/ 512302 w 1289296"/>
              <a:gd name="connsiteY20" fmla="*/ 1029328 h 1253058"/>
              <a:gd name="connsiteX21" fmla="*/ 565551 w 1289296"/>
              <a:gd name="connsiteY21" fmla="*/ 1029328 h 1253058"/>
              <a:gd name="connsiteX22" fmla="*/ 565551 w 1289296"/>
              <a:gd name="connsiteY22" fmla="*/ 1247905 h 1253058"/>
              <a:gd name="connsiteX23" fmla="*/ 512302 w 1289296"/>
              <a:gd name="connsiteY23" fmla="*/ 1247905 h 1253058"/>
              <a:gd name="connsiteX24" fmla="*/ 1186657 w 1289296"/>
              <a:gd name="connsiteY24" fmla="*/ 1026322 h 1253058"/>
              <a:gd name="connsiteX25" fmla="*/ 1279516 w 1289296"/>
              <a:gd name="connsiteY25" fmla="*/ 1097815 h 1253058"/>
              <a:gd name="connsiteX26" fmla="*/ 1224413 w 1289296"/>
              <a:gd name="connsiteY26" fmla="*/ 1097815 h 1253058"/>
              <a:gd name="connsiteX27" fmla="*/ 1188698 w 1289296"/>
              <a:gd name="connsiteY27" fmla="*/ 1068197 h 1253058"/>
              <a:gd name="connsiteX28" fmla="*/ 1150942 w 1289296"/>
              <a:gd name="connsiteY28" fmla="*/ 1087602 h 1253058"/>
              <a:gd name="connsiteX29" fmla="*/ 1232576 w 1289296"/>
              <a:gd name="connsiteY29" fmla="*/ 1118242 h 1253058"/>
              <a:gd name="connsiteX30" fmla="*/ 1288700 w 1289296"/>
              <a:gd name="connsiteY30" fmla="*/ 1177479 h 1253058"/>
              <a:gd name="connsiteX31" fmla="*/ 1189718 w 1289296"/>
              <a:gd name="connsiteY31" fmla="*/ 1253058 h 1253058"/>
              <a:gd name="connsiteX32" fmla="*/ 1090736 w 1289296"/>
              <a:gd name="connsiteY32" fmla="*/ 1177479 h 1253058"/>
              <a:gd name="connsiteX33" fmla="*/ 1147880 w 1289296"/>
              <a:gd name="connsiteY33" fmla="*/ 1177479 h 1253058"/>
              <a:gd name="connsiteX34" fmla="*/ 1192780 w 1289296"/>
              <a:gd name="connsiteY34" fmla="*/ 1212205 h 1253058"/>
              <a:gd name="connsiteX35" fmla="*/ 1229515 w 1289296"/>
              <a:gd name="connsiteY35" fmla="*/ 1186671 h 1253058"/>
              <a:gd name="connsiteX36" fmla="*/ 1182575 w 1289296"/>
              <a:gd name="connsiteY36" fmla="*/ 1165223 h 1253058"/>
              <a:gd name="connsiteX37" fmla="*/ 1126451 w 1289296"/>
              <a:gd name="connsiteY37" fmla="*/ 1149903 h 1253058"/>
              <a:gd name="connsiteX38" fmla="*/ 1095838 w 1289296"/>
              <a:gd name="connsiteY38" fmla="*/ 1096794 h 1253058"/>
              <a:gd name="connsiteX39" fmla="*/ 1186657 w 1289296"/>
              <a:gd name="connsiteY39" fmla="*/ 1026322 h 1253058"/>
              <a:gd name="connsiteX40" fmla="*/ 952138 w 1289296"/>
              <a:gd name="connsiteY40" fmla="*/ 1026322 h 1253058"/>
              <a:gd name="connsiteX41" fmla="*/ 1015429 w 1289296"/>
              <a:gd name="connsiteY41" fmla="*/ 1045727 h 1253058"/>
              <a:gd name="connsiteX42" fmla="*/ 1015429 w 1289296"/>
              <a:gd name="connsiteY42" fmla="*/ 1029386 h 1253058"/>
              <a:gd name="connsiteX43" fmla="*/ 1070553 w 1289296"/>
              <a:gd name="connsiteY43" fmla="*/ 1029386 h 1253058"/>
              <a:gd name="connsiteX44" fmla="*/ 1070553 w 1289296"/>
              <a:gd name="connsiteY44" fmla="*/ 1247951 h 1253058"/>
              <a:gd name="connsiteX45" fmla="*/ 1015429 w 1289296"/>
              <a:gd name="connsiteY45" fmla="*/ 1247951 h 1253058"/>
              <a:gd name="connsiteX46" fmla="*/ 1015429 w 1289296"/>
              <a:gd name="connsiteY46" fmla="*/ 1233653 h 1253058"/>
              <a:gd name="connsiteX47" fmla="*/ 952138 w 1289296"/>
              <a:gd name="connsiteY47" fmla="*/ 1253058 h 1253058"/>
              <a:gd name="connsiteX48" fmla="*/ 837805 w 1289296"/>
              <a:gd name="connsiteY48" fmla="*/ 1139690 h 1253058"/>
              <a:gd name="connsiteX49" fmla="*/ 952138 w 1289296"/>
              <a:gd name="connsiteY49" fmla="*/ 1026322 h 1253058"/>
              <a:gd name="connsiteX50" fmla="*/ 113441 w 1289296"/>
              <a:gd name="connsiteY50" fmla="*/ 1026322 h 1253058"/>
              <a:gd name="connsiteX51" fmla="*/ 179871 w 1289296"/>
              <a:gd name="connsiteY51" fmla="*/ 1045727 h 1253058"/>
              <a:gd name="connsiteX52" fmla="*/ 179871 w 1289296"/>
              <a:gd name="connsiteY52" fmla="*/ 1029386 h 1253058"/>
              <a:gd name="connsiteX53" fmla="*/ 234036 w 1289296"/>
              <a:gd name="connsiteY53" fmla="*/ 1029386 h 1253058"/>
              <a:gd name="connsiteX54" fmla="*/ 234036 w 1289296"/>
              <a:gd name="connsiteY54" fmla="*/ 1247951 h 1253058"/>
              <a:gd name="connsiteX55" fmla="*/ 179871 w 1289296"/>
              <a:gd name="connsiteY55" fmla="*/ 1247951 h 1253058"/>
              <a:gd name="connsiteX56" fmla="*/ 179871 w 1289296"/>
              <a:gd name="connsiteY56" fmla="*/ 1233653 h 1253058"/>
              <a:gd name="connsiteX57" fmla="*/ 113441 w 1289296"/>
              <a:gd name="connsiteY57" fmla="*/ 1253058 h 1253058"/>
              <a:gd name="connsiteX58" fmla="*/ 0 w 1289296"/>
              <a:gd name="connsiteY58" fmla="*/ 1139690 h 1253058"/>
              <a:gd name="connsiteX59" fmla="*/ 113441 w 1289296"/>
              <a:gd name="connsiteY59" fmla="*/ 1026322 h 1253058"/>
              <a:gd name="connsiteX60" fmla="*/ 766282 w 1289296"/>
              <a:gd name="connsiteY60" fmla="*/ 954179 h 1253058"/>
              <a:gd name="connsiteX61" fmla="*/ 819340 w 1289296"/>
              <a:gd name="connsiteY61" fmla="*/ 954179 h 1253058"/>
              <a:gd name="connsiteX62" fmla="*/ 819340 w 1289296"/>
              <a:gd name="connsiteY62" fmla="*/ 1247958 h 1253058"/>
              <a:gd name="connsiteX63" fmla="*/ 766282 w 1289296"/>
              <a:gd name="connsiteY63" fmla="*/ 1247958 h 1253058"/>
              <a:gd name="connsiteX64" fmla="*/ 766282 w 1289296"/>
              <a:gd name="connsiteY64" fmla="*/ 1233677 h 1253058"/>
              <a:gd name="connsiteX65" fmla="*/ 702000 w 1289296"/>
              <a:gd name="connsiteY65" fmla="*/ 1253058 h 1253058"/>
              <a:gd name="connsiteX66" fmla="*/ 588740 w 1289296"/>
              <a:gd name="connsiteY66" fmla="*/ 1139831 h 1253058"/>
              <a:gd name="connsiteX67" fmla="*/ 702000 w 1289296"/>
              <a:gd name="connsiteY67" fmla="*/ 1026604 h 1253058"/>
              <a:gd name="connsiteX68" fmla="*/ 766282 w 1289296"/>
              <a:gd name="connsiteY68" fmla="*/ 1045985 h 1253058"/>
              <a:gd name="connsiteX69" fmla="*/ 766282 w 1289296"/>
              <a:gd name="connsiteY69" fmla="*/ 954179 h 1253058"/>
              <a:gd name="connsiteX70" fmla="*/ 512302 w 1289296"/>
              <a:gd name="connsiteY70" fmla="*/ 954179 h 1253058"/>
              <a:gd name="connsiteX71" fmla="*/ 565551 w 1289296"/>
              <a:gd name="connsiteY71" fmla="*/ 954179 h 1253058"/>
              <a:gd name="connsiteX72" fmla="*/ 565551 w 1289296"/>
              <a:gd name="connsiteY72" fmla="*/ 1009145 h 1253058"/>
              <a:gd name="connsiteX73" fmla="*/ 512302 w 1289296"/>
              <a:gd name="connsiteY73" fmla="*/ 1009145 h 1253058"/>
              <a:gd name="connsiteX74" fmla="*/ 430753 w 1289296"/>
              <a:gd name="connsiteY74" fmla="*/ 954179 h 1253058"/>
              <a:gd name="connsiteX75" fmla="*/ 484819 w 1289296"/>
              <a:gd name="connsiteY75" fmla="*/ 954179 h 1253058"/>
              <a:gd name="connsiteX76" fmla="*/ 484819 w 1289296"/>
              <a:gd name="connsiteY76" fmla="*/ 1247958 h 1253058"/>
              <a:gd name="connsiteX77" fmla="*/ 430753 w 1289296"/>
              <a:gd name="connsiteY77" fmla="*/ 1247958 h 1253058"/>
              <a:gd name="connsiteX78" fmla="*/ 430753 w 1289296"/>
              <a:gd name="connsiteY78" fmla="*/ 1233677 h 1253058"/>
              <a:gd name="connsiteX79" fmla="*/ 365466 w 1289296"/>
              <a:gd name="connsiteY79" fmla="*/ 1253058 h 1253058"/>
              <a:gd name="connsiteX80" fmla="*/ 251213 w 1289296"/>
              <a:gd name="connsiteY80" fmla="*/ 1139831 h 1253058"/>
              <a:gd name="connsiteX81" fmla="*/ 365466 w 1289296"/>
              <a:gd name="connsiteY81" fmla="*/ 1026604 h 1253058"/>
              <a:gd name="connsiteX82" fmla="*/ 430753 w 1289296"/>
              <a:gd name="connsiteY82" fmla="*/ 1045985 h 1253058"/>
              <a:gd name="connsiteX83" fmla="*/ 430753 w 1289296"/>
              <a:gd name="connsiteY83" fmla="*/ 954179 h 1253058"/>
              <a:gd name="connsiteX84" fmla="*/ 743767 w 1289296"/>
              <a:gd name="connsiteY84" fmla="*/ 779403 h 1253058"/>
              <a:gd name="connsiteX85" fmla="*/ 1000985 w 1289296"/>
              <a:gd name="connsiteY85" fmla="*/ 779403 h 1253058"/>
              <a:gd name="connsiteX86" fmla="*/ 735601 w 1289296"/>
              <a:gd name="connsiteY86" fmla="*/ 886759 h 1253058"/>
              <a:gd name="connsiteX87" fmla="*/ 743767 w 1289296"/>
              <a:gd name="connsiteY87" fmla="*/ 779403 h 1253058"/>
              <a:gd name="connsiteX88" fmla="*/ 566409 w 1289296"/>
              <a:gd name="connsiteY88" fmla="*/ 779403 h 1253058"/>
              <a:gd name="connsiteX89" fmla="*/ 728731 w 1289296"/>
              <a:gd name="connsiteY89" fmla="*/ 779403 h 1253058"/>
              <a:gd name="connsiteX90" fmla="*/ 648081 w 1289296"/>
              <a:gd name="connsiteY90" fmla="*/ 893630 h 1253058"/>
              <a:gd name="connsiteX91" fmla="*/ 566409 w 1289296"/>
              <a:gd name="connsiteY91" fmla="*/ 779403 h 1253058"/>
              <a:gd name="connsiteX92" fmla="*/ 294154 w 1289296"/>
              <a:gd name="connsiteY92" fmla="*/ 779403 h 1253058"/>
              <a:gd name="connsiteX93" fmla="*/ 554013 w 1289296"/>
              <a:gd name="connsiteY93" fmla="*/ 779403 h 1253058"/>
              <a:gd name="connsiteX94" fmla="*/ 558089 w 1289296"/>
              <a:gd name="connsiteY94" fmla="*/ 886759 h 1253058"/>
              <a:gd name="connsiteX95" fmla="*/ 294154 w 1289296"/>
              <a:gd name="connsiteY95" fmla="*/ 779403 h 1253058"/>
              <a:gd name="connsiteX96" fmla="*/ 178639 w 1289296"/>
              <a:gd name="connsiteY96" fmla="*/ 685788 h 1253058"/>
              <a:gd name="connsiteX97" fmla="*/ 1116500 w 1289296"/>
              <a:gd name="connsiteY97" fmla="*/ 685788 h 1253058"/>
              <a:gd name="connsiteX98" fmla="*/ 1064454 w 1289296"/>
              <a:gd name="connsiteY98" fmla="*/ 731736 h 1253058"/>
              <a:gd name="connsiteX99" fmla="*/ 226603 w 1289296"/>
              <a:gd name="connsiteY99" fmla="*/ 731736 h 1253058"/>
              <a:gd name="connsiteX100" fmla="*/ 178639 w 1289296"/>
              <a:gd name="connsiteY100" fmla="*/ 685788 h 1253058"/>
              <a:gd name="connsiteX101" fmla="*/ 103061 w 1289296"/>
              <a:gd name="connsiteY101" fmla="*/ 583586 h 1253058"/>
              <a:gd name="connsiteX102" fmla="*/ 1192938 w 1289296"/>
              <a:gd name="connsiteY102" fmla="*/ 583586 h 1253058"/>
              <a:gd name="connsiteX103" fmla="*/ 1158242 w 1289296"/>
              <a:gd name="connsiteY103" fmla="*/ 633829 h 1253058"/>
              <a:gd name="connsiteX104" fmla="*/ 136737 w 1289296"/>
              <a:gd name="connsiteY104" fmla="*/ 633829 h 1253058"/>
              <a:gd name="connsiteX105" fmla="*/ 103061 w 1289296"/>
              <a:gd name="connsiteY105" fmla="*/ 583586 h 1253058"/>
              <a:gd name="connsiteX106" fmla="*/ 1287839 w 1289296"/>
              <a:gd name="connsiteY106" fmla="*/ 249924 h 1253058"/>
              <a:gd name="connsiteX107" fmla="*/ 1218479 w 1289296"/>
              <a:gd name="connsiteY107" fmla="*/ 535920 h 1253058"/>
              <a:gd name="connsiteX108" fmla="*/ 842098 w 1289296"/>
              <a:gd name="connsiteY108" fmla="*/ 535920 h 1253058"/>
              <a:gd name="connsiteX109" fmla="*/ 894118 w 1289296"/>
              <a:gd name="connsiteY109" fmla="*/ 465443 h 1253058"/>
              <a:gd name="connsiteX110" fmla="*/ 1287839 w 1289296"/>
              <a:gd name="connsiteY110" fmla="*/ 249924 h 1253058"/>
              <a:gd name="connsiteX111" fmla="*/ 9286 w 1289296"/>
              <a:gd name="connsiteY111" fmla="*/ 249924 h 1253058"/>
              <a:gd name="connsiteX112" fmla="*/ 404027 w 1289296"/>
              <a:gd name="connsiteY112" fmla="*/ 465443 h 1253058"/>
              <a:gd name="connsiteX113" fmla="*/ 456047 w 1289296"/>
              <a:gd name="connsiteY113" fmla="*/ 535920 h 1253058"/>
              <a:gd name="connsiteX114" fmla="*/ 77626 w 1289296"/>
              <a:gd name="connsiteY114" fmla="*/ 535920 h 1253058"/>
              <a:gd name="connsiteX115" fmla="*/ 9286 w 1289296"/>
              <a:gd name="connsiteY115" fmla="*/ 249924 h 1253058"/>
              <a:gd name="connsiteX116" fmla="*/ 647919 w 1289296"/>
              <a:gd name="connsiteY116" fmla="*/ 0 h 1253058"/>
              <a:gd name="connsiteX117" fmla="*/ 816334 w 1289296"/>
              <a:gd name="connsiteY117" fmla="*/ 445070 h 1253058"/>
              <a:gd name="connsiteX118" fmla="*/ 811231 w 1289296"/>
              <a:gd name="connsiteY118" fmla="*/ 535921 h 1253058"/>
              <a:gd name="connsiteX119" fmla="*/ 484608 w 1289296"/>
              <a:gd name="connsiteY119" fmla="*/ 535921 h 1253058"/>
              <a:gd name="connsiteX120" fmla="*/ 480525 w 1289296"/>
              <a:gd name="connsiteY120" fmla="*/ 445070 h 1253058"/>
              <a:gd name="connsiteX121" fmla="*/ 647919 w 1289296"/>
              <a:gd name="connsiteY121" fmla="*/ 0 h 125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89296" h="1253058">
                <a:moveTo>
                  <a:pt x="955140" y="1076565"/>
                </a:moveTo>
                <a:cubicBezTo>
                  <a:pt x="920554" y="1076565"/>
                  <a:pt x="891054" y="1105110"/>
                  <a:pt x="891054" y="1139771"/>
                </a:cubicBezTo>
                <a:cubicBezTo>
                  <a:pt x="891054" y="1173413"/>
                  <a:pt x="920554" y="1201957"/>
                  <a:pt x="955140" y="1201957"/>
                </a:cubicBezTo>
                <a:cubicBezTo>
                  <a:pt x="987692" y="1201957"/>
                  <a:pt x="1015157" y="1173413"/>
                  <a:pt x="1015157" y="1139771"/>
                </a:cubicBezTo>
                <a:cubicBezTo>
                  <a:pt x="1015157" y="1105110"/>
                  <a:pt x="987692" y="1076565"/>
                  <a:pt x="955140" y="1076565"/>
                </a:cubicBezTo>
                <a:close/>
                <a:moveTo>
                  <a:pt x="703316" y="1076565"/>
                </a:moveTo>
                <a:cubicBezTo>
                  <a:pt x="669674" y="1076565"/>
                  <a:pt x="641129" y="1105110"/>
                  <a:pt x="641129" y="1139771"/>
                </a:cubicBezTo>
                <a:cubicBezTo>
                  <a:pt x="641129" y="1173413"/>
                  <a:pt x="669674" y="1201957"/>
                  <a:pt x="703316" y="1201957"/>
                </a:cubicBezTo>
                <a:cubicBezTo>
                  <a:pt x="736957" y="1201957"/>
                  <a:pt x="766521" y="1173413"/>
                  <a:pt x="766521" y="1139771"/>
                </a:cubicBezTo>
                <a:cubicBezTo>
                  <a:pt x="766521" y="1105110"/>
                  <a:pt x="736957" y="1076565"/>
                  <a:pt x="703316" y="1076565"/>
                </a:cubicBezTo>
                <a:close/>
                <a:moveTo>
                  <a:pt x="368473" y="1076565"/>
                </a:moveTo>
                <a:cubicBezTo>
                  <a:pt x="332762" y="1076565"/>
                  <a:pt x="303173" y="1105110"/>
                  <a:pt x="303173" y="1139771"/>
                </a:cubicBezTo>
                <a:cubicBezTo>
                  <a:pt x="303173" y="1173413"/>
                  <a:pt x="332762" y="1201957"/>
                  <a:pt x="368473" y="1201957"/>
                </a:cubicBezTo>
                <a:cubicBezTo>
                  <a:pt x="401123" y="1201957"/>
                  <a:pt x="430712" y="1173413"/>
                  <a:pt x="430712" y="1139771"/>
                </a:cubicBezTo>
                <a:cubicBezTo>
                  <a:pt x="430712" y="1105110"/>
                  <a:pt x="401123" y="1076565"/>
                  <a:pt x="368473" y="1076565"/>
                </a:cubicBezTo>
                <a:close/>
                <a:moveTo>
                  <a:pt x="115568" y="1076565"/>
                </a:moveTo>
                <a:cubicBezTo>
                  <a:pt x="81854" y="1076565"/>
                  <a:pt x="53249" y="1105110"/>
                  <a:pt x="53249" y="1139771"/>
                </a:cubicBezTo>
                <a:cubicBezTo>
                  <a:pt x="53249" y="1173413"/>
                  <a:pt x="81854" y="1201957"/>
                  <a:pt x="115568" y="1201957"/>
                </a:cubicBezTo>
                <a:cubicBezTo>
                  <a:pt x="151324" y="1201957"/>
                  <a:pt x="179929" y="1173413"/>
                  <a:pt x="179929" y="1139771"/>
                </a:cubicBezTo>
                <a:cubicBezTo>
                  <a:pt x="179929" y="1105110"/>
                  <a:pt x="151324" y="1076565"/>
                  <a:pt x="115568" y="1076565"/>
                </a:cubicBezTo>
                <a:close/>
                <a:moveTo>
                  <a:pt x="512302" y="1029328"/>
                </a:moveTo>
                <a:lnTo>
                  <a:pt x="565551" y="1029328"/>
                </a:lnTo>
                <a:lnTo>
                  <a:pt x="565551" y="1247905"/>
                </a:lnTo>
                <a:lnTo>
                  <a:pt x="512302" y="1247905"/>
                </a:lnTo>
                <a:close/>
                <a:moveTo>
                  <a:pt x="1186657" y="1026322"/>
                </a:moveTo>
                <a:cubicBezTo>
                  <a:pt x="1240740" y="1026322"/>
                  <a:pt x="1275435" y="1055941"/>
                  <a:pt x="1279516" y="1097815"/>
                </a:cubicBezTo>
                <a:cubicBezTo>
                  <a:pt x="1279516" y="1097815"/>
                  <a:pt x="1279516" y="1097815"/>
                  <a:pt x="1224413" y="1097815"/>
                </a:cubicBezTo>
                <a:cubicBezTo>
                  <a:pt x="1223393" y="1086581"/>
                  <a:pt x="1222372" y="1068197"/>
                  <a:pt x="1188698" y="1068197"/>
                </a:cubicBezTo>
                <a:cubicBezTo>
                  <a:pt x="1167269" y="1068197"/>
                  <a:pt x="1152983" y="1072282"/>
                  <a:pt x="1150942" y="1087602"/>
                </a:cubicBezTo>
                <a:cubicBezTo>
                  <a:pt x="1150942" y="1110071"/>
                  <a:pt x="1196861" y="1109050"/>
                  <a:pt x="1232576" y="1118242"/>
                </a:cubicBezTo>
                <a:cubicBezTo>
                  <a:pt x="1266251" y="1127434"/>
                  <a:pt x="1288700" y="1147861"/>
                  <a:pt x="1288700" y="1177479"/>
                </a:cubicBezTo>
                <a:cubicBezTo>
                  <a:pt x="1288700" y="1231610"/>
                  <a:pt x="1243801" y="1253058"/>
                  <a:pt x="1189718" y="1253058"/>
                </a:cubicBezTo>
                <a:cubicBezTo>
                  <a:pt x="1129513" y="1253058"/>
                  <a:pt x="1091757" y="1222418"/>
                  <a:pt x="1090736" y="1177479"/>
                </a:cubicBezTo>
                <a:cubicBezTo>
                  <a:pt x="1090736" y="1177479"/>
                  <a:pt x="1090736" y="1177479"/>
                  <a:pt x="1147880" y="1177479"/>
                </a:cubicBezTo>
                <a:cubicBezTo>
                  <a:pt x="1147880" y="1191778"/>
                  <a:pt x="1156044" y="1212205"/>
                  <a:pt x="1192780" y="1212205"/>
                </a:cubicBezTo>
                <a:cubicBezTo>
                  <a:pt x="1218290" y="1212205"/>
                  <a:pt x="1229515" y="1197906"/>
                  <a:pt x="1229515" y="1186671"/>
                </a:cubicBezTo>
                <a:cubicBezTo>
                  <a:pt x="1228495" y="1170330"/>
                  <a:pt x="1207066" y="1167266"/>
                  <a:pt x="1182575" y="1165223"/>
                </a:cubicBezTo>
                <a:cubicBezTo>
                  <a:pt x="1160126" y="1161138"/>
                  <a:pt x="1140737" y="1156031"/>
                  <a:pt x="1126451" y="1149903"/>
                </a:cubicBezTo>
                <a:cubicBezTo>
                  <a:pt x="1107063" y="1139690"/>
                  <a:pt x="1095838" y="1119263"/>
                  <a:pt x="1095838" y="1096794"/>
                </a:cubicBezTo>
                <a:cubicBezTo>
                  <a:pt x="1095838" y="1056962"/>
                  <a:pt x="1129513" y="1026322"/>
                  <a:pt x="1186657" y="1026322"/>
                </a:cubicBezTo>
                <a:close/>
                <a:moveTo>
                  <a:pt x="952138" y="1026322"/>
                </a:moveTo>
                <a:cubicBezTo>
                  <a:pt x="976637" y="1026322"/>
                  <a:pt x="998075" y="1032450"/>
                  <a:pt x="1015429" y="1045727"/>
                </a:cubicBezTo>
                <a:cubicBezTo>
                  <a:pt x="1015429" y="1029386"/>
                  <a:pt x="1015429" y="1029386"/>
                  <a:pt x="1015429" y="1029386"/>
                </a:cubicBezTo>
                <a:cubicBezTo>
                  <a:pt x="1070553" y="1029386"/>
                  <a:pt x="1070553" y="1029386"/>
                  <a:pt x="1070553" y="1029386"/>
                </a:cubicBezTo>
                <a:cubicBezTo>
                  <a:pt x="1070553" y="1247951"/>
                  <a:pt x="1070553" y="1247951"/>
                  <a:pt x="1070553" y="1247951"/>
                </a:cubicBezTo>
                <a:cubicBezTo>
                  <a:pt x="1015429" y="1247951"/>
                  <a:pt x="1015429" y="1247951"/>
                  <a:pt x="1015429" y="1247951"/>
                </a:cubicBezTo>
                <a:cubicBezTo>
                  <a:pt x="1015429" y="1233653"/>
                  <a:pt x="1015429" y="1233653"/>
                  <a:pt x="1015429" y="1233653"/>
                </a:cubicBezTo>
                <a:cubicBezTo>
                  <a:pt x="998075" y="1245909"/>
                  <a:pt x="976637" y="1253058"/>
                  <a:pt x="952138" y="1253058"/>
                </a:cubicBezTo>
                <a:cubicBezTo>
                  <a:pt x="889867" y="1253058"/>
                  <a:pt x="837805" y="1201991"/>
                  <a:pt x="837805" y="1139690"/>
                </a:cubicBezTo>
                <a:cubicBezTo>
                  <a:pt x="837805" y="1076367"/>
                  <a:pt x="889867" y="1026322"/>
                  <a:pt x="952138" y="1026322"/>
                </a:cubicBezTo>
                <a:close/>
                <a:moveTo>
                  <a:pt x="113441" y="1026322"/>
                </a:moveTo>
                <a:cubicBezTo>
                  <a:pt x="137969" y="1026322"/>
                  <a:pt x="161475" y="1032450"/>
                  <a:pt x="179871" y="1045727"/>
                </a:cubicBezTo>
                <a:cubicBezTo>
                  <a:pt x="179871" y="1029386"/>
                  <a:pt x="179871" y="1029386"/>
                  <a:pt x="179871" y="1029386"/>
                </a:cubicBezTo>
                <a:cubicBezTo>
                  <a:pt x="234036" y="1029386"/>
                  <a:pt x="234036" y="1029386"/>
                  <a:pt x="234036" y="1029386"/>
                </a:cubicBezTo>
                <a:cubicBezTo>
                  <a:pt x="234036" y="1247951"/>
                  <a:pt x="234036" y="1247951"/>
                  <a:pt x="234036" y="1247951"/>
                </a:cubicBezTo>
                <a:cubicBezTo>
                  <a:pt x="179871" y="1247951"/>
                  <a:pt x="179871" y="1247951"/>
                  <a:pt x="179871" y="1247951"/>
                </a:cubicBezTo>
                <a:cubicBezTo>
                  <a:pt x="179871" y="1233653"/>
                  <a:pt x="179871" y="1233653"/>
                  <a:pt x="179871" y="1233653"/>
                </a:cubicBezTo>
                <a:cubicBezTo>
                  <a:pt x="161475" y="1245909"/>
                  <a:pt x="138991" y="1253058"/>
                  <a:pt x="113441" y="1253058"/>
                </a:cubicBezTo>
                <a:cubicBezTo>
                  <a:pt x="51100" y="1253058"/>
                  <a:pt x="0" y="1201991"/>
                  <a:pt x="0" y="1139690"/>
                </a:cubicBezTo>
                <a:cubicBezTo>
                  <a:pt x="0" y="1076367"/>
                  <a:pt x="51100" y="1026322"/>
                  <a:pt x="113441" y="1026322"/>
                </a:cubicBezTo>
                <a:close/>
                <a:moveTo>
                  <a:pt x="766282" y="954179"/>
                </a:moveTo>
                <a:cubicBezTo>
                  <a:pt x="819340" y="954179"/>
                  <a:pt x="819340" y="954179"/>
                  <a:pt x="819340" y="954179"/>
                </a:cubicBezTo>
                <a:cubicBezTo>
                  <a:pt x="819340" y="1247958"/>
                  <a:pt x="819340" y="1247958"/>
                  <a:pt x="819340" y="1247958"/>
                </a:cubicBezTo>
                <a:cubicBezTo>
                  <a:pt x="766282" y="1247958"/>
                  <a:pt x="766282" y="1247958"/>
                  <a:pt x="766282" y="1247958"/>
                </a:cubicBezTo>
                <a:cubicBezTo>
                  <a:pt x="766282" y="1233677"/>
                  <a:pt x="766282" y="1233677"/>
                  <a:pt x="766282" y="1233677"/>
                </a:cubicBezTo>
                <a:cubicBezTo>
                  <a:pt x="748936" y="1245918"/>
                  <a:pt x="725468" y="1253058"/>
                  <a:pt x="702000" y="1253058"/>
                </a:cubicBezTo>
                <a:cubicBezTo>
                  <a:pt x="638738" y="1253058"/>
                  <a:pt x="588740" y="1202055"/>
                  <a:pt x="588740" y="1139831"/>
                </a:cubicBezTo>
                <a:cubicBezTo>
                  <a:pt x="588740" y="1076587"/>
                  <a:pt x="638738" y="1026604"/>
                  <a:pt x="702000" y="1026604"/>
                </a:cubicBezTo>
                <a:cubicBezTo>
                  <a:pt x="725468" y="1026604"/>
                  <a:pt x="746895" y="1032724"/>
                  <a:pt x="766282" y="1045985"/>
                </a:cubicBezTo>
                <a:cubicBezTo>
                  <a:pt x="766282" y="954179"/>
                  <a:pt x="766282" y="954179"/>
                  <a:pt x="766282" y="954179"/>
                </a:cubicBezTo>
                <a:close/>
                <a:moveTo>
                  <a:pt x="512302" y="954179"/>
                </a:moveTo>
                <a:lnTo>
                  <a:pt x="565551" y="954179"/>
                </a:lnTo>
                <a:lnTo>
                  <a:pt x="565551" y="1009145"/>
                </a:lnTo>
                <a:lnTo>
                  <a:pt x="512302" y="1009145"/>
                </a:lnTo>
                <a:close/>
                <a:moveTo>
                  <a:pt x="430753" y="954179"/>
                </a:moveTo>
                <a:cubicBezTo>
                  <a:pt x="484819" y="954179"/>
                  <a:pt x="484819" y="954179"/>
                  <a:pt x="484819" y="954179"/>
                </a:cubicBezTo>
                <a:cubicBezTo>
                  <a:pt x="484819" y="1247958"/>
                  <a:pt x="484819" y="1247958"/>
                  <a:pt x="484819" y="1247958"/>
                </a:cubicBezTo>
                <a:cubicBezTo>
                  <a:pt x="430753" y="1247958"/>
                  <a:pt x="430753" y="1247958"/>
                  <a:pt x="430753" y="1247958"/>
                </a:cubicBezTo>
                <a:cubicBezTo>
                  <a:pt x="430753" y="1233677"/>
                  <a:pt x="430753" y="1233677"/>
                  <a:pt x="430753" y="1233677"/>
                </a:cubicBezTo>
                <a:cubicBezTo>
                  <a:pt x="411371" y="1245918"/>
                  <a:pt x="389949" y="1253058"/>
                  <a:pt x="365466" y="1253058"/>
                </a:cubicBezTo>
                <a:cubicBezTo>
                  <a:pt x="303239" y="1253058"/>
                  <a:pt x="251213" y="1202055"/>
                  <a:pt x="251213" y="1139831"/>
                </a:cubicBezTo>
                <a:cubicBezTo>
                  <a:pt x="251213" y="1076587"/>
                  <a:pt x="303239" y="1026604"/>
                  <a:pt x="365466" y="1026604"/>
                </a:cubicBezTo>
                <a:cubicBezTo>
                  <a:pt x="389949" y="1026604"/>
                  <a:pt x="411371" y="1032724"/>
                  <a:pt x="430753" y="1045985"/>
                </a:cubicBezTo>
                <a:cubicBezTo>
                  <a:pt x="430753" y="954179"/>
                  <a:pt x="430753" y="954179"/>
                  <a:pt x="430753" y="954179"/>
                </a:cubicBezTo>
                <a:close/>
                <a:moveTo>
                  <a:pt x="743767" y="779403"/>
                </a:moveTo>
                <a:cubicBezTo>
                  <a:pt x="743767" y="779403"/>
                  <a:pt x="743767" y="779403"/>
                  <a:pt x="1000985" y="779403"/>
                </a:cubicBezTo>
                <a:cubicBezTo>
                  <a:pt x="910142" y="846884"/>
                  <a:pt x="811134" y="881647"/>
                  <a:pt x="735601" y="886759"/>
                </a:cubicBezTo>
                <a:cubicBezTo>
                  <a:pt x="735601" y="859153"/>
                  <a:pt x="735601" y="820301"/>
                  <a:pt x="743767" y="779403"/>
                </a:cubicBezTo>
                <a:close/>
                <a:moveTo>
                  <a:pt x="566409" y="779403"/>
                </a:moveTo>
                <a:cubicBezTo>
                  <a:pt x="566409" y="779403"/>
                  <a:pt x="566409" y="779403"/>
                  <a:pt x="728731" y="779403"/>
                </a:cubicBezTo>
                <a:cubicBezTo>
                  <a:pt x="703209" y="828358"/>
                  <a:pt x="674624" y="866093"/>
                  <a:pt x="648081" y="893630"/>
                </a:cubicBezTo>
                <a:cubicBezTo>
                  <a:pt x="618475" y="866093"/>
                  <a:pt x="593973" y="828358"/>
                  <a:pt x="566409" y="779403"/>
                </a:cubicBezTo>
                <a:close/>
                <a:moveTo>
                  <a:pt x="294154" y="779403"/>
                </a:moveTo>
                <a:cubicBezTo>
                  <a:pt x="294154" y="779403"/>
                  <a:pt x="294154" y="779403"/>
                  <a:pt x="554013" y="779403"/>
                </a:cubicBezTo>
                <a:cubicBezTo>
                  <a:pt x="559108" y="820301"/>
                  <a:pt x="559108" y="859153"/>
                  <a:pt x="558089" y="886759"/>
                </a:cubicBezTo>
                <a:cubicBezTo>
                  <a:pt x="484717" y="881647"/>
                  <a:pt x="385869" y="846884"/>
                  <a:pt x="294154" y="779403"/>
                </a:cubicBezTo>
                <a:close/>
                <a:moveTo>
                  <a:pt x="178639" y="685788"/>
                </a:moveTo>
                <a:cubicBezTo>
                  <a:pt x="178639" y="685788"/>
                  <a:pt x="178639" y="685788"/>
                  <a:pt x="1116500" y="685788"/>
                </a:cubicBezTo>
                <a:cubicBezTo>
                  <a:pt x="1104254" y="703146"/>
                  <a:pt x="1084864" y="720504"/>
                  <a:pt x="1064454" y="731736"/>
                </a:cubicBezTo>
                <a:cubicBezTo>
                  <a:pt x="1064454" y="731736"/>
                  <a:pt x="1064454" y="731736"/>
                  <a:pt x="226603" y="731736"/>
                </a:cubicBezTo>
                <a:cubicBezTo>
                  <a:pt x="210275" y="720504"/>
                  <a:pt x="193947" y="703146"/>
                  <a:pt x="178639" y="685788"/>
                </a:cubicBezTo>
                <a:close/>
                <a:moveTo>
                  <a:pt x="103061" y="583586"/>
                </a:moveTo>
                <a:cubicBezTo>
                  <a:pt x="1192938" y="583586"/>
                  <a:pt x="1192938" y="583586"/>
                  <a:pt x="1192938" y="583586"/>
                </a:cubicBezTo>
                <a:cubicBezTo>
                  <a:pt x="1184774" y="598967"/>
                  <a:pt x="1171508" y="620499"/>
                  <a:pt x="1158242" y="633829"/>
                </a:cubicBezTo>
                <a:cubicBezTo>
                  <a:pt x="136737" y="633829"/>
                  <a:pt x="136737" y="633829"/>
                  <a:pt x="136737" y="633829"/>
                </a:cubicBezTo>
                <a:cubicBezTo>
                  <a:pt x="128573" y="623575"/>
                  <a:pt x="111225" y="599992"/>
                  <a:pt x="103061" y="583586"/>
                </a:cubicBezTo>
                <a:close/>
                <a:moveTo>
                  <a:pt x="1287839" y="249924"/>
                </a:moveTo>
                <a:cubicBezTo>
                  <a:pt x="1295999" y="333680"/>
                  <a:pt x="1269479" y="433779"/>
                  <a:pt x="1218479" y="535920"/>
                </a:cubicBezTo>
                <a:cubicBezTo>
                  <a:pt x="1218479" y="535920"/>
                  <a:pt x="1218479" y="535920"/>
                  <a:pt x="842098" y="535920"/>
                </a:cubicBezTo>
                <a:cubicBezTo>
                  <a:pt x="855358" y="511406"/>
                  <a:pt x="873718" y="488935"/>
                  <a:pt x="894118" y="465443"/>
                </a:cubicBezTo>
                <a:cubicBezTo>
                  <a:pt x="1003259" y="336744"/>
                  <a:pt x="1171559" y="258095"/>
                  <a:pt x="1287839" y="249924"/>
                </a:cubicBezTo>
                <a:close/>
                <a:moveTo>
                  <a:pt x="9286" y="249924"/>
                </a:moveTo>
                <a:cubicBezTo>
                  <a:pt x="125566" y="258095"/>
                  <a:pt x="293866" y="336744"/>
                  <a:pt x="404027" y="465443"/>
                </a:cubicBezTo>
                <a:cubicBezTo>
                  <a:pt x="422387" y="488935"/>
                  <a:pt x="441767" y="511406"/>
                  <a:pt x="456047" y="535920"/>
                </a:cubicBezTo>
                <a:cubicBezTo>
                  <a:pt x="456047" y="535920"/>
                  <a:pt x="456047" y="535920"/>
                  <a:pt x="77626" y="535920"/>
                </a:cubicBezTo>
                <a:cubicBezTo>
                  <a:pt x="27646" y="433779"/>
                  <a:pt x="2146" y="333680"/>
                  <a:pt x="9286" y="249924"/>
                </a:cubicBezTo>
                <a:close/>
                <a:moveTo>
                  <a:pt x="647919" y="0"/>
                </a:moveTo>
                <a:cubicBezTo>
                  <a:pt x="735699" y="82685"/>
                  <a:pt x="816334" y="267450"/>
                  <a:pt x="816334" y="445070"/>
                </a:cubicBezTo>
                <a:cubicBezTo>
                  <a:pt x="816334" y="478756"/>
                  <a:pt x="813272" y="506318"/>
                  <a:pt x="811231" y="535921"/>
                </a:cubicBezTo>
                <a:cubicBezTo>
                  <a:pt x="811231" y="535921"/>
                  <a:pt x="811231" y="535921"/>
                  <a:pt x="484608" y="535921"/>
                </a:cubicBezTo>
                <a:cubicBezTo>
                  <a:pt x="480525" y="506318"/>
                  <a:pt x="480525" y="478756"/>
                  <a:pt x="480525" y="445070"/>
                </a:cubicBezTo>
                <a:cubicBezTo>
                  <a:pt x="480525" y="267450"/>
                  <a:pt x="559119" y="82685"/>
                  <a:pt x="647919" y="0"/>
                </a:cubicBezTo>
                <a:close/>
              </a:path>
            </a:pathLst>
          </a:custGeom>
          <a:solidFill>
            <a:schemeClr val="bg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
        <p:nvSpPr>
          <p:cNvPr id="6" name="Date Placeholder 1">
            <a:extLst>
              <a:ext uri="{FF2B5EF4-FFF2-40B4-BE49-F238E27FC236}">
                <a16:creationId xmlns:a16="http://schemas.microsoft.com/office/drawing/2014/main" id="{16B22F52-4DE2-43BC-B829-4A0BBCAEFB17}"/>
              </a:ext>
            </a:extLst>
          </p:cNvPr>
          <p:cNvSpPr>
            <a:spLocks noGrp="1"/>
          </p:cNvSpPr>
          <p:nvPr>
            <p:ph type="dt" sz="half" idx="19"/>
          </p:nvPr>
        </p:nvSpPr>
        <p:spPr bwMode="gray">
          <a:xfrm>
            <a:off x="10667212" y="6953115"/>
            <a:ext cx="763799" cy="95306"/>
          </a:xfrm>
        </p:spPr>
        <p:txBody>
          <a:bodyPr/>
          <a:lstStyle>
            <a:lvl1pPr>
              <a:defRPr>
                <a:solidFill>
                  <a:schemeClr val="tx1">
                    <a:alpha val="0"/>
                  </a:schemeClr>
                </a:solidFill>
              </a:defRPr>
            </a:lvl1pPr>
          </a:lstStyle>
          <a:p>
            <a:pPr>
              <a:defRPr/>
            </a:pPr>
            <a:fld id="{0C3977E9-73D5-4696-9176-010BDF18361F}" type="datetime5">
              <a:rPr lang="en-US" smtClean="0"/>
              <a:t>6-Oct-21</a:t>
            </a:fld>
            <a:endParaRPr lang="en-US"/>
          </a:p>
        </p:txBody>
      </p:sp>
      <p:sp>
        <p:nvSpPr>
          <p:cNvPr id="7" name="Footer Placeholder 3">
            <a:extLst>
              <a:ext uri="{FF2B5EF4-FFF2-40B4-BE49-F238E27FC236}">
                <a16:creationId xmlns:a16="http://schemas.microsoft.com/office/drawing/2014/main" id="{EDCBA548-09FE-4EAB-9DA6-44524E448D94}"/>
              </a:ext>
            </a:extLst>
          </p:cNvPr>
          <p:cNvSpPr>
            <a:spLocks noGrp="1"/>
          </p:cNvSpPr>
          <p:nvPr>
            <p:ph type="ftr" sz="quarter" idx="20"/>
          </p:nvPr>
        </p:nvSpPr>
        <p:spPr bwMode="gray">
          <a:xfrm>
            <a:off x="1142717" y="6953115"/>
            <a:ext cx="3048187" cy="95306"/>
          </a:xfrm>
        </p:spPr>
        <p:txBody>
          <a:bodyPr/>
          <a:lstStyle>
            <a:lvl1pPr>
              <a:defRPr>
                <a:solidFill>
                  <a:schemeClr val="tx1">
                    <a:alpha val="0"/>
                  </a:schemeClr>
                </a:solidFill>
              </a:defRPr>
            </a:lvl1pPr>
          </a:lstStyle>
          <a:p>
            <a:pPr>
              <a:defRPr/>
            </a:pPr>
            <a:r>
              <a:rPr lang="en-US"/>
              <a:t>FOOTER / PRESENTATION NAME</a:t>
            </a:r>
          </a:p>
        </p:txBody>
      </p:sp>
      <p:sp>
        <p:nvSpPr>
          <p:cNvPr id="8" name="Slide Number Placeholder 9">
            <a:extLst>
              <a:ext uri="{FF2B5EF4-FFF2-40B4-BE49-F238E27FC236}">
                <a16:creationId xmlns:a16="http://schemas.microsoft.com/office/drawing/2014/main" id="{52792081-75A4-440C-9403-B5B744B94E22}"/>
              </a:ext>
            </a:extLst>
          </p:cNvPr>
          <p:cNvSpPr>
            <a:spLocks noGrp="1"/>
          </p:cNvSpPr>
          <p:nvPr>
            <p:ph type="sldNum" sz="quarter" idx="21"/>
          </p:nvPr>
        </p:nvSpPr>
        <p:spPr bwMode="gray">
          <a:xfrm>
            <a:off x="11429607" y="6952918"/>
            <a:ext cx="381742" cy="95574"/>
          </a:xfrm>
        </p:spPr>
        <p:txBody>
          <a:bodyPr/>
          <a:lstStyle>
            <a:lvl1pPr>
              <a:defRPr>
                <a:solidFill>
                  <a:schemeClr val="tx1">
                    <a:alpha val="0"/>
                  </a:schemeClr>
                </a:solidFill>
              </a:defRPr>
            </a:lvl1pPr>
          </a:lstStyle>
          <a:p>
            <a:pPr>
              <a:defRPr/>
            </a:pPr>
            <a:fld id="{66C8B3C2-955F-42B1-8DED-EE47D723596C}" type="slidenum">
              <a:rPr lang="en-US" smtClean="0"/>
              <a:pPr>
                <a:defRPr/>
              </a:pPr>
              <a:t>‹#›</a:t>
            </a:fld>
            <a:endParaRPr lang="en-US"/>
          </a:p>
        </p:txBody>
      </p:sp>
      <p:sp>
        <p:nvSpPr>
          <p:cNvPr id="12" name="Title 1">
            <a:extLst>
              <a:ext uri="{FF2B5EF4-FFF2-40B4-BE49-F238E27FC236}">
                <a16:creationId xmlns:a16="http://schemas.microsoft.com/office/drawing/2014/main" id="{76EBA342-E150-45B4-A1B7-02B63FD1F605}"/>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latin typeface="+mj-lt"/>
              </a:defRPr>
            </a:lvl7pPr>
            <a:lvl8pPr>
              <a:lnSpc>
                <a:spcPct val="75000"/>
              </a:lnSpc>
              <a:defRPr sz="6349" b="1" spc="26" baseline="0">
                <a:solidFill>
                  <a:schemeClr val="bg1"/>
                </a:solidFill>
                <a:latin typeface="+mj-lt"/>
              </a:defRPr>
            </a:lvl8pPr>
            <a:lvl9pPr algn="l">
              <a:lnSpc>
                <a:spcPct val="75000"/>
              </a:lnSpc>
              <a:defRPr sz="6349" b="1" spc="26" baseline="0">
                <a:solidFill>
                  <a:schemeClr val="bg1"/>
                </a:solidFill>
                <a:latin typeface="+mj-lt"/>
              </a:defRPr>
            </a:lvl9pPr>
          </a:lstStyle>
          <a:p>
            <a:pPr lvl="0"/>
            <a:r>
              <a:rPr lang="en-US" noProof="0"/>
              <a:t>Title of your presentation</a:t>
            </a:r>
          </a:p>
        </p:txBody>
      </p:sp>
      <p:sp>
        <p:nvSpPr>
          <p:cNvPr id="13" name="Subtitle 2">
            <a:extLst>
              <a:ext uri="{FF2B5EF4-FFF2-40B4-BE49-F238E27FC236}">
                <a16:creationId xmlns:a16="http://schemas.microsoft.com/office/drawing/2014/main" id="{C94A67DA-B0E5-465A-9E54-5F95AD793832}"/>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bg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6pPr>
            <a:lvl7pPr marL="0" indent="0" algn="l">
              <a:lnSpc>
                <a:spcPct val="75000"/>
              </a:lnSpc>
              <a:spcBef>
                <a:spcPts val="0"/>
              </a:spcBef>
              <a:spcAft>
                <a:spcPts val="0"/>
              </a:spcAft>
              <a:buNone/>
              <a:defRPr sz="1852" b="0" cap="all" spc="26" baseline="0">
                <a:solidFill>
                  <a:schemeClr val="bg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8pPr>
            <a:lvl9pPr marL="0" indent="0" algn="l">
              <a:lnSpc>
                <a:spcPct val="75000"/>
              </a:lnSpc>
              <a:spcBef>
                <a:spcPts val="0"/>
              </a:spcBef>
              <a:spcAft>
                <a:spcPts val="0"/>
              </a:spcAft>
              <a:buNone/>
              <a:defRPr sz="1852" b="0" cap="all" spc="26" baseline="0">
                <a:solidFill>
                  <a:schemeClr val="bg1"/>
                </a:solidFill>
                <a:latin typeface="+mj-lt"/>
              </a:defRPr>
            </a:lvl9pPr>
          </a:lstStyle>
          <a:p>
            <a:pPr lvl="0"/>
            <a:r>
              <a:rPr lang="en-US" noProof="0"/>
              <a:t>Click to edit Master subtitle style</a:t>
            </a:r>
          </a:p>
        </p:txBody>
      </p:sp>
    </p:spTree>
    <p:extLst>
      <p:ext uri="{BB962C8B-B14F-4D97-AF65-F5344CB8AC3E}">
        <p14:creationId xmlns:p14="http://schemas.microsoft.com/office/powerpoint/2010/main" val="108439514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142699" y="1143341"/>
            <a:ext cx="1524114" cy="761886"/>
          </a:xfrm>
        </p:spPr>
        <p:txBody>
          <a:bodyPr lIns="0" anchor="t"/>
          <a:lstStyle>
            <a:lvl1pPr algn="l">
              <a:lnSpc>
                <a:spcPct val="75000"/>
              </a:lnSpc>
              <a:defRPr sz="2381" b="1" i="0" cap="all" spc="26" baseline="0">
                <a:solidFill>
                  <a:schemeClr val="tx1"/>
                </a:solidFill>
                <a:latin typeface="+mj-lt"/>
              </a:defRPr>
            </a:lvl1pPr>
            <a:lvl2pPr>
              <a:lnSpc>
                <a:spcPct val="75000"/>
              </a:lnSpc>
              <a:defRPr b="1" spc="26" baseline="0">
                <a:latin typeface="+mj-lt"/>
              </a:defRPr>
            </a:lvl2pPr>
            <a:lvl3pPr>
              <a:lnSpc>
                <a:spcPct val="75000"/>
              </a:lnSpc>
              <a:defRPr b="1" spc="26" baseline="0">
                <a:latin typeface="+mj-lt"/>
              </a:defRPr>
            </a:lvl3pPr>
            <a:lvl4pPr>
              <a:lnSpc>
                <a:spcPct val="75000"/>
              </a:lnSpc>
              <a:defRPr b="1" spc="26" baseline="0">
                <a:latin typeface="+mj-lt"/>
              </a:defRPr>
            </a:lvl4pPr>
            <a:lvl5pPr>
              <a:lnSpc>
                <a:spcPct val="75000"/>
              </a:lnSpc>
              <a:defRPr b="1" spc="26" baseline="0">
                <a:latin typeface="+mj-lt"/>
              </a:defRPr>
            </a:lvl5pPr>
            <a:lvl6pPr>
              <a:lnSpc>
                <a:spcPct val="75000"/>
              </a:lnSpc>
              <a:defRPr b="1" spc="26" baseline="0"/>
            </a:lvl6pPr>
            <a:lvl7pPr>
              <a:lnSpc>
                <a:spcPct val="75000"/>
              </a:lnSpc>
              <a:defRPr b="1" spc="26" baseline="0"/>
            </a:lvl7pPr>
            <a:lvl8pPr>
              <a:lnSpc>
                <a:spcPct val="75000"/>
              </a:lnSpc>
              <a:defRPr b="1" spc="26" baseline="0"/>
            </a:lvl8pPr>
            <a:lvl9pPr algn="l">
              <a:lnSpc>
                <a:spcPct val="75000"/>
              </a:lnSpc>
              <a:defRPr b="1" spc="26" baseline="0"/>
            </a:lvl9pPr>
          </a:lstStyle>
          <a:p>
            <a:pPr lvl="0"/>
            <a:r>
              <a:rPr lang="en-US" noProof="0"/>
              <a:t>Content</a:t>
            </a:r>
          </a:p>
        </p:txBody>
      </p:sp>
      <p:sp>
        <p:nvSpPr>
          <p:cNvPr id="6" name="Text Placeholder 5"/>
          <p:cNvSpPr>
            <a:spLocks noGrp="1"/>
          </p:cNvSpPr>
          <p:nvPr>
            <p:ph type="body" sz="quarter" idx="10" hasCustomPrompt="1"/>
          </p:nvPr>
        </p:nvSpPr>
        <p:spPr bwMode="gray">
          <a:xfrm>
            <a:off x="3047835" y="1143342"/>
            <a:ext cx="8001468" cy="4571317"/>
          </a:xfrm>
        </p:spPr>
        <p:txBody>
          <a:bodyPr anchor="t" anchorCtr="0">
            <a:normAutofit/>
          </a:bodyPr>
          <a:lstStyle>
            <a:lvl1pPr marL="380938" indent="-380938" algn="l">
              <a:lnSpc>
                <a:spcPct val="75000"/>
              </a:lnSpc>
              <a:spcBef>
                <a:spcPts val="1587"/>
              </a:spcBef>
              <a:spcAft>
                <a:spcPts val="0"/>
              </a:spcAft>
              <a:buClrTx/>
              <a:buSzPct val="100000"/>
              <a:buFont typeface="+mj-lt"/>
              <a:buAutoNum type="arabicPeriod"/>
              <a:defRPr sz="3704" b="1" i="0" cap="all" spc="26" baseline="0">
                <a:solidFill>
                  <a:schemeClr val="tx1"/>
                </a:solidFill>
                <a:latin typeface="+mj-lt"/>
              </a:defRPr>
            </a:lvl1pPr>
            <a:lvl2pPr marL="380938" indent="0" algn="l">
              <a:lnSpc>
                <a:spcPct val="90000"/>
              </a:lnSpc>
              <a:spcBef>
                <a:spcPts val="0"/>
              </a:spcBef>
              <a:spcAft>
                <a:spcPts val="0"/>
              </a:spcAft>
              <a:buClrTx/>
              <a:buSzPct val="90000"/>
              <a:buFont typeface="+mj-lt"/>
              <a:buNone/>
              <a:defRPr sz="1587" b="0" i="0" cap="none" spc="0" normalizeH="0" baseline="0">
                <a:solidFill>
                  <a:schemeClr val="tx1"/>
                </a:solidFill>
                <a:latin typeface="+mn-lt"/>
                <a:cs typeface="AdihausDIN" panose="020B0504020101020102" pitchFamily="34" charset="0"/>
              </a:defRPr>
            </a:lvl2pPr>
            <a:lvl3pPr marL="380938" indent="0" algn="l">
              <a:lnSpc>
                <a:spcPct val="90000"/>
              </a:lnSpc>
              <a:spcBef>
                <a:spcPts val="0"/>
              </a:spcBef>
              <a:spcAft>
                <a:spcPts val="0"/>
              </a:spcAft>
              <a:buClrTx/>
              <a:buSzPct val="90000"/>
              <a:buFont typeface="+mj-lt"/>
              <a:buNone/>
              <a:defRPr sz="1587" b="0" i="0" cap="none" spc="26" baseline="0">
                <a:solidFill>
                  <a:schemeClr val="tx1"/>
                </a:solidFill>
                <a:latin typeface="+mn-lt"/>
                <a:cs typeface="AdihausDIN" panose="020B0504020101020102" pitchFamily="34" charset="0"/>
              </a:defRPr>
            </a:lvl3pPr>
            <a:lvl4pPr marL="380938" indent="0" algn="l">
              <a:lnSpc>
                <a:spcPct val="90000"/>
              </a:lnSpc>
              <a:spcBef>
                <a:spcPts val="0"/>
              </a:spcBef>
              <a:spcAft>
                <a:spcPts val="0"/>
              </a:spcAft>
              <a:buClrTx/>
              <a:buSzPct val="90000"/>
              <a:buFont typeface="+mj-lt"/>
              <a:buNone/>
              <a:defRPr sz="1587" b="0" i="0" cap="none" spc="26" baseline="0">
                <a:solidFill>
                  <a:schemeClr val="tx1"/>
                </a:solidFill>
                <a:latin typeface="+mn-lt"/>
                <a:cs typeface="AdihausDIN" panose="020B0504020101020102" pitchFamily="34" charset="0"/>
              </a:defRPr>
            </a:lvl4pPr>
            <a:lvl5pPr marL="380938" indent="0" algn="l">
              <a:lnSpc>
                <a:spcPct val="90000"/>
              </a:lnSpc>
              <a:spcBef>
                <a:spcPts val="0"/>
              </a:spcBef>
              <a:spcAft>
                <a:spcPts val="0"/>
              </a:spcAft>
              <a:buClrTx/>
              <a:buSzPct val="90000"/>
              <a:buFont typeface="+mj-lt"/>
              <a:buNone/>
              <a:defRPr sz="1587" b="0" i="0" cap="none" spc="26" baseline="0">
                <a:solidFill>
                  <a:schemeClr val="tx1"/>
                </a:solidFill>
                <a:latin typeface="+mn-lt"/>
                <a:cs typeface="AdihausDIN" panose="020B0504020101020102" pitchFamily="34" charset="0"/>
              </a:defRPr>
            </a:lvl5pPr>
            <a:lvl6pPr marL="380938" indent="0" algn="l">
              <a:lnSpc>
                <a:spcPct val="90000"/>
              </a:lnSpc>
              <a:spcBef>
                <a:spcPts val="0"/>
              </a:spcBef>
              <a:spcAft>
                <a:spcPts val="0"/>
              </a:spcAft>
              <a:buClrTx/>
              <a:buFont typeface="+mj-lt"/>
              <a:buNone/>
              <a:defRPr sz="1587" b="0" cap="none" spc="26" baseline="0">
                <a:solidFill>
                  <a:schemeClr val="tx1"/>
                </a:solidFill>
                <a:latin typeface="+mn-lt"/>
                <a:cs typeface="AdihausDIN" panose="020B0504020101020102" pitchFamily="34" charset="0"/>
              </a:defRPr>
            </a:lvl6pPr>
            <a:lvl7pPr marL="380938" indent="0" algn="l">
              <a:lnSpc>
                <a:spcPct val="90000"/>
              </a:lnSpc>
              <a:spcBef>
                <a:spcPts val="0"/>
              </a:spcBef>
              <a:spcAft>
                <a:spcPts val="0"/>
              </a:spcAft>
              <a:buClrTx/>
              <a:buFont typeface="+mj-lt"/>
              <a:buNone/>
              <a:defRPr sz="1587" b="0" cap="none" spc="26" baseline="0">
                <a:solidFill>
                  <a:schemeClr val="tx1"/>
                </a:solidFill>
                <a:latin typeface="+mn-lt"/>
                <a:cs typeface="AdihausDIN" panose="020B0504020101020102" pitchFamily="34" charset="0"/>
              </a:defRPr>
            </a:lvl7pPr>
            <a:lvl8pPr marL="380938" indent="0" algn="l">
              <a:lnSpc>
                <a:spcPct val="90000"/>
              </a:lnSpc>
              <a:spcBef>
                <a:spcPts val="0"/>
              </a:spcBef>
              <a:spcAft>
                <a:spcPts val="0"/>
              </a:spcAft>
              <a:buClrTx/>
              <a:buFont typeface="+mj-lt"/>
              <a:buNone/>
              <a:defRPr sz="1587" b="0" cap="none" spc="26" baseline="0">
                <a:solidFill>
                  <a:schemeClr val="tx1"/>
                </a:solidFill>
                <a:latin typeface="+mn-lt"/>
                <a:cs typeface="AdihausDIN" panose="020B0504020101020102" pitchFamily="34" charset="0"/>
              </a:defRPr>
            </a:lvl8pPr>
            <a:lvl9pPr marL="380938" indent="0" algn="l">
              <a:lnSpc>
                <a:spcPct val="90000"/>
              </a:lnSpc>
              <a:spcBef>
                <a:spcPts val="0"/>
              </a:spcBef>
              <a:spcAft>
                <a:spcPts val="0"/>
              </a:spcAft>
              <a:buClrTx/>
              <a:buFont typeface="+mj-lt"/>
              <a:buNone/>
              <a:defRPr sz="1587" b="0" cap="none" spc="26" baseline="0">
                <a:solidFill>
                  <a:schemeClr val="tx1"/>
                </a:solidFill>
                <a:latin typeface="+mn-lt"/>
                <a:cs typeface="AdihausDIN" panose="020B0504020101020102" pitchFamily="34" charset="0"/>
              </a:defRPr>
            </a:lvl9pPr>
          </a:lstStyle>
          <a:p>
            <a:pPr lvl="0"/>
            <a:r>
              <a:rPr lang="en-US" noProof="0"/>
              <a:t>ADD an AGENDA POINT HERE</a:t>
            </a:r>
          </a:p>
          <a:p>
            <a:pPr lvl="1"/>
            <a:r>
              <a:rPr lang="en-US" noProof="0"/>
              <a:t>Speaker, time or additional information</a:t>
            </a:r>
          </a:p>
        </p:txBody>
      </p:sp>
      <p:sp>
        <p:nvSpPr>
          <p:cNvPr id="8" name="Date Placeholder 1">
            <a:extLst>
              <a:ext uri="{FF2B5EF4-FFF2-40B4-BE49-F238E27FC236}">
                <a16:creationId xmlns:a16="http://schemas.microsoft.com/office/drawing/2014/main" id="{D77B15E5-13C8-456A-B72F-5682C2304E5C}"/>
              </a:ext>
            </a:extLst>
          </p:cNvPr>
          <p:cNvSpPr>
            <a:spLocks noGrp="1"/>
          </p:cNvSpPr>
          <p:nvPr>
            <p:ph type="dt" sz="half" idx="19"/>
          </p:nvPr>
        </p:nvSpPr>
        <p:spPr bwMode="gray">
          <a:xfrm>
            <a:off x="10667212" y="6953115"/>
            <a:ext cx="763799" cy="95306"/>
          </a:xfrm>
        </p:spPr>
        <p:txBody>
          <a:bodyPr/>
          <a:lstStyle>
            <a:lvl1pPr>
              <a:defRPr>
                <a:solidFill>
                  <a:schemeClr val="tx1">
                    <a:alpha val="0"/>
                  </a:schemeClr>
                </a:solidFill>
              </a:defRPr>
            </a:lvl1pPr>
          </a:lstStyle>
          <a:p>
            <a:pPr>
              <a:defRPr/>
            </a:pPr>
            <a:fld id="{08A92081-E5A9-4282-BEA8-5F729D76BEB2}" type="datetime5">
              <a:rPr lang="en-US" smtClean="0"/>
              <a:t>6-Oct-21</a:t>
            </a:fld>
            <a:endParaRPr lang="en-US"/>
          </a:p>
        </p:txBody>
      </p:sp>
      <p:sp>
        <p:nvSpPr>
          <p:cNvPr id="9" name="Footer Placeholder 3">
            <a:extLst>
              <a:ext uri="{FF2B5EF4-FFF2-40B4-BE49-F238E27FC236}">
                <a16:creationId xmlns:a16="http://schemas.microsoft.com/office/drawing/2014/main" id="{13985B5D-E1A8-4211-90B5-F10EC4D22D07}"/>
              </a:ext>
            </a:extLst>
          </p:cNvPr>
          <p:cNvSpPr>
            <a:spLocks noGrp="1"/>
          </p:cNvSpPr>
          <p:nvPr>
            <p:ph type="ftr" sz="quarter" idx="20"/>
          </p:nvPr>
        </p:nvSpPr>
        <p:spPr bwMode="gray">
          <a:xfrm>
            <a:off x="1142717" y="6953115"/>
            <a:ext cx="3048187" cy="95306"/>
          </a:xfrm>
        </p:spPr>
        <p:txBody>
          <a:bodyPr/>
          <a:lstStyle>
            <a:lvl1pPr>
              <a:defRPr>
                <a:solidFill>
                  <a:schemeClr val="tx1">
                    <a:alpha val="0"/>
                  </a:schemeClr>
                </a:solidFill>
              </a:defRPr>
            </a:lvl1pPr>
          </a:lstStyle>
          <a:p>
            <a:pPr>
              <a:defRPr/>
            </a:pPr>
            <a:r>
              <a:rPr lang="en-US"/>
              <a:t>FOOTER / PRESENTATION NAME</a:t>
            </a:r>
          </a:p>
        </p:txBody>
      </p:sp>
      <p:sp>
        <p:nvSpPr>
          <p:cNvPr id="10" name="Slide Number Placeholder 9">
            <a:extLst>
              <a:ext uri="{FF2B5EF4-FFF2-40B4-BE49-F238E27FC236}">
                <a16:creationId xmlns:a16="http://schemas.microsoft.com/office/drawing/2014/main" id="{B2A1204C-C44D-4306-A903-9AD12E2F03F7}"/>
              </a:ext>
            </a:extLst>
          </p:cNvPr>
          <p:cNvSpPr>
            <a:spLocks noGrp="1"/>
          </p:cNvSpPr>
          <p:nvPr>
            <p:ph type="sldNum" sz="quarter" idx="21"/>
          </p:nvPr>
        </p:nvSpPr>
        <p:spPr bwMode="gray">
          <a:xfrm>
            <a:off x="11429607" y="6952918"/>
            <a:ext cx="381742" cy="95574"/>
          </a:xfrm>
        </p:spPr>
        <p:txBody>
          <a:bodyPr/>
          <a:lstStyle>
            <a:lvl1pPr>
              <a:defRPr>
                <a:solidFill>
                  <a:schemeClr val="tx1">
                    <a:alpha val="0"/>
                  </a:schemeClr>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73461068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3C6BED9-745A-4437-B862-97F8C930B302}"/>
              </a:ext>
            </a:extLst>
          </p:cNvPr>
          <p:cNvSpPr>
            <a:spLocks noGrp="1"/>
          </p:cNvSpPr>
          <p:nvPr>
            <p:ph type="pic" sz="quarter" idx="15"/>
          </p:nvPr>
        </p:nvSpPr>
        <p:spPr bwMode="gray">
          <a:xfrm>
            <a:off x="94218" y="95379"/>
            <a:ext cx="12003565" cy="6667244"/>
          </a:xfrm>
          <a:custGeom>
            <a:avLst/>
            <a:gdLst/>
            <a:ahLst/>
            <a:cxnLst/>
            <a:rect l="l" t="t" r="r" b="b"/>
            <a:pathLst>
              <a:path w="2953414" h="4932102">
                <a:moveTo>
                  <a:pt x="0" y="0"/>
                </a:moveTo>
                <a:lnTo>
                  <a:pt x="2953414" y="0"/>
                </a:lnTo>
                <a:lnTo>
                  <a:pt x="2953414" y="4932102"/>
                </a:lnTo>
                <a:lnTo>
                  <a:pt x="0" y="4932102"/>
                </a:lnTo>
                <a:close/>
              </a:path>
            </a:pathLst>
          </a:custGeom>
          <a:solidFill>
            <a:schemeClr val="accent3"/>
          </a:solidFill>
          <a:ln>
            <a:noFill/>
          </a:ln>
        </p:spPr>
        <p:txBody>
          <a:bodyPr tIns="0" anchor="ctr" anchorCtr="0"/>
          <a:lstStyle>
            <a:lvl1pPr algn="ctr">
              <a:lnSpc>
                <a:spcPct val="100000"/>
              </a:lnSpc>
              <a:spcAft>
                <a:spcPts val="0"/>
              </a:spcAft>
              <a:defRPr sz="1058">
                <a:solidFill>
                  <a:schemeClr val="bg1"/>
                </a:solidFill>
              </a:defRPr>
            </a:lvl1pPr>
          </a:lstStyle>
          <a:p>
            <a:pPr lvl="0"/>
            <a:r>
              <a:rPr lang="en-US" noProof="0"/>
              <a:t>Click icon to add picture</a:t>
            </a:r>
          </a:p>
        </p:txBody>
      </p:sp>
      <p:sp>
        <p:nvSpPr>
          <p:cNvPr id="3" name="Titel 2"/>
          <p:cNvSpPr>
            <a:spLocks noGrp="1"/>
          </p:cNvSpPr>
          <p:nvPr>
            <p:ph type="title" hasCustomPrompt="1"/>
          </p:nvPr>
        </p:nvSpPr>
        <p:spPr bwMode="gray">
          <a:xfrm>
            <a:off x="1142148" y="1523498"/>
            <a:ext cx="6478082" cy="3048457"/>
          </a:xfrm>
        </p:spPr>
        <p:txBody>
          <a:bodyPr/>
          <a:lstStyle>
            <a:lvl1pPr algn="l">
              <a:defRPr sz="6349" b="1" i="0">
                <a:solidFill>
                  <a:schemeClr val="tx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defRPr>
            </a:lvl7pPr>
            <a:lvl8pPr algn="l">
              <a:lnSpc>
                <a:spcPct val="75000"/>
              </a:lnSpc>
              <a:defRPr sz="6349" b="1" spc="26" baseline="0">
                <a:solidFill>
                  <a:schemeClr val="bg1"/>
                </a:solidFill>
              </a:defRPr>
            </a:lvl8pPr>
            <a:lvl9pPr algn="l">
              <a:lnSpc>
                <a:spcPct val="75000"/>
              </a:lnSpc>
              <a:defRPr sz="6349" b="1" spc="26" baseline="0">
                <a:solidFill>
                  <a:schemeClr val="bg1"/>
                </a:solidFill>
              </a:defRPr>
            </a:lvl9pPr>
          </a:lstStyle>
          <a:p>
            <a:pPr lvl="0"/>
            <a:r>
              <a:rPr lang="en-US"/>
              <a:t>Click to edit Master </a:t>
            </a:r>
            <a:br>
              <a:rPr lang="en-US"/>
            </a:br>
            <a:r>
              <a:rPr lang="en-US"/>
              <a:t>title style</a:t>
            </a:r>
          </a:p>
        </p:txBody>
      </p:sp>
      <p:sp>
        <p:nvSpPr>
          <p:cNvPr id="8" name="Text Placeholder 3"/>
          <p:cNvSpPr>
            <a:spLocks noGrp="1"/>
          </p:cNvSpPr>
          <p:nvPr>
            <p:ph type="body" sz="quarter" idx="18" hasCustomPrompt="1"/>
          </p:nvPr>
        </p:nvSpPr>
        <p:spPr bwMode="gray">
          <a:xfrm>
            <a:off x="1142849" y="1143087"/>
            <a:ext cx="3429196" cy="380065"/>
          </a:xfrm>
        </p:spPr>
        <p:txBody>
          <a:bodyPr anchor="t"/>
          <a:lstStyle>
            <a:lvl1pPr marL="0" indent="0" algn="l">
              <a:lnSpc>
                <a:spcPct val="75000"/>
              </a:lnSpc>
              <a:spcAft>
                <a:spcPts val="0"/>
              </a:spcAft>
              <a:buFont typeface="Arial" panose="020B0604020202020204" pitchFamily="34" charset="0"/>
              <a:buNone/>
              <a:defRPr sz="2381" b="0" cap="all" spc="26" baseline="0">
                <a:solidFill>
                  <a:schemeClr val="tx1"/>
                </a:solidFill>
                <a:latin typeface="+mj-lt"/>
              </a:defRPr>
            </a:lvl1pPr>
            <a:lvl2pPr marL="0" indent="0" algn="l">
              <a:lnSpc>
                <a:spcPct val="75000"/>
              </a:lnSpc>
              <a:spcBef>
                <a:spcPts val="0"/>
              </a:spcBef>
              <a:spcAft>
                <a:spcPts val="0"/>
              </a:spcAft>
              <a:buNone/>
              <a:defRPr sz="2381" b="0" cap="all" spc="26" baseline="0">
                <a:solidFill>
                  <a:schemeClr val="bg1"/>
                </a:solidFill>
                <a:latin typeface="+mj-lt"/>
              </a:defRPr>
            </a:lvl2pPr>
            <a:lvl3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3pPr>
            <a:lvl4pPr marL="0" indent="0" algn="l">
              <a:lnSpc>
                <a:spcPct val="75000"/>
              </a:lnSpc>
              <a:spcBef>
                <a:spcPts val="0"/>
              </a:spcBef>
              <a:spcAft>
                <a:spcPts val="0"/>
              </a:spcAft>
              <a:buNone/>
              <a:defRPr sz="2381" b="0" cap="all" spc="26" baseline="0">
                <a:solidFill>
                  <a:schemeClr val="bg1"/>
                </a:solidFill>
                <a:latin typeface="+mj-lt"/>
              </a:defRPr>
            </a:lvl4pPr>
            <a:lvl5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5pPr>
            <a:lvl6pPr marL="0" indent="0" algn="l">
              <a:lnSpc>
                <a:spcPct val="75000"/>
              </a:lnSpc>
              <a:spcBef>
                <a:spcPts val="0"/>
              </a:spcBef>
              <a:spcAft>
                <a:spcPts val="0"/>
              </a:spcAft>
              <a:buFont typeface="Arial" panose="020B0604020202020204" pitchFamily="34" charset="0"/>
              <a:buNone/>
              <a:defRPr sz="2381" b="0" cap="all" baseline="0">
                <a:solidFill>
                  <a:schemeClr val="bg1"/>
                </a:solidFill>
                <a:latin typeface="+mj-lt"/>
              </a:defRPr>
            </a:lvl6pPr>
            <a:lvl7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7pPr>
            <a:lvl8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8pPr>
            <a:lvl9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9pPr>
          </a:lstStyle>
          <a:p>
            <a:pPr lvl="0"/>
            <a:r>
              <a:rPr lang="en-US"/>
              <a:t>CLICK TO EDIT MASTER TEXT STYLES</a:t>
            </a:r>
          </a:p>
        </p:txBody>
      </p:sp>
      <p:sp>
        <p:nvSpPr>
          <p:cNvPr id="2" name="Date Placeholder 1">
            <a:extLst>
              <a:ext uri="{FF2B5EF4-FFF2-40B4-BE49-F238E27FC236}">
                <a16:creationId xmlns:a16="http://schemas.microsoft.com/office/drawing/2014/main" id="{254E09B8-D6DA-4CE9-B151-0E970D148922}"/>
              </a:ext>
            </a:extLst>
          </p:cNvPr>
          <p:cNvSpPr>
            <a:spLocks noGrp="1"/>
          </p:cNvSpPr>
          <p:nvPr>
            <p:ph type="dt" sz="half" idx="19"/>
          </p:nvPr>
        </p:nvSpPr>
        <p:spPr bwMode="gray">
          <a:xfrm>
            <a:off x="10667212" y="6953115"/>
            <a:ext cx="763799" cy="95306"/>
          </a:xfrm>
        </p:spPr>
        <p:txBody>
          <a:bodyPr/>
          <a:lstStyle>
            <a:lvl1pPr>
              <a:defRPr>
                <a:solidFill>
                  <a:schemeClr val="tx1">
                    <a:alpha val="0"/>
                  </a:schemeClr>
                </a:solidFill>
              </a:defRPr>
            </a:lvl1pPr>
          </a:lstStyle>
          <a:p>
            <a:pPr>
              <a:defRPr/>
            </a:pPr>
            <a:fld id="{C16DD686-781E-4FFF-9A4F-EFC1B488C107}" type="datetime5">
              <a:rPr lang="en-US" smtClean="0"/>
              <a:t>6-Oct-21</a:t>
            </a:fld>
            <a:endParaRPr lang="en-US"/>
          </a:p>
        </p:txBody>
      </p:sp>
      <p:sp>
        <p:nvSpPr>
          <p:cNvPr id="4" name="Footer Placeholder 3">
            <a:extLst>
              <a:ext uri="{FF2B5EF4-FFF2-40B4-BE49-F238E27FC236}">
                <a16:creationId xmlns:a16="http://schemas.microsoft.com/office/drawing/2014/main" id="{CBBA5D0C-48F6-4FFA-B351-2B91CB2CEF3B}"/>
              </a:ext>
            </a:extLst>
          </p:cNvPr>
          <p:cNvSpPr>
            <a:spLocks noGrp="1"/>
          </p:cNvSpPr>
          <p:nvPr>
            <p:ph type="ftr" sz="quarter" idx="20"/>
          </p:nvPr>
        </p:nvSpPr>
        <p:spPr bwMode="gray">
          <a:xfrm>
            <a:off x="1142717" y="6953115"/>
            <a:ext cx="3048187" cy="95306"/>
          </a:xfrm>
        </p:spPr>
        <p:txBody>
          <a:bodyPr/>
          <a:lstStyle>
            <a:lvl1pPr>
              <a:defRPr>
                <a:solidFill>
                  <a:schemeClr val="tx1">
                    <a:alpha val="0"/>
                  </a:schemeClr>
                </a:solidFill>
              </a:defRPr>
            </a:lvl1pPr>
          </a:lstStyle>
          <a:p>
            <a:pPr>
              <a:defRPr/>
            </a:pPr>
            <a:r>
              <a:rPr lang="en-US"/>
              <a:t>FOOTER / PRESENTATION NAME</a:t>
            </a:r>
          </a:p>
        </p:txBody>
      </p:sp>
      <p:sp>
        <p:nvSpPr>
          <p:cNvPr id="10" name="Slide Number Placeholder 9">
            <a:extLst>
              <a:ext uri="{FF2B5EF4-FFF2-40B4-BE49-F238E27FC236}">
                <a16:creationId xmlns:a16="http://schemas.microsoft.com/office/drawing/2014/main" id="{2CF7B120-48DB-4628-A5FD-F40ABB0A30B7}"/>
              </a:ext>
            </a:extLst>
          </p:cNvPr>
          <p:cNvSpPr>
            <a:spLocks noGrp="1"/>
          </p:cNvSpPr>
          <p:nvPr>
            <p:ph type="sldNum" sz="quarter" idx="21"/>
          </p:nvPr>
        </p:nvSpPr>
        <p:spPr bwMode="gray">
          <a:xfrm>
            <a:off x="11429607" y="6952918"/>
            <a:ext cx="381742" cy="95574"/>
          </a:xfrm>
        </p:spPr>
        <p:txBody>
          <a:bodyPr/>
          <a:lstStyle>
            <a:lvl1pPr>
              <a:defRPr>
                <a:solidFill>
                  <a:schemeClr val="tx1">
                    <a:alpha val="0"/>
                  </a:schemeClr>
                </a:solidFill>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47657251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CCCEE-BB18-471D-B0A7-7E46E3084CD1}"/>
              </a:ext>
            </a:extLst>
          </p:cNvPr>
          <p:cNvSpPr>
            <a:spLocks noGrp="1"/>
          </p:cNvSpPr>
          <p:nvPr>
            <p:ph type="title"/>
          </p:nvPr>
        </p:nvSpPr>
        <p:spPr bwMode="gray"/>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0D15E831-C8B3-4704-86AB-44337EEE0B8A}"/>
              </a:ext>
            </a:extLst>
          </p:cNvPr>
          <p:cNvSpPr>
            <a:spLocks noGrp="1"/>
          </p:cNvSpPr>
          <p:nvPr>
            <p:ph type="dt" sz="half" idx="10"/>
          </p:nvPr>
        </p:nvSpPr>
        <p:spPr bwMode="gray"/>
        <p:txBody>
          <a:bodyPr/>
          <a:lstStyle/>
          <a:p>
            <a:pPr>
              <a:defRPr/>
            </a:pPr>
            <a:fld id="{D214EB67-19F1-4E8D-ACA8-69A60160FC2B}" type="datetime5">
              <a:rPr lang="en-US" noProof="0" smtClean="0"/>
              <a:t>6-Oct-21</a:t>
            </a:fld>
            <a:endParaRPr lang="en-US" noProof="0"/>
          </a:p>
        </p:txBody>
      </p:sp>
      <p:sp>
        <p:nvSpPr>
          <p:cNvPr id="4" name="Footer Placeholder 3">
            <a:extLst>
              <a:ext uri="{FF2B5EF4-FFF2-40B4-BE49-F238E27FC236}">
                <a16:creationId xmlns:a16="http://schemas.microsoft.com/office/drawing/2014/main" id="{CF16CEE4-4727-4058-A0A0-43F7DEA0317A}"/>
              </a:ext>
            </a:extLst>
          </p:cNvPr>
          <p:cNvSpPr>
            <a:spLocks noGrp="1"/>
          </p:cNvSpPr>
          <p:nvPr>
            <p:ph type="ftr" sz="quarter" idx="11"/>
          </p:nvPr>
        </p:nvSpPr>
        <p:spPr bwMode="gray"/>
        <p:txBody>
          <a:bodyPr/>
          <a:lstStyle/>
          <a:p>
            <a:pPr>
              <a:defRPr/>
            </a:pPr>
            <a:r>
              <a:rPr lang="en-US"/>
              <a:t>FOOTER / PRESENTATION NAME</a:t>
            </a:r>
          </a:p>
        </p:txBody>
      </p:sp>
      <p:sp>
        <p:nvSpPr>
          <p:cNvPr id="5" name="Slide Number Placeholder 4">
            <a:extLst>
              <a:ext uri="{FF2B5EF4-FFF2-40B4-BE49-F238E27FC236}">
                <a16:creationId xmlns:a16="http://schemas.microsoft.com/office/drawing/2014/main" id="{48BE99E7-3046-4107-A593-19BA37D0AE65}"/>
              </a:ext>
            </a:extLst>
          </p:cNvPr>
          <p:cNvSpPr>
            <a:spLocks noGrp="1"/>
          </p:cNvSpPr>
          <p:nvPr>
            <p:ph type="sldNum" sz="quarter" idx="12"/>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267375459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16" name="Text Placeholder 15"/>
          <p:cNvSpPr>
            <a:spLocks noGrp="1"/>
          </p:cNvSpPr>
          <p:nvPr>
            <p:ph type="body" sz="quarter" idx="25"/>
          </p:nvPr>
        </p:nvSpPr>
        <p:spPr bwMode="gray">
          <a:xfrm>
            <a:off x="380670" y="1524284"/>
            <a:ext cx="8001469" cy="45714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CE06E7D-B6FA-45B6-BAC5-48D084D08246}"/>
              </a:ext>
            </a:extLst>
          </p:cNvPr>
          <p:cNvSpPr>
            <a:spLocks noGrp="1"/>
          </p:cNvSpPr>
          <p:nvPr>
            <p:ph type="title"/>
          </p:nvPr>
        </p:nvSpPr>
        <p:spPr bwMode="gray"/>
        <p:txBody>
          <a:bodyPr/>
          <a:lstStyle>
            <a:lvl1pPr>
              <a:defRPr sz="3704"/>
            </a:lvl1pPr>
          </a:lstStyle>
          <a:p>
            <a:r>
              <a:rPr lang="en-US"/>
              <a:t>Click to edit Master title style</a:t>
            </a:r>
          </a:p>
        </p:txBody>
      </p:sp>
      <p:sp>
        <p:nvSpPr>
          <p:cNvPr id="2" name="Date Placeholder 1">
            <a:extLst>
              <a:ext uri="{FF2B5EF4-FFF2-40B4-BE49-F238E27FC236}">
                <a16:creationId xmlns:a16="http://schemas.microsoft.com/office/drawing/2014/main" id="{B01A240B-4718-4FF1-8AC3-03A503AC5812}"/>
              </a:ext>
            </a:extLst>
          </p:cNvPr>
          <p:cNvSpPr>
            <a:spLocks noGrp="1"/>
          </p:cNvSpPr>
          <p:nvPr>
            <p:ph type="dt" sz="half" idx="26"/>
          </p:nvPr>
        </p:nvSpPr>
        <p:spPr bwMode="gray"/>
        <p:txBody>
          <a:bodyPr/>
          <a:lstStyle/>
          <a:p>
            <a:pPr>
              <a:defRPr/>
            </a:pPr>
            <a:fld id="{D6347015-E9F9-4400-B220-1D80AC5EB129}" type="datetime5">
              <a:rPr lang="en-US" noProof="0" smtClean="0"/>
              <a:t>6-Oct-21</a:t>
            </a:fld>
            <a:endParaRPr lang="en-US" noProof="0"/>
          </a:p>
        </p:txBody>
      </p:sp>
      <p:sp>
        <p:nvSpPr>
          <p:cNvPr id="3" name="Footer Placeholder 2">
            <a:extLst>
              <a:ext uri="{FF2B5EF4-FFF2-40B4-BE49-F238E27FC236}">
                <a16:creationId xmlns:a16="http://schemas.microsoft.com/office/drawing/2014/main" id="{FDE4F161-A480-4B56-9079-BFDB837A2B17}"/>
              </a:ext>
            </a:extLst>
          </p:cNvPr>
          <p:cNvSpPr>
            <a:spLocks noGrp="1"/>
          </p:cNvSpPr>
          <p:nvPr>
            <p:ph type="ftr" sz="quarter" idx="27"/>
          </p:nvPr>
        </p:nvSpPr>
        <p:spPr bwMode="gray"/>
        <p:txBody>
          <a:bodyPr/>
          <a:lstStyle/>
          <a:p>
            <a:pPr>
              <a:defRPr/>
            </a:pPr>
            <a:r>
              <a:rPr lang="en-US"/>
              <a:t>FOOTER / PRESENTATION NAME</a:t>
            </a:r>
          </a:p>
        </p:txBody>
      </p:sp>
      <p:sp>
        <p:nvSpPr>
          <p:cNvPr id="7" name="Slide Number Placeholder 6">
            <a:extLst>
              <a:ext uri="{FF2B5EF4-FFF2-40B4-BE49-F238E27FC236}">
                <a16:creationId xmlns:a16="http://schemas.microsoft.com/office/drawing/2014/main" id="{25F191EB-D249-41BF-9D6B-80504B2736D8}"/>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152591862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ig Title + Text">
    <p:spTree>
      <p:nvGrpSpPr>
        <p:cNvPr id="1" name=""/>
        <p:cNvGrpSpPr/>
        <p:nvPr/>
      </p:nvGrpSpPr>
      <p:grpSpPr>
        <a:xfrm>
          <a:off x="0" y="0"/>
          <a:ext cx="0" cy="0"/>
          <a:chOff x="0" y="0"/>
          <a:chExt cx="0" cy="0"/>
        </a:xfrm>
      </p:grpSpPr>
      <p:sp>
        <p:nvSpPr>
          <p:cNvPr id="16" name="Text Placeholder 15"/>
          <p:cNvSpPr>
            <a:spLocks noGrp="1"/>
          </p:cNvSpPr>
          <p:nvPr>
            <p:ph type="body" sz="quarter" idx="25"/>
          </p:nvPr>
        </p:nvSpPr>
        <p:spPr bwMode="gray">
          <a:xfrm>
            <a:off x="8001328" y="2667029"/>
            <a:ext cx="2664177" cy="3048671"/>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CE06E7D-B6FA-45B6-BAC5-48D084D08246}"/>
              </a:ext>
            </a:extLst>
          </p:cNvPr>
          <p:cNvSpPr>
            <a:spLocks noGrp="1"/>
          </p:cNvSpPr>
          <p:nvPr>
            <p:ph type="title" hasCustomPrompt="1"/>
          </p:nvPr>
        </p:nvSpPr>
        <p:spPr bwMode="gray">
          <a:xfrm>
            <a:off x="380672" y="381456"/>
            <a:ext cx="6477195" cy="5333532"/>
          </a:xfrm>
        </p:spPr>
        <p:txBody>
          <a:bodyPr/>
          <a:lstStyle>
            <a:lvl1pPr>
              <a:defRPr sz="6349"/>
            </a:lvl1pPr>
          </a:lstStyle>
          <a:p>
            <a:pPr lvl="0"/>
            <a:r>
              <a:rPr lang="en-US"/>
              <a:t>Lorem Ipsum dolor </a:t>
            </a:r>
            <a:br>
              <a:rPr lang="en-US"/>
            </a:br>
            <a:r>
              <a:rPr lang="en-US"/>
              <a:t>sit </a:t>
            </a:r>
            <a:r>
              <a:rPr lang="en-US" err="1"/>
              <a:t>amet</a:t>
            </a:r>
            <a:r>
              <a:rPr lang="en-US"/>
              <a:t> Maecenas sed </a:t>
            </a:r>
            <a:r>
              <a:rPr lang="en-US" err="1"/>
              <a:t>porttitor</a:t>
            </a:r>
            <a:r>
              <a:rPr lang="en-US"/>
              <a:t> </a:t>
            </a:r>
            <a:r>
              <a:rPr lang="en-US" err="1"/>
              <a:t>congue</a:t>
            </a:r>
            <a:r>
              <a:rPr lang="en-US"/>
              <a:t> </a:t>
            </a:r>
            <a:r>
              <a:rPr lang="en-US" err="1"/>
              <a:t>massa</a:t>
            </a:r>
            <a:r>
              <a:rPr lang="en-US"/>
              <a:t> magna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2" name="Date Placeholder 1">
            <a:extLst>
              <a:ext uri="{FF2B5EF4-FFF2-40B4-BE49-F238E27FC236}">
                <a16:creationId xmlns:a16="http://schemas.microsoft.com/office/drawing/2014/main" id="{B01A240B-4718-4FF1-8AC3-03A503AC5812}"/>
              </a:ext>
            </a:extLst>
          </p:cNvPr>
          <p:cNvSpPr>
            <a:spLocks noGrp="1"/>
          </p:cNvSpPr>
          <p:nvPr>
            <p:ph type="dt" sz="half" idx="26"/>
          </p:nvPr>
        </p:nvSpPr>
        <p:spPr bwMode="gray"/>
        <p:txBody>
          <a:bodyPr/>
          <a:lstStyle/>
          <a:p>
            <a:pPr>
              <a:defRPr/>
            </a:pPr>
            <a:fld id="{D8BB9B68-8B81-4C33-95C8-3A80AF14313F}" type="datetime5">
              <a:rPr lang="en-US" noProof="0" smtClean="0"/>
              <a:t>6-Oct-21</a:t>
            </a:fld>
            <a:endParaRPr lang="en-US" noProof="0"/>
          </a:p>
        </p:txBody>
      </p:sp>
      <p:sp>
        <p:nvSpPr>
          <p:cNvPr id="3" name="Footer Placeholder 2">
            <a:extLst>
              <a:ext uri="{FF2B5EF4-FFF2-40B4-BE49-F238E27FC236}">
                <a16:creationId xmlns:a16="http://schemas.microsoft.com/office/drawing/2014/main" id="{FDE4F161-A480-4B56-9079-BFDB837A2B17}"/>
              </a:ext>
            </a:extLst>
          </p:cNvPr>
          <p:cNvSpPr>
            <a:spLocks noGrp="1"/>
          </p:cNvSpPr>
          <p:nvPr>
            <p:ph type="ftr" sz="quarter" idx="27"/>
          </p:nvPr>
        </p:nvSpPr>
        <p:spPr bwMode="gray"/>
        <p:txBody>
          <a:bodyPr/>
          <a:lstStyle/>
          <a:p>
            <a:pPr>
              <a:defRPr/>
            </a:pPr>
            <a:r>
              <a:rPr lang="en-US"/>
              <a:t>FOOTER / PRESENTATION NAME</a:t>
            </a:r>
          </a:p>
        </p:txBody>
      </p:sp>
      <p:sp>
        <p:nvSpPr>
          <p:cNvPr id="7" name="Slide Number Placeholder 6">
            <a:extLst>
              <a:ext uri="{FF2B5EF4-FFF2-40B4-BE49-F238E27FC236}">
                <a16:creationId xmlns:a16="http://schemas.microsoft.com/office/drawing/2014/main" id="{25F191EB-D249-41BF-9D6B-80504B2736D8}"/>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195501143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239591" y="381455"/>
            <a:ext cx="4571758" cy="609548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Text Placeholder 3"/>
          <p:cNvSpPr>
            <a:spLocks noGrp="1"/>
          </p:cNvSpPr>
          <p:nvPr>
            <p:ph type="body" sz="quarter" idx="18"/>
          </p:nvPr>
        </p:nvSpPr>
        <p:spPr bwMode="gray">
          <a:xfrm>
            <a:off x="380672" y="1524284"/>
            <a:ext cx="6096394" cy="4571658"/>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87554AB7-A818-4A36-9A37-AB628EE6B4C2}"/>
              </a:ext>
            </a:extLst>
          </p:cNvPr>
          <p:cNvSpPr>
            <a:spLocks noGrp="1"/>
          </p:cNvSpPr>
          <p:nvPr>
            <p:ph type="title"/>
          </p:nvPr>
        </p:nvSpPr>
        <p:spPr bwMode="gray">
          <a:xfrm>
            <a:off x="380672" y="381455"/>
            <a:ext cx="6096394" cy="1142829"/>
          </a:xfrm>
        </p:spPr>
        <p:txBody>
          <a:bodyPr/>
          <a:lstStyle/>
          <a:p>
            <a:r>
              <a:rPr lang="en-US"/>
              <a:t>Click to edit Master title style</a:t>
            </a:r>
          </a:p>
        </p:txBody>
      </p:sp>
      <p:sp>
        <p:nvSpPr>
          <p:cNvPr id="2" name="Date Placeholder 1">
            <a:extLst>
              <a:ext uri="{FF2B5EF4-FFF2-40B4-BE49-F238E27FC236}">
                <a16:creationId xmlns:a16="http://schemas.microsoft.com/office/drawing/2014/main" id="{943A8684-4625-40A7-9284-26C03D4706C3}"/>
              </a:ext>
            </a:extLst>
          </p:cNvPr>
          <p:cNvSpPr>
            <a:spLocks noGrp="1"/>
          </p:cNvSpPr>
          <p:nvPr>
            <p:ph type="dt" sz="half" idx="19"/>
          </p:nvPr>
        </p:nvSpPr>
        <p:spPr bwMode="gray"/>
        <p:txBody>
          <a:bodyPr/>
          <a:lstStyle/>
          <a:p>
            <a:pPr>
              <a:defRPr/>
            </a:pPr>
            <a:fld id="{48B61FCD-7470-4689-A9CD-D346240DBAFB}" type="datetime5">
              <a:rPr lang="en-US" noProof="0" smtClean="0"/>
              <a:t>6-Oct-21</a:t>
            </a:fld>
            <a:endParaRPr lang="en-US" noProof="0"/>
          </a:p>
        </p:txBody>
      </p:sp>
      <p:sp>
        <p:nvSpPr>
          <p:cNvPr id="8" name="Footer Placeholder 7">
            <a:extLst>
              <a:ext uri="{FF2B5EF4-FFF2-40B4-BE49-F238E27FC236}">
                <a16:creationId xmlns:a16="http://schemas.microsoft.com/office/drawing/2014/main" id="{AB5BF36B-A8F8-4D7F-B356-587972087121}"/>
              </a:ext>
            </a:extLst>
          </p:cNvPr>
          <p:cNvSpPr>
            <a:spLocks noGrp="1"/>
          </p:cNvSpPr>
          <p:nvPr>
            <p:ph type="ftr" sz="quarter" idx="20"/>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44BAF595-D6B0-4115-BF0C-7AB35F6E2A3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370206783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 2 Images (S)">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7238942" y="381455"/>
            <a:ext cx="4572407" cy="304754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6096394"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3"/>
          <p:cNvSpPr>
            <a:spLocks noGrp="1"/>
          </p:cNvSpPr>
          <p:nvPr>
            <p:ph type="pic" sz="quarter" idx="23"/>
          </p:nvPr>
        </p:nvSpPr>
        <p:spPr bwMode="gray">
          <a:xfrm>
            <a:off x="7239592" y="3429002"/>
            <a:ext cx="4571758" cy="30479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2" name="Title 1">
            <a:extLst>
              <a:ext uri="{FF2B5EF4-FFF2-40B4-BE49-F238E27FC236}">
                <a16:creationId xmlns:a16="http://schemas.microsoft.com/office/drawing/2014/main" id="{1BFBCBFF-D5B1-4E2D-8861-F0BBDDC89553}"/>
              </a:ext>
            </a:extLst>
          </p:cNvPr>
          <p:cNvSpPr>
            <a:spLocks noGrp="1"/>
          </p:cNvSpPr>
          <p:nvPr>
            <p:ph type="title"/>
          </p:nvPr>
        </p:nvSpPr>
        <p:spPr bwMode="gray">
          <a:xfrm>
            <a:off x="380672" y="381455"/>
            <a:ext cx="6096394"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01C83397-816B-42B1-BC04-BA77A7E0A2D8}"/>
              </a:ext>
            </a:extLst>
          </p:cNvPr>
          <p:cNvSpPr>
            <a:spLocks noGrp="1"/>
          </p:cNvSpPr>
          <p:nvPr>
            <p:ph type="dt" sz="half" idx="24"/>
          </p:nvPr>
        </p:nvSpPr>
        <p:spPr bwMode="gray"/>
        <p:txBody>
          <a:bodyPr/>
          <a:lstStyle/>
          <a:p>
            <a:pPr>
              <a:defRPr/>
            </a:pPr>
            <a:fld id="{C9E804E1-5E24-425C-BA4B-29657EA4FC2E}" type="datetime5">
              <a:rPr lang="en-US" noProof="0" smtClean="0"/>
              <a:t>6-Oct-21</a:t>
            </a:fld>
            <a:endParaRPr lang="en-US" noProof="0"/>
          </a:p>
        </p:txBody>
      </p:sp>
      <p:sp>
        <p:nvSpPr>
          <p:cNvPr id="8" name="Footer Placeholder 7">
            <a:extLst>
              <a:ext uri="{FF2B5EF4-FFF2-40B4-BE49-F238E27FC236}">
                <a16:creationId xmlns:a16="http://schemas.microsoft.com/office/drawing/2014/main" id="{1E99A44D-6F72-4D8A-A8C0-4AE2205C62B8}"/>
              </a:ext>
            </a:extLst>
          </p:cNvPr>
          <p:cNvSpPr>
            <a:spLocks noGrp="1"/>
          </p:cNvSpPr>
          <p:nvPr>
            <p:ph type="ftr" sz="quarter" idx="25"/>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373088995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 4 Images (S)">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7239196" y="381455"/>
            <a:ext cx="2286395" cy="304842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1" name="Picture Placeholder 3"/>
          <p:cNvSpPr>
            <a:spLocks noGrp="1"/>
          </p:cNvSpPr>
          <p:nvPr>
            <p:ph type="pic" sz="quarter" idx="23"/>
          </p:nvPr>
        </p:nvSpPr>
        <p:spPr bwMode="gray">
          <a:xfrm>
            <a:off x="9525590" y="381455"/>
            <a:ext cx="2285758" cy="3047547"/>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bwMode="gray">
          <a:xfrm>
            <a:off x="7239196" y="3429002"/>
            <a:ext cx="2286395" cy="304793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bwMode="gray">
          <a:xfrm>
            <a:off x="9525590" y="3429001"/>
            <a:ext cx="2285758" cy="3048933"/>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6096394"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0830341-2AD9-4EA6-BCF2-3AD4A14DBAA7}"/>
              </a:ext>
            </a:extLst>
          </p:cNvPr>
          <p:cNvSpPr>
            <a:spLocks noGrp="1"/>
          </p:cNvSpPr>
          <p:nvPr>
            <p:ph type="title"/>
          </p:nvPr>
        </p:nvSpPr>
        <p:spPr bwMode="gray">
          <a:xfrm>
            <a:off x="380671" y="381455"/>
            <a:ext cx="6096394"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42FE8990-C5D3-4BB8-9ADA-2669318C00CE}"/>
              </a:ext>
            </a:extLst>
          </p:cNvPr>
          <p:cNvSpPr>
            <a:spLocks noGrp="1"/>
          </p:cNvSpPr>
          <p:nvPr>
            <p:ph type="dt" sz="half" idx="26"/>
          </p:nvPr>
        </p:nvSpPr>
        <p:spPr bwMode="gray"/>
        <p:txBody>
          <a:bodyPr/>
          <a:lstStyle/>
          <a:p>
            <a:pPr>
              <a:defRPr/>
            </a:pPr>
            <a:fld id="{C3F2D518-4975-4110-A0DE-F86D4F022B57}" type="datetime5">
              <a:rPr lang="en-US" noProof="0" smtClean="0"/>
              <a:t>6-Oct-21</a:t>
            </a:fld>
            <a:endParaRPr lang="en-US" noProof="0"/>
          </a:p>
        </p:txBody>
      </p:sp>
      <p:sp>
        <p:nvSpPr>
          <p:cNvPr id="8" name="Footer Placeholder 7">
            <a:extLst>
              <a:ext uri="{FF2B5EF4-FFF2-40B4-BE49-F238E27FC236}">
                <a16:creationId xmlns:a16="http://schemas.microsoft.com/office/drawing/2014/main" id="{434FA166-1D1A-440C-8154-A9DACC934DE3}"/>
              </a:ext>
            </a:extLst>
          </p:cNvPr>
          <p:cNvSpPr>
            <a:spLocks noGrp="1"/>
          </p:cNvSpPr>
          <p:nvPr>
            <p:ph type="ftr" sz="quarter" idx="27"/>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353241356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1"/>
            <a:ext cx="12192000" cy="6858000"/>
          </a:xfrm>
          <a:solidFill>
            <a:schemeClr val="bg2"/>
          </a:solidFill>
        </p:spPr>
        <p:txBody>
          <a:bodyPr anchor="ctr"/>
          <a:lstStyle>
            <a:lvl1pPr algn="ctr">
              <a:defRPr>
                <a:solidFill>
                  <a:schemeClr val="bg1"/>
                </a:solidFill>
              </a:defRPr>
            </a:lvl1pPr>
          </a:lstStyle>
          <a:p>
            <a:r>
              <a:rPr lang="en-US" noProof="0" dirty="0"/>
              <a:t>Click icon to add picture</a:t>
            </a:r>
          </a:p>
        </p:txBody>
      </p:sp>
      <p:sp>
        <p:nvSpPr>
          <p:cNvPr id="2" name="Title 1"/>
          <p:cNvSpPr>
            <a:spLocks noGrp="1"/>
          </p:cNvSpPr>
          <p:nvPr>
            <p:ph type="ctrTitle" hasCustomPrompt="1"/>
          </p:nvPr>
        </p:nvSpPr>
        <p:spPr bwMode="gray">
          <a:xfrm>
            <a:off x="1142062" y="1143048"/>
            <a:ext cx="5335134" cy="1143653"/>
          </a:xfrm>
        </p:spPr>
        <p:txBody>
          <a:bodyPr lIns="0" anchor="t"/>
          <a:lstStyle>
            <a:lvl1pPr algn="l">
              <a:lnSpc>
                <a:spcPct val="100000"/>
              </a:lnSpc>
              <a:defRPr sz="5291" b="0" i="0" cap="all" spc="0" baseline="0">
                <a:solidFill>
                  <a:schemeClr val="bg1"/>
                </a:solidFill>
                <a:latin typeface="adineue TEXT Black" panose="020B0A03020201060004" pitchFamily="34" charset="0"/>
              </a:defRPr>
            </a:lvl1pPr>
          </a:lstStyle>
          <a:p>
            <a:r>
              <a:rPr lang="en-US" noProof="0" dirty="0"/>
              <a:t>Content</a:t>
            </a:r>
          </a:p>
        </p:txBody>
      </p:sp>
      <p:sp>
        <p:nvSpPr>
          <p:cNvPr id="6" name="Text Placeholder 5"/>
          <p:cNvSpPr>
            <a:spLocks noGrp="1"/>
          </p:cNvSpPr>
          <p:nvPr>
            <p:ph type="body" sz="quarter" idx="10" hasCustomPrompt="1"/>
          </p:nvPr>
        </p:nvSpPr>
        <p:spPr bwMode="gray">
          <a:xfrm>
            <a:off x="2667579" y="2667015"/>
            <a:ext cx="6476999" cy="3428752"/>
          </a:xfrm>
        </p:spPr>
        <p:txBody>
          <a:bodyPr anchor="t" anchorCtr="0"/>
          <a:lstStyle>
            <a:lvl1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defRPr>
            </a:lvl1pPr>
            <a:lvl2pPr marL="0" indent="0" algn="l">
              <a:lnSpc>
                <a:spcPct val="80000"/>
              </a:lnSpc>
              <a:spcBef>
                <a:spcPts val="0"/>
              </a:spcBef>
              <a:spcAft>
                <a:spcPts val="1323"/>
              </a:spcAft>
              <a:buClrTx/>
              <a:buSzPct val="90000"/>
              <a:buFont typeface="+mj-lt"/>
              <a:buNone/>
              <a:defRPr sz="1587" b="0" i="0" cap="all" baseline="0">
                <a:solidFill>
                  <a:schemeClr val="bg1"/>
                </a:solidFill>
                <a:latin typeface="+mn-lt"/>
                <a:cs typeface="AdihausDIN" panose="020B0504020101020102" pitchFamily="34" charset="0"/>
              </a:defRPr>
            </a:lvl2pPr>
            <a:lvl3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3pPr>
            <a:lvl4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4pPr>
            <a:lvl5pPr marL="380938" indent="-380938" algn="l">
              <a:lnSpc>
                <a:spcPct val="80000"/>
              </a:lnSpc>
              <a:spcBef>
                <a:spcPts val="0"/>
              </a:spcBef>
              <a:spcAft>
                <a:spcPts val="1323"/>
              </a:spcAft>
              <a:buClrTx/>
              <a:buSzPct val="90000"/>
              <a:defRPr sz="1587" b="0" i="0" cap="all" baseline="0">
                <a:solidFill>
                  <a:schemeClr val="bg1"/>
                </a:solidFill>
                <a:latin typeface="+mn-lt"/>
                <a:cs typeface="AdihausDIN" panose="020B0504020101020102" pitchFamily="34" charset="0"/>
              </a:defRPr>
            </a:lvl5pPr>
            <a:lvl6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6pPr>
            <a:lvl7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7pPr>
            <a:lvl8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8pPr>
            <a:lvl9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9pPr>
          </a:lstStyle>
          <a:p>
            <a:pPr lvl="0"/>
            <a:r>
              <a:rPr lang="en-US" noProof="0" dirty="0"/>
              <a:t>ADD AN AGENDA POINT HERE</a:t>
            </a:r>
          </a:p>
        </p:txBody>
      </p:sp>
      <p:sp>
        <p:nvSpPr>
          <p:cNvPr id="8" name="Date Placeholder 2"/>
          <p:cNvSpPr>
            <a:spLocks noGrp="1"/>
          </p:cNvSpPr>
          <p:nvPr>
            <p:ph type="dt" sz="half" idx="15"/>
          </p:nvPr>
        </p:nvSpPr>
        <p:spPr>
          <a:xfrm>
            <a:off x="10287794" y="6951653"/>
            <a:ext cx="1143218" cy="379993"/>
          </a:xfrm>
        </p:spPr>
        <p:txBody>
          <a:bodyPr/>
          <a:lstStyle/>
          <a:p>
            <a:pPr>
              <a:defRPr/>
            </a:pPr>
            <a:fld id="{35EE7846-5360-4C14-B2D6-3B69F70A8DCB}" type="datetime5">
              <a:rPr lang="en-US" smtClean="0"/>
              <a:t>6-Oct-21</a:t>
            </a:fld>
            <a:endParaRPr lang="en-US" dirty="0"/>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448308465"/>
      </p:ext>
    </p:extLst>
  </p:cSld>
  <p:clrMapOvr>
    <a:masterClrMapping/>
  </p:clrMapOvr>
  <p:transition spd="med">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714804" y="381455"/>
            <a:ext cx="6096545" cy="6095091"/>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Text Placeholder 3"/>
          <p:cNvSpPr>
            <a:spLocks noGrp="1"/>
          </p:cNvSpPr>
          <p:nvPr>
            <p:ph type="body" sz="quarter" idx="18"/>
          </p:nvPr>
        </p:nvSpPr>
        <p:spPr bwMode="gray">
          <a:xfrm>
            <a:off x="380672" y="1524284"/>
            <a:ext cx="4572132" cy="4571483"/>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2CDFE6B-8D26-4CAB-B939-1CE44E41CFDF}"/>
              </a:ext>
            </a:extLst>
          </p:cNvPr>
          <p:cNvSpPr>
            <a:spLocks noGrp="1"/>
          </p:cNvSpPr>
          <p:nvPr>
            <p:ph type="title"/>
          </p:nvPr>
        </p:nvSpPr>
        <p:spPr bwMode="gray">
          <a:xfrm>
            <a:off x="380672" y="381455"/>
            <a:ext cx="4572132"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1EB4B641-C544-4350-BCB4-EF0175FD1E17}"/>
              </a:ext>
            </a:extLst>
          </p:cNvPr>
          <p:cNvSpPr>
            <a:spLocks noGrp="1"/>
          </p:cNvSpPr>
          <p:nvPr>
            <p:ph type="dt" sz="half" idx="19"/>
          </p:nvPr>
        </p:nvSpPr>
        <p:spPr bwMode="gray"/>
        <p:txBody>
          <a:bodyPr/>
          <a:lstStyle/>
          <a:p>
            <a:pPr>
              <a:defRPr/>
            </a:pPr>
            <a:fld id="{8BF483ED-00BA-4238-9BA4-2B5940B97FCD}" type="datetime5">
              <a:rPr lang="en-US" noProof="0" smtClean="0"/>
              <a:t>6-Oct-21</a:t>
            </a:fld>
            <a:endParaRPr lang="en-US" noProof="0"/>
          </a:p>
        </p:txBody>
      </p:sp>
      <p:sp>
        <p:nvSpPr>
          <p:cNvPr id="8" name="Footer Placeholder 7">
            <a:extLst>
              <a:ext uri="{FF2B5EF4-FFF2-40B4-BE49-F238E27FC236}">
                <a16:creationId xmlns:a16="http://schemas.microsoft.com/office/drawing/2014/main" id="{16705D05-F9CD-44AB-8E21-6FAC9A7CD00C}"/>
              </a:ext>
            </a:extLst>
          </p:cNvPr>
          <p:cNvSpPr>
            <a:spLocks noGrp="1"/>
          </p:cNvSpPr>
          <p:nvPr>
            <p:ph type="ftr" sz="quarter" idx="20"/>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95237B40-96CE-407E-9B62-DBF5BCDCA0B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330022289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xt + 2 Images (M)">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5714068" y="381455"/>
            <a:ext cx="6097282" cy="304754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4572132"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3"/>
          <p:cNvSpPr>
            <a:spLocks noGrp="1"/>
          </p:cNvSpPr>
          <p:nvPr>
            <p:ph type="pic" sz="quarter" idx="23"/>
          </p:nvPr>
        </p:nvSpPr>
        <p:spPr bwMode="gray">
          <a:xfrm>
            <a:off x="5714935" y="3429002"/>
            <a:ext cx="6096415" cy="30479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2" name="Title 1">
            <a:extLst>
              <a:ext uri="{FF2B5EF4-FFF2-40B4-BE49-F238E27FC236}">
                <a16:creationId xmlns:a16="http://schemas.microsoft.com/office/drawing/2014/main" id="{1BFBCBFF-D5B1-4E2D-8861-F0BBDDC89553}"/>
              </a:ext>
            </a:extLst>
          </p:cNvPr>
          <p:cNvSpPr>
            <a:spLocks noGrp="1"/>
          </p:cNvSpPr>
          <p:nvPr>
            <p:ph type="title"/>
          </p:nvPr>
        </p:nvSpPr>
        <p:spPr bwMode="gray">
          <a:xfrm>
            <a:off x="380672" y="381455"/>
            <a:ext cx="4572132"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01C83397-816B-42B1-BC04-BA77A7E0A2D8}"/>
              </a:ext>
            </a:extLst>
          </p:cNvPr>
          <p:cNvSpPr>
            <a:spLocks noGrp="1"/>
          </p:cNvSpPr>
          <p:nvPr>
            <p:ph type="dt" sz="half" idx="24"/>
          </p:nvPr>
        </p:nvSpPr>
        <p:spPr bwMode="gray"/>
        <p:txBody>
          <a:bodyPr/>
          <a:lstStyle/>
          <a:p>
            <a:pPr>
              <a:defRPr/>
            </a:pPr>
            <a:fld id="{46E8A70C-8621-4B32-AA7B-E8B62F487FCA}" type="datetime5">
              <a:rPr lang="en-US" noProof="0" smtClean="0"/>
              <a:t>6-Oct-21</a:t>
            </a:fld>
            <a:endParaRPr lang="en-US" noProof="0"/>
          </a:p>
        </p:txBody>
      </p:sp>
      <p:sp>
        <p:nvSpPr>
          <p:cNvPr id="8" name="Footer Placeholder 7">
            <a:extLst>
              <a:ext uri="{FF2B5EF4-FFF2-40B4-BE49-F238E27FC236}">
                <a16:creationId xmlns:a16="http://schemas.microsoft.com/office/drawing/2014/main" id="{1E99A44D-6F72-4D8A-A8C0-4AE2205C62B8}"/>
              </a:ext>
            </a:extLst>
          </p:cNvPr>
          <p:cNvSpPr>
            <a:spLocks noGrp="1"/>
          </p:cNvSpPr>
          <p:nvPr>
            <p:ph type="ftr" sz="quarter" idx="25"/>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340966372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 4 Images (M)">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5714936" y="381455"/>
            <a:ext cx="3048525" cy="304842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1" name="Picture Placeholder 3"/>
          <p:cNvSpPr>
            <a:spLocks noGrp="1"/>
          </p:cNvSpPr>
          <p:nvPr>
            <p:ph type="pic" sz="quarter" idx="23"/>
          </p:nvPr>
        </p:nvSpPr>
        <p:spPr bwMode="gray">
          <a:xfrm>
            <a:off x="8763461" y="381455"/>
            <a:ext cx="3047888" cy="3047547"/>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bwMode="gray">
          <a:xfrm>
            <a:off x="5714934" y="3429002"/>
            <a:ext cx="3048525" cy="304793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bwMode="gray">
          <a:xfrm>
            <a:off x="8763459" y="3429001"/>
            <a:ext cx="3047890" cy="3048933"/>
          </a:xfrm>
          <a:solidFill>
            <a:schemeClr val="bg2"/>
          </a:solidFill>
        </p:spPr>
        <p:txBody>
          <a:bodyPr anchor="ctr"/>
          <a:lstStyle>
            <a:lvl1pPr algn="ctr">
              <a:defRPr sz="1058" b="0">
                <a:solidFill>
                  <a:schemeClr val="bg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4572131"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0830341-2AD9-4EA6-BCF2-3AD4A14DBAA7}"/>
              </a:ext>
            </a:extLst>
          </p:cNvPr>
          <p:cNvSpPr>
            <a:spLocks noGrp="1"/>
          </p:cNvSpPr>
          <p:nvPr>
            <p:ph type="title"/>
          </p:nvPr>
        </p:nvSpPr>
        <p:spPr bwMode="gray">
          <a:xfrm>
            <a:off x="380671" y="381455"/>
            <a:ext cx="4572131"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42FE8990-C5D3-4BB8-9ADA-2669318C00CE}"/>
              </a:ext>
            </a:extLst>
          </p:cNvPr>
          <p:cNvSpPr>
            <a:spLocks noGrp="1"/>
          </p:cNvSpPr>
          <p:nvPr>
            <p:ph type="dt" sz="half" idx="26"/>
          </p:nvPr>
        </p:nvSpPr>
        <p:spPr bwMode="gray"/>
        <p:txBody>
          <a:bodyPr/>
          <a:lstStyle/>
          <a:p>
            <a:pPr>
              <a:defRPr/>
            </a:pPr>
            <a:fld id="{1C252C02-CC27-4C9F-98FD-9E1BD2518795}" type="datetime5">
              <a:rPr lang="en-US" noProof="0" smtClean="0"/>
              <a:t>6-Oct-21</a:t>
            </a:fld>
            <a:endParaRPr lang="en-US" noProof="0"/>
          </a:p>
        </p:txBody>
      </p:sp>
      <p:sp>
        <p:nvSpPr>
          <p:cNvPr id="8" name="Footer Placeholder 7">
            <a:extLst>
              <a:ext uri="{FF2B5EF4-FFF2-40B4-BE49-F238E27FC236}">
                <a16:creationId xmlns:a16="http://schemas.microsoft.com/office/drawing/2014/main" id="{434FA166-1D1A-440C-8154-A9DACC934DE3}"/>
              </a:ext>
            </a:extLst>
          </p:cNvPr>
          <p:cNvSpPr>
            <a:spLocks noGrp="1"/>
          </p:cNvSpPr>
          <p:nvPr>
            <p:ph type="ftr" sz="quarter" idx="27"/>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234843795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 Image (L)">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4190904" y="381455"/>
            <a:ext cx="7620445" cy="6095091"/>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Text Placeholder 3"/>
          <p:cNvSpPr>
            <a:spLocks noGrp="1"/>
          </p:cNvSpPr>
          <p:nvPr>
            <p:ph type="body" sz="quarter" idx="18"/>
          </p:nvPr>
        </p:nvSpPr>
        <p:spPr bwMode="gray">
          <a:xfrm>
            <a:off x="380672" y="1524284"/>
            <a:ext cx="3047870" cy="4571483"/>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2CDFE6B-8D26-4CAB-B939-1CE44E41CFDF}"/>
              </a:ext>
            </a:extLst>
          </p:cNvPr>
          <p:cNvSpPr>
            <a:spLocks noGrp="1"/>
          </p:cNvSpPr>
          <p:nvPr>
            <p:ph type="title"/>
          </p:nvPr>
        </p:nvSpPr>
        <p:spPr bwMode="gray">
          <a:xfrm>
            <a:off x="380672" y="381455"/>
            <a:ext cx="3047870"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1EB4B641-C544-4350-BCB4-EF0175FD1E17}"/>
              </a:ext>
            </a:extLst>
          </p:cNvPr>
          <p:cNvSpPr>
            <a:spLocks noGrp="1"/>
          </p:cNvSpPr>
          <p:nvPr>
            <p:ph type="dt" sz="half" idx="19"/>
          </p:nvPr>
        </p:nvSpPr>
        <p:spPr bwMode="gray"/>
        <p:txBody>
          <a:bodyPr/>
          <a:lstStyle/>
          <a:p>
            <a:pPr>
              <a:defRPr/>
            </a:pPr>
            <a:fld id="{6EE529A5-118B-44B9-8847-0D927EA35F73}" type="datetime5">
              <a:rPr lang="en-US" noProof="0" smtClean="0"/>
              <a:t>6-Oct-21</a:t>
            </a:fld>
            <a:endParaRPr lang="en-US" noProof="0"/>
          </a:p>
        </p:txBody>
      </p:sp>
      <p:sp>
        <p:nvSpPr>
          <p:cNvPr id="8" name="Footer Placeholder 7">
            <a:extLst>
              <a:ext uri="{FF2B5EF4-FFF2-40B4-BE49-F238E27FC236}">
                <a16:creationId xmlns:a16="http://schemas.microsoft.com/office/drawing/2014/main" id="{16705D05-F9CD-44AB-8E21-6FAC9A7CD00C}"/>
              </a:ext>
            </a:extLst>
          </p:cNvPr>
          <p:cNvSpPr>
            <a:spLocks noGrp="1"/>
          </p:cNvSpPr>
          <p:nvPr>
            <p:ph type="ftr" sz="quarter" idx="20"/>
          </p:nvPr>
        </p:nvSpPr>
        <p:spPr bwMode="gray">
          <a:xfrm>
            <a:off x="1142718" y="6477934"/>
            <a:ext cx="1523693" cy="379993"/>
          </a:xfrm>
        </p:spPr>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95237B40-96CE-407E-9B62-DBF5BCDCA0B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115004443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ext + 2 Images (L)">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4190673" y="381455"/>
            <a:ext cx="7620678" cy="304754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3047870"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3"/>
          <p:cNvSpPr>
            <a:spLocks noGrp="1"/>
          </p:cNvSpPr>
          <p:nvPr>
            <p:ph type="pic" sz="quarter" idx="23"/>
          </p:nvPr>
        </p:nvSpPr>
        <p:spPr bwMode="gray">
          <a:xfrm>
            <a:off x="4191757" y="3429002"/>
            <a:ext cx="7619594" cy="30479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2" name="Title 1">
            <a:extLst>
              <a:ext uri="{FF2B5EF4-FFF2-40B4-BE49-F238E27FC236}">
                <a16:creationId xmlns:a16="http://schemas.microsoft.com/office/drawing/2014/main" id="{1BFBCBFF-D5B1-4E2D-8861-F0BBDDC89553}"/>
              </a:ext>
            </a:extLst>
          </p:cNvPr>
          <p:cNvSpPr>
            <a:spLocks noGrp="1"/>
          </p:cNvSpPr>
          <p:nvPr>
            <p:ph type="title"/>
          </p:nvPr>
        </p:nvSpPr>
        <p:spPr bwMode="gray">
          <a:xfrm>
            <a:off x="380672" y="381455"/>
            <a:ext cx="3047870"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01C83397-816B-42B1-BC04-BA77A7E0A2D8}"/>
              </a:ext>
            </a:extLst>
          </p:cNvPr>
          <p:cNvSpPr>
            <a:spLocks noGrp="1"/>
          </p:cNvSpPr>
          <p:nvPr>
            <p:ph type="dt" sz="half" idx="24"/>
          </p:nvPr>
        </p:nvSpPr>
        <p:spPr bwMode="gray"/>
        <p:txBody>
          <a:bodyPr/>
          <a:lstStyle/>
          <a:p>
            <a:pPr>
              <a:defRPr/>
            </a:pPr>
            <a:fld id="{FB83E17F-7A41-4F4E-BB0D-20EAAA442DAE}" type="datetime5">
              <a:rPr lang="en-US" noProof="0" smtClean="0"/>
              <a:t>6-Oct-21</a:t>
            </a:fld>
            <a:endParaRPr lang="en-US" noProof="0"/>
          </a:p>
        </p:txBody>
      </p:sp>
      <p:sp>
        <p:nvSpPr>
          <p:cNvPr id="8" name="Footer Placeholder 7">
            <a:extLst>
              <a:ext uri="{FF2B5EF4-FFF2-40B4-BE49-F238E27FC236}">
                <a16:creationId xmlns:a16="http://schemas.microsoft.com/office/drawing/2014/main" id="{1E99A44D-6F72-4D8A-A8C0-4AE2205C62B8}"/>
              </a:ext>
            </a:extLst>
          </p:cNvPr>
          <p:cNvSpPr>
            <a:spLocks noGrp="1"/>
          </p:cNvSpPr>
          <p:nvPr>
            <p:ph type="ftr" sz="quarter" idx="25"/>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127763797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ext + 4 Images (L)">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4190672" y="381455"/>
            <a:ext cx="3810656" cy="304842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1" name="Picture Placeholder 3"/>
          <p:cNvSpPr>
            <a:spLocks noGrp="1"/>
          </p:cNvSpPr>
          <p:nvPr>
            <p:ph type="pic" sz="quarter" idx="23"/>
          </p:nvPr>
        </p:nvSpPr>
        <p:spPr bwMode="gray">
          <a:xfrm>
            <a:off x="8001327" y="381455"/>
            <a:ext cx="3810022" cy="3047547"/>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bwMode="gray">
          <a:xfrm>
            <a:off x="4190671" y="3429002"/>
            <a:ext cx="3810656" cy="304793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bwMode="gray">
          <a:xfrm>
            <a:off x="8001327" y="3429001"/>
            <a:ext cx="3810022" cy="3048933"/>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3" y="1524284"/>
            <a:ext cx="3047868"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0830341-2AD9-4EA6-BCF2-3AD4A14DBAA7}"/>
              </a:ext>
            </a:extLst>
          </p:cNvPr>
          <p:cNvSpPr>
            <a:spLocks noGrp="1"/>
          </p:cNvSpPr>
          <p:nvPr>
            <p:ph type="title"/>
          </p:nvPr>
        </p:nvSpPr>
        <p:spPr bwMode="gray">
          <a:xfrm>
            <a:off x="380671" y="381455"/>
            <a:ext cx="3047868"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42FE8990-C5D3-4BB8-9ADA-2669318C00CE}"/>
              </a:ext>
            </a:extLst>
          </p:cNvPr>
          <p:cNvSpPr>
            <a:spLocks noGrp="1"/>
          </p:cNvSpPr>
          <p:nvPr>
            <p:ph type="dt" sz="half" idx="26"/>
          </p:nvPr>
        </p:nvSpPr>
        <p:spPr bwMode="gray"/>
        <p:txBody>
          <a:bodyPr/>
          <a:lstStyle/>
          <a:p>
            <a:pPr>
              <a:defRPr/>
            </a:pPr>
            <a:fld id="{DC2D8D3F-D2C9-48ED-9D9E-877DF9002D47}" type="datetime5">
              <a:rPr lang="en-US" noProof="0" smtClean="0"/>
              <a:t>6-Oct-21</a:t>
            </a:fld>
            <a:endParaRPr lang="en-US" noProof="0"/>
          </a:p>
        </p:txBody>
      </p:sp>
      <p:sp>
        <p:nvSpPr>
          <p:cNvPr id="8" name="Footer Placeholder 7">
            <a:extLst>
              <a:ext uri="{FF2B5EF4-FFF2-40B4-BE49-F238E27FC236}">
                <a16:creationId xmlns:a16="http://schemas.microsoft.com/office/drawing/2014/main" id="{434FA166-1D1A-440C-8154-A9DACC934DE3}"/>
              </a:ext>
            </a:extLst>
          </p:cNvPr>
          <p:cNvSpPr>
            <a:spLocks noGrp="1"/>
          </p:cNvSpPr>
          <p:nvPr>
            <p:ph type="ftr" sz="quarter" idx="27"/>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107616051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5714978" y="1"/>
            <a:ext cx="647702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Picture Placeholder 3"/>
          <p:cNvSpPr>
            <a:spLocks noGrp="1"/>
          </p:cNvSpPr>
          <p:nvPr>
            <p:ph type="pic" sz="quarter" idx="18"/>
          </p:nvPr>
        </p:nvSpPr>
        <p:spPr bwMode="gray">
          <a:xfrm>
            <a:off x="6477066" y="762235"/>
            <a:ext cx="3429722" cy="41912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4572259"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1CA5ACF1-C162-407F-9F5F-3510720C295B}"/>
              </a:ext>
            </a:extLst>
          </p:cNvPr>
          <p:cNvSpPr>
            <a:spLocks noGrp="1"/>
          </p:cNvSpPr>
          <p:nvPr>
            <p:ph type="title"/>
          </p:nvPr>
        </p:nvSpPr>
        <p:spPr bwMode="gray">
          <a:xfrm>
            <a:off x="380672" y="381455"/>
            <a:ext cx="4572259" cy="1142829"/>
          </a:xfrm>
        </p:spPr>
        <p:txBody>
          <a:bodyPr/>
          <a:lstStyle/>
          <a:p>
            <a:r>
              <a:rPr lang="en-US"/>
              <a:t>Click to edit Master title style</a:t>
            </a:r>
          </a:p>
        </p:txBody>
      </p:sp>
      <p:sp>
        <p:nvSpPr>
          <p:cNvPr id="3" name="Date Placeholder 2">
            <a:extLst>
              <a:ext uri="{FF2B5EF4-FFF2-40B4-BE49-F238E27FC236}">
                <a16:creationId xmlns:a16="http://schemas.microsoft.com/office/drawing/2014/main" id="{DB28DD07-98DF-4B97-96CB-39D106E2EA2E}"/>
              </a:ext>
            </a:extLst>
          </p:cNvPr>
          <p:cNvSpPr>
            <a:spLocks noGrp="1"/>
          </p:cNvSpPr>
          <p:nvPr>
            <p:ph type="dt" sz="half" idx="20"/>
          </p:nvPr>
        </p:nvSpPr>
        <p:spPr bwMode="gray"/>
        <p:txBody>
          <a:bodyPr/>
          <a:lstStyle/>
          <a:p>
            <a:pPr>
              <a:defRPr/>
            </a:pPr>
            <a:fld id="{F9BB3852-6DEB-41D7-8626-79729D25E163}" type="datetime5">
              <a:rPr lang="en-US" noProof="0" smtClean="0"/>
              <a:t>6-Oct-21</a:t>
            </a:fld>
            <a:endParaRPr lang="en-US" noProof="0"/>
          </a:p>
        </p:txBody>
      </p:sp>
      <p:sp>
        <p:nvSpPr>
          <p:cNvPr id="8" name="Footer Placeholder 7">
            <a:extLst>
              <a:ext uri="{FF2B5EF4-FFF2-40B4-BE49-F238E27FC236}">
                <a16:creationId xmlns:a16="http://schemas.microsoft.com/office/drawing/2014/main" id="{023A935B-B70D-4663-A866-B405DFA0A3C0}"/>
              </a:ext>
            </a:extLst>
          </p:cNvPr>
          <p:cNvSpPr>
            <a:spLocks noGrp="1"/>
          </p:cNvSpPr>
          <p:nvPr>
            <p:ph type="ftr" sz="quarter" idx="21"/>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B150DB46-6ADF-4AAA-AFF3-89A68F3489E8}"/>
              </a:ext>
            </a:extLst>
          </p:cNvPr>
          <p:cNvSpPr>
            <a:spLocks noGrp="1"/>
          </p:cNvSpPr>
          <p:nvPr>
            <p:ph type="sldNum" sz="quarter" idx="22"/>
          </p:nvPr>
        </p:nvSpPr>
        <p:spPr bwMode="gray"/>
        <p:txBody>
          <a:bodyPr/>
          <a:lstStyle/>
          <a:p>
            <a:pPr>
              <a:defRPr/>
            </a:pPr>
            <a:fld id="{66C8B3C2-955F-42B1-8DED-EE47D723596C}" type="slidenum">
              <a:rPr lang="en-US" noProof="0" smtClean="0"/>
              <a:pPr>
                <a:defRPr/>
              </a:pPr>
              <a:t>‹#›</a:t>
            </a:fld>
            <a:endParaRPr lang="en-US" noProof="0"/>
          </a:p>
        </p:txBody>
      </p:sp>
    </p:spTree>
    <p:extLst>
      <p:ext uri="{BB962C8B-B14F-4D97-AF65-F5344CB8AC3E}">
        <p14:creationId xmlns:p14="http://schemas.microsoft.com/office/powerpoint/2010/main" val="7129354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477066" y="381455"/>
            <a:ext cx="5334787" cy="5334245"/>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3" name="Date Placeholder 2">
            <a:extLst>
              <a:ext uri="{FF2B5EF4-FFF2-40B4-BE49-F238E27FC236}">
                <a16:creationId xmlns:a16="http://schemas.microsoft.com/office/drawing/2014/main" id="{68E0497E-133F-448C-BEE4-7A6E27C38295}"/>
              </a:ext>
            </a:extLst>
          </p:cNvPr>
          <p:cNvSpPr>
            <a:spLocks noGrp="1"/>
          </p:cNvSpPr>
          <p:nvPr>
            <p:ph type="dt" sz="half" idx="15"/>
          </p:nvPr>
        </p:nvSpPr>
        <p:spPr bwMode="gray"/>
        <p:txBody>
          <a:bodyPr/>
          <a:lstStyle/>
          <a:p>
            <a:pPr>
              <a:defRPr/>
            </a:pPr>
            <a:fld id="{C3CBDF89-CC29-4E7E-9504-DB51EE81EC44}" type="datetime5">
              <a:rPr lang="en-US" noProof="0" smtClean="0"/>
              <a:t>6-Oct-21</a:t>
            </a:fld>
            <a:endParaRPr lang="en-US" noProof="0"/>
          </a:p>
        </p:txBody>
      </p:sp>
      <p:sp>
        <p:nvSpPr>
          <p:cNvPr id="7" name="Footer Placeholder 6">
            <a:extLst>
              <a:ext uri="{FF2B5EF4-FFF2-40B4-BE49-F238E27FC236}">
                <a16:creationId xmlns:a16="http://schemas.microsoft.com/office/drawing/2014/main" id="{92A08196-6934-4191-B205-D31796806D25}"/>
              </a:ext>
            </a:extLst>
          </p:cNvPr>
          <p:cNvSpPr>
            <a:spLocks noGrp="1"/>
          </p:cNvSpPr>
          <p:nvPr>
            <p:ph type="ftr" sz="quarter" idx="16"/>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C24B1C9A-788D-4CFC-8317-79E132313D1E}"/>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5E2AB8A2-7F4C-4516-94E4-39422487270F}"/>
              </a:ext>
            </a:extLst>
          </p:cNvPr>
          <p:cNvSpPr>
            <a:spLocks noGrp="1"/>
          </p:cNvSpPr>
          <p:nvPr>
            <p:ph type="body" sz="quarter" idx="18"/>
          </p:nvPr>
        </p:nvSpPr>
        <p:spPr bwMode="gray">
          <a:xfrm>
            <a:off x="1142148" y="3809067"/>
            <a:ext cx="3048394"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9">
            <a:extLst>
              <a:ext uri="{FF2B5EF4-FFF2-40B4-BE49-F238E27FC236}">
                <a16:creationId xmlns:a16="http://schemas.microsoft.com/office/drawing/2014/main" id="{BC338D8D-474C-4D54-9AD6-37E614127D97}"/>
              </a:ext>
            </a:extLst>
          </p:cNvPr>
          <p:cNvSpPr>
            <a:spLocks noGrp="1"/>
          </p:cNvSpPr>
          <p:nvPr>
            <p:ph type="title" hasCustomPrompt="1"/>
          </p:nvPr>
        </p:nvSpPr>
        <p:spPr bwMode="gray">
          <a:xfrm>
            <a:off x="1142149" y="381455"/>
            <a:ext cx="4572786" cy="3427612"/>
          </a:xfrm>
        </p:spPr>
        <p:txBody>
          <a:bodyPr bIns="144000" anchor="b"/>
          <a:lstStyle>
            <a:lvl1pPr>
              <a:defRPr sz="6349" baseline="0"/>
            </a:lvl1pPr>
          </a:lstStyle>
          <a:p>
            <a:r>
              <a:rPr lang="en-US"/>
              <a:t>Nunc </a:t>
            </a:r>
            <a:r>
              <a:rPr lang="en-US" err="1"/>
              <a:t>viverra</a:t>
            </a:r>
            <a:br>
              <a:rPr lang="en-US"/>
            </a:b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Tree>
    <p:extLst>
      <p:ext uri="{BB962C8B-B14F-4D97-AF65-F5344CB8AC3E}">
        <p14:creationId xmlns:p14="http://schemas.microsoft.com/office/powerpoint/2010/main" val="272040795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80017" y="381455"/>
            <a:ext cx="5332554" cy="5334245"/>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6" name="Date Placeholder 5">
            <a:extLst>
              <a:ext uri="{FF2B5EF4-FFF2-40B4-BE49-F238E27FC236}">
                <a16:creationId xmlns:a16="http://schemas.microsoft.com/office/drawing/2014/main" id="{852BA88D-CCE5-4B6B-818D-6C6511012D1B}"/>
              </a:ext>
            </a:extLst>
          </p:cNvPr>
          <p:cNvSpPr>
            <a:spLocks noGrp="1"/>
          </p:cNvSpPr>
          <p:nvPr>
            <p:ph type="dt" sz="half" idx="15"/>
          </p:nvPr>
        </p:nvSpPr>
        <p:spPr bwMode="gray"/>
        <p:txBody>
          <a:bodyPr/>
          <a:lstStyle/>
          <a:p>
            <a:pPr>
              <a:defRPr/>
            </a:pPr>
            <a:fld id="{954438EE-FA60-4BAD-870E-66B6EA3633AA}" type="datetime5">
              <a:rPr lang="en-US" noProof="0" smtClean="0"/>
              <a:t>6-Oct-21</a:t>
            </a:fld>
            <a:endParaRPr lang="en-US" noProof="0"/>
          </a:p>
        </p:txBody>
      </p:sp>
      <p:sp>
        <p:nvSpPr>
          <p:cNvPr id="7" name="Footer Placeholder 6">
            <a:extLst>
              <a:ext uri="{FF2B5EF4-FFF2-40B4-BE49-F238E27FC236}">
                <a16:creationId xmlns:a16="http://schemas.microsoft.com/office/drawing/2014/main" id="{6BCAC71A-7D03-4E89-9A3C-B15F8E64489A}"/>
              </a:ext>
            </a:extLst>
          </p:cNvPr>
          <p:cNvSpPr>
            <a:spLocks noGrp="1"/>
          </p:cNvSpPr>
          <p:nvPr>
            <p:ph type="ftr" sz="quarter" idx="16"/>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509F7262-9874-419F-BE73-49CBA2C232EB}"/>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6" name="Text Placeholder 17">
            <a:extLst>
              <a:ext uri="{FF2B5EF4-FFF2-40B4-BE49-F238E27FC236}">
                <a16:creationId xmlns:a16="http://schemas.microsoft.com/office/drawing/2014/main" id="{2C29CA4E-694A-489A-87E6-41246D4F2FB6}"/>
              </a:ext>
            </a:extLst>
          </p:cNvPr>
          <p:cNvSpPr>
            <a:spLocks noGrp="1"/>
          </p:cNvSpPr>
          <p:nvPr>
            <p:ph type="body" sz="quarter" idx="18"/>
          </p:nvPr>
        </p:nvSpPr>
        <p:spPr bwMode="gray">
          <a:xfrm>
            <a:off x="6477065" y="3809067"/>
            <a:ext cx="3047956"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9">
            <a:extLst>
              <a:ext uri="{FF2B5EF4-FFF2-40B4-BE49-F238E27FC236}">
                <a16:creationId xmlns:a16="http://schemas.microsoft.com/office/drawing/2014/main" id="{CDED2062-D0C2-4D1A-903A-A6327F90DD22}"/>
              </a:ext>
            </a:extLst>
          </p:cNvPr>
          <p:cNvSpPr>
            <a:spLocks noGrp="1"/>
          </p:cNvSpPr>
          <p:nvPr>
            <p:ph type="title" hasCustomPrompt="1"/>
          </p:nvPr>
        </p:nvSpPr>
        <p:spPr bwMode="gray">
          <a:xfrm>
            <a:off x="6477066" y="381455"/>
            <a:ext cx="4953945" cy="3427612"/>
          </a:xfrm>
        </p:spPr>
        <p:txBody>
          <a:bodyPr bIns="144000" anchor="b"/>
          <a:lstStyle>
            <a:lvl1pPr>
              <a:defRPr sz="6349" baseline="0"/>
            </a:lvl1pPr>
          </a:lstStyle>
          <a:p>
            <a:r>
              <a:rPr lang="en-US"/>
              <a:t>Nunc </a:t>
            </a:r>
            <a:r>
              <a:rPr lang="en-US" err="1"/>
              <a:t>viverra</a:t>
            </a:r>
            <a:br>
              <a:rPr lang="en-US"/>
            </a:b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Tree>
    <p:extLst>
      <p:ext uri="{BB962C8B-B14F-4D97-AF65-F5344CB8AC3E}">
        <p14:creationId xmlns:p14="http://schemas.microsoft.com/office/powerpoint/2010/main" val="351620340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6" name="Picture Placeholder 5"/>
          <p:cNvSpPr>
            <a:spLocks noGrp="1"/>
          </p:cNvSpPr>
          <p:nvPr>
            <p:ph type="pic" sz="quarter" idx="22"/>
          </p:nvPr>
        </p:nvSpPr>
        <p:spPr bwMode="gray">
          <a:xfrm>
            <a:off x="380016" y="762234"/>
            <a:ext cx="5334918" cy="4190707"/>
          </a:xfrm>
          <a:solidFill>
            <a:schemeClr val="bg2">
              <a:lumMod val="20000"/>
              <a:lumOff val="80000"/>
            </a:schemeClr>
          </a:solidFill>
        </p:spPr>
        <p:txBody>
          <a:bodyPr tIns="0" anchor="ctr"/>
          <a:lstStyle>
            <a:lvl1pPr algn="ctr">
              <a:defRPr sz="1058" b="0">
                <a:solidFill>
                  <a:schemeClr val="tx1"/>
                </a:solidFill>
              </a:defRPr>
            </a:lvl1pPr>
          </a:lstStyle>
          <a:p>
            <a:r>
              <a:rPr lang="en-US" noProof="0"/>
              <a:t>Click icon to add picture</a:t>
            </a:r>
          </a:p>
        </p:txBody>
      </p:sp>
      <p:sp>
        <p:nvSpPr>
          <p:cNvPr id="2" name="Date Placeholder 1">
            <a:extLst>
              <a:ext uri="{FF2B5EF4-FFF2-40B4-BE49-F238E27FC236}">
                <a16:creationId xmlns:a16="http://schemas.microsoft.com/office/drawing/2014/main" id="{EE1B14A1-FF82-408D-AEB5-EE94B333D1BC}"/>
              </a:ext>
            </a:extLst>
          </p:cNvPr>
          <p:cNvSpPr>
            <a:spLocks noGrp="1"/>
          </p:cNvSpPr>
          <p:nvPr>
            <p:ph type="dt" sz="half" idx="23"/>
          </p:nvPr>
        </p:nvSpPr>
        <p:spPr bwMode="gray"/>
        <p:txBody>
          <a:bodyPr/>
          <a:lstStyle/>
          <a:p>
            <a:pPr>
              <a:defRPr/>
            </a:pPr>
            <a:fld id="{88D4B91D-F456-4356-9544-3C56FE61DAA3}" type="datetime5">
              <a:rPr lang="en-US" noProof="0" smtClean="0"/>
              <a:t>6-Oct-21</a:t>
            </a:fld>
            <a:endParaRPr lang="en-US" noProof="0"/>
          </a:p>
        </p:txBody>
      </p:sp>
      <p:sp>
        <p:nvSpPr>
          <p:cNvPr id="9" name="Footer Placeholder 8">
            <a:extLst>
              <a:ext uri="{FF2B5EF4-FFF2-40B4-BE49-F238E27FC236}">
                <a16:creationId xmlns:a16="http://schemas.microsoft.com/office/drawing/2014/main" id="{29A74FBA-7DBE-4DDB-BDB3-4471E6F00D76}"/>
              </a:ext>
            </a:extLst>
          </p:cNvPr>
          <p:cNvSpPr>
            <a:spLocks noGrp="1"/>
          </p:cNvSpPr>
          <p:nvPr>
            <p:ph type="ftr" sz="quarter" idx="24"/>
          </p:nvPr>
        </p:nvSpPr>
        <p:spPr bwMode="gray"/>
        <p:txBody>
          <a:bodyPr/>
          <a:lstStyle/>
          <a:p>
            <a:pPr>
              <a:defRPr/>
            </a:pPr>
            <a:r>
              <a:rPr lang="en-US"/>
              <a:t>FOOTER / PRESENTATION NAME</a:t>
            </a:r>
          </a:p>
        </p:txBody>
      </p:sp>
      <p:sp>
        <p:nvSpPr>
          <p:cNvPr id="11" name="Slide Number Placeholder 10">
            <a:extLst>
              <a:ext uri="{FF2B5EF4-FFF2-40B4-BE49-F238E27FC236}">
                <a16:creationId xmlns:a16="http://schemas.microsoft.com/office/drawing/2014/main" id="{3EE2FF6B-3040-4FCE-B748-5610D5FA500B}"/>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AB6537AA-A6B5-4595-AD40-B6605C22E2AE}"/>
              </a:ext>
            </a:extLst>
          </p:cNvPr>
          <p:cNvSpPr>
            <a:spLocks noGrp="1"/>
          </p:cNvSpPr>
          <p:nvPr>
            <p:ph type="body" sz="quarter" idx="18"/>
          </p:nvPr>
        </p:nvSpPr>
        <p:spPr bwMode="gray">
          <a:xfrm>
            <a:off x="8763459" y="4190970"/>
            <a:ext cx="2666824" cy="190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4">
            <a:extLst>
              <a:ext uri="{FF2B5EF4-FFF2-40B4-BE49-F238E27FC236}">
                <a16:creationId xmlns:a16="http://schemas.microsoft.com/office/drawing/2014/main" id="{DDE36620-5EF8-4F63-A9D6-C979933452FB}"/>
              </a:ext>
            </a:extLst>
          </p:cNvPr>
          <p:cNvSpPr>
            <a:spLocks noGrp="1"/>
          </p:cNvSpPr>
          <p:nvPr>
            <p:ph type="title" hasCustomPrompt="1"/>
          </p:nvPr>
        </p:nvSpPr>
        <p:spPr bwMode="gray">
          <a:xfrm>
            <a:off x="4952804" y="1524073"/>
            <a:ext cx="5714408" cy="2285912"/>
          </a:xfrm>
        </p:spPr>
        <p:txBody>
          <a:bodyPr/>
          <a:lstStyle>
            <a:lvl1pPr>
              <a:defRPr sz="6349"/>
            </a:lvl1pPr>
          </a:lstStyle>
          <a:p>
            <a:r>
              <a:rPr lang="en-US"/>
              <a:t>Nunc </a:t>
            </a:r>
            <a:r>
              <a:rPr lang="en-US" err="1"/>
              <a:t>viverra</a:t>
            </a:r>
            <a:br>
              <a:rPr lang="en-US"/>
            </a:b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Tree>
    <p:extLst>
      <p:ext uri="{BB962C8B-B14F-4D97-AF65-F5344CB8AC3E}">
        <p14:creationId xmlns:p14="http://schemas.microsoft.com/office/powerpoint/2010/main" val="26654673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 Focus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0294" y="762235"/>
            <a:ext cx="10669312" cy="5333533"/>
          </a:xfrm>
          <a:custGeom>
            <a:avLst/>
            <a:gdLst/>
            <a:ahLst/>
            <a:cxnLst/>
            <a:rect l="l" t="t" r="r" b="b"/>
            <a:pathLst>
              <a:path w="8064500" h="4032119">
                <a:moveTo>
                  <a:pt x="0" y="0"/>
                </a:moveTo>
                <a:lnTo>
                  <a:pt x="8064500" y="0"/>
                </a:lnTo>
                <a:lnTo>
                  <a:pt x="8064500" y="4032119"/>
                </a:lnTo>
                <a:lnTo>
                  <a:pt x="0" y="4032119"/>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dirty="0"/>
              <a:t>Click icon to add picture</a:t>
            </a:r>
          </a:p>
        </p:txBody>
      </p:sp>
      <p:sp>
        <p:nvSpPr>
          <p:cNvPr id="3" name="Titel 2"/>
          <p:cNvSpPr>
            <a:spLocks noGrp="1"/>
          </p:cNvSpPr>
          <p:nvPr>
            <p:ph type="title" hasCustomPrompt="1"/>
          </p:nvPr>
        </p:nvSpPr>
        <p:spPr bwMode="gray">
          <a:xfrm>
            <a:off x="2285082" y="3048933"/>
            <a:ext cx="7619736" cy="1904533"/>
          </a:xfrm>
        </p:spPr>
        <p:txBody>
          <a:bodyPr/>
          <a:lstStyle>
            <a:lvl1pPr algn="ctr">
              <a:defRPr sz="4233" b="0" i="0">
                <a:solidFill>
                  <a:schemeClr val="bg1"/>
                </a:solidFill>
                <a:latin typeface="adineue TEXT Black" panose="020B0A03020201060004" pitchFamily="34" charset="0"/>
              </a:defRPr>
            </a:lvl1pPr>
          </a:lstStyle>
          <a:p>
            <a:r>
              <a:rPr lang="en-US" dirty="0"/>
              <a:t>Click to edit Master </a:t>
            </a:r>
            <a:br>
              <a:rPr lang="en-US" dirty="0"/>
            </a:br>
            <a:r>
              <a:rPr lang="en-US" dirty="0"/>
              <a:t>title style</a:t>
            </a:r>
            <a:endParaRPr lang="de-DE" dirty="0"/>
          </a:p>
        </p:txBody>
      </p:sp>
      <p:sp>
        <p:nvSpPr>
          <p:cNvPr id="4"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dirty="0"/>
              <a:t>CLICK TO EDIT MASTER TEXT STYLES</a:t>
            </a:r>
          </a:p>
        </p:txBody>
      </p:sp>
      <p:sp>
        <p:nvSpPr>
          <p:cNvPr id="8" name="Date Placeholder 2"/>
          <p:cNvSpPr>
            <a:spLocks noGrp="1"/>
          </p:cNvSpPr>
          <p:nvPr>
            <p:ph type="dt" sz="half" idx="15"/>
          </p:nvPr>
        </p:nvSpPr>
        <p:spPr>
          <a:xfrm>
            <a:off x="10287794" y="6951653"/>
            <a:ext cx="1143218" cy="379993"/>
          </a:xfrm>
        </p:spPr>
        <p:txBody>
          <a:bodyPr/>
          <a:lstStyle/>
          <a:p>
            <a:pPr>
              <a:defRPr/>
            </a:pPr>
            <a:fld id="{58FABBDA-10EB-4EB5-ADED-52FB5CD0697B}" type="datetime5">
              <a:rPr lang="en-US" smtClean="0"/>
              <a:t>6-Oct-21</a:t>
            </a:fld>
            <a:endParaRPr lang="en-US" dirty="0"/>
          </a:p>
        </p:txBody>
      </p:sp>
      <p:sp>
        <p:nvSpPr>
          <p:cNvPr id="9"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11"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037383321"/>
      </p:ext>
    </p:extLst>
  </p:cSld>
  <p:clrMapOvr>
    <a:masterClrMapping/>
  </p:clrMapOvr>
  <p:transition spd="med">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6" name="Picture Placeholder 5"/>
          <p:cNvSpPr>
            <a:spLocks noGrp="1"/>
          </p:cNvSpPr>
          <p:nvPr>
            <p:ph type="pic" sz="quarter" idx="22"/>
          </p:nvPr>
        </p:nvSpPr>
        <p:spPr bwMode="gray">
          <a:xfrm>
            <a:off x="380016" y="762234"/>
            <a:ext cx="3810656" cy="4190707"/>
          </a:xfrm>
          <a:solidFill>
            <a:schemeClr val="bg2">
              <a:lumMod val="20000"/>
              <a:lumOff val="80000"/>
            </a:schemeClr>
          </a:solidFill>
        </p:spPr>
        <p:txBody>
          <a:bodyPr tIns="0" anchor="ctr"/>
          <a:lstStyle>
            <a:lvl1pPr algn="ctr">
              <a:defRPr sz="1058" b="0">
                <a:solidFill>
                  <a:schemeClr val="tx1"/>
                </a:solidFill>
              </a:defRPr>
            </a:lvl1pPr>
          </a:lstStyle>
          <a:p>
            <a:r>
              <a:rPr lang="en-US" noProof="0"/>
              <a:t>Click icon to add picture</a:t>
            </a:r>
          </a:p>
        </p:txBody>
      </p:sp>
      <p:sp>
        <p:nvSpPr>
          <p:cNvPr id="2" name="Date Placeholder 1">
            <a:extLst>
              <a:ext uri="{FF2B5EF4-FFF2-40B4-BE49-F238E27FC236}">
                <a16:creationId xmlns:a16="http://schemas.microsoft.com/office/drawing/2014/main" id="{EE1B14A1-FF82-408D-AEB5-EE94B333D1BC}"/>
              </a:ext>
            </a:extLst>
          </p:cNvPr>
          <p:cNvSpPr>
            <a:spLocks noGrp="1"/>
          </p:cNvSpPr>
          <p:nvPr>
            <p:ph type="dt" sz="half" idx="23"/>
          </p:nvPr>
        </p:nvSpPr>
        <p:spPr bwMode="gray"/>
        <p:txBody>
          <a:bodyPr/>
          <a:lstStyle/>
          <a:p>
            <a:pPr>
              <a:defRPr/>
            </a:pPr>
            <a:fld id="{B856C129-4122-4A54-A848-3FC3CB625596}" type="datetime5">
              <a:rPr lang="en-US" noProof="0" smtClean="0"/>
              <a:t>6-Oct-21</a:t>
            </a:fld>
            <a:endParaRPr lang="en-US" noProof="0"/>
          </a:p>
        </p:txBody>
      </p:sp>
      <p:sp>
        <p:nvSpPr>
          <p:cNvPr id="9" name="Footer Placeholder 8">
            <a:extLst>
              <a:ext uri="{FF2B5EF4-FFF2-40B4-BE49-F238E27FC236}">
                <a16:creationId xmlns:a16="http://schemas.microsoft.com/office/drawing/2014/main" id="{29A74FBA-7DBE-4DDB-BDB3-4471E6F00D76}"/>
              </a:ext>
            </a:extLst>
          </p:cNvPr>
          <p:cNvSpPr>
            <a:spLocks noGrp="1"/>
          </p:cNvSpPr>
          <p:nvPr>
            <p:ph type="ftr" sz="quarter" idx="24"/>
          </p:nvPr>
        </p:nvSpPr>
        <p:spPr bwMode="gray"/>
        <p:txBody>
          <a:bodyPr/>
          <a:lstStyle/>
          <a:p>
            <a:pPr>
              <a:defRPr/>
            </a:pPr>
            <a:r>
              <a:rPr lang="en-US"/>
              <a:t>FOOTER / PRESENTATION NAME</a:t>
            </a:r>
          </a:p>
        </p:txBody>
      </p:sp>
      <p:sp>
        <p:nvSpPr>
          <p:cNvPr id="11" name="Slide Number Placeholder 10">
            <a:extLst>
              <a:ext uri="{FF2B5EF4-FFF2-40B4-BE49-F238E27FC236}">
                <a16:creationId xmlns:a16="http://schemas.microsoft.com/office/drawing/2014/main" id="{3EE2FF6B-3040-4FCE-B748-5610D5FA500B}"/>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AB6537AA-A6B5-4595-AD40-B6605C22E2AE}"/>
              </a:ext>
            </a:extLst>
          </p:cNvPr>
          <p:cNvSpPr>
            <a:spLocks noGrp="1"/>
          </p:cNvSpPr>
          <p:nvPr>
            <p:ph type="body" sz="quarter" idx="18"/>
          </p:nvPr>
        </p:nvSpPr>
        <p:spPr bwMode="gray">
          <a:xfrm>
            <a:off x="8763459" y="4190970"/>
            <a:ext cx="2666824" cy="190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4">
            <a:extLst>
              <a:ext uri="{FF2B5EF4-FFF2-40B4-BE49-F238E27FC236}">
                <a16:creationId xmlns:a16="http://schemas.microsoft.com/office/drawing/2014/main" id="{03E54861-3EA4-4688-A090-54FC7F40A6BA}"/>
              </a:ext>
            </a:extLst>
          </p:cNvPr>
          <p:cNvSpPr>
            <a:spLocks noGrp="1"/>
          </p:cNvSpPr>
          <p:nvPr>
            <p:ph type="title" hasCustomPrompt="1"/>
          </p:nvPr>
        </p:nvSpPr>
        <p:spPr bwMode="gray">
          <a:xfrm>
            <a:off x="3428541" y="1524073"/>
            <a:ext cx="4572217" cy="4190839"/>
          </a:xfrm>
        </p:spPr>
        <p:txBody>
          <a:bodyPr/>
          <a:lstStyle>
            <a:lvl1pPr>
              <a:defRPr sz="6349"/>
            </a:lvl1pPr>
          </a:lstStyle>
          <a:p>
            <a:r>
              <a:rPr lang="en-US"/>
              <a:t>Nunc </a:t>
            </a:r>
            <a:r>
              <a:rPr lang="en-US" err="1"/>
              <a:t>viverra</a:t>
            </a:r>
            <a:br>
              <a:rPr lang="en-US"/>
            </a:b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Tree>
    <p:extLst>
      <p:ext uri="{BB962C8B-B14F-4D97-AF65-F5344CB8AC3E}">
        <p14:creationId xmlns:p14="http://schemas.microsoft.com/office/powerpoint/2010/main" val="1588331225"/>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6" name="Date Placeholder 5">
            <a:extLst>
              <a:ext uri="{FF2B5EF4-FFF2-40B4-BE49-F238E27FC236}">
                <a16:creationId xmlns:a16="http://schemas.microsoft.com/office/drawing/2014/main" id="{813BFC30-2FCA-410D-BBEC-D382CF371ECC}"/>
              </a:ext>
            </a:extLst>
          </p:cNvPr>
          <p:cNvSpPr>
            <a:spLocks noGrp="1"/>
          </p:cNvSpPr>
          <p:nvPr>
            <p:ph type="dt" sz="half" idx="15"/>
          </p:nvPr>
        </p:nvSpPr>
        <p:spPr bwMode="gray"/>
        <p:txBody>
          <a:bodyPr/>
          <a:lstStyle/>
          <a:p>
            <a:pPr>
              <a:defRPr/>
            </a:pPr>
            <a:fld id="{C5D254F7-C664-4EC6-99F5-6FE262C927AB}" type="datetime5">
              <a:rPr lang="en-US" noProof="0" smtClean="0"/>
              <a:t>6-Oct-21</a:t>
            </a:fld>
            <a:endParaRPr lang="en-US" noProof="0"/>
          </a:p>
        </p:txBody>
      </p:sp>
      <p:sp>
        <p:nvSpPr>
          <p:cNvPr id="7" name="Footer Placeholder 6">
            <a:extLst>
              <a:ext uri="{FF2B5EF4-FFF2-40B4-BE49-F238E27FC236}">
                <a16:creationId xmlns:a16="http://schemas.microsoft.com/office/drawing/2014/main" id="{BC3F51E2-1DD1-4C19-8436-7F333FF5D0CE}"/>
              </a:ext>
            </a:extLst>
          </p:cNvPr>
          <p:cNvSpPr>
            <a:spLocks noGrp="1"/>
          </p:cNvSpPr>
          <p:nvPr>
            <p:ph type="ftr" sz="quarter" idx="16"/>
          </p:nvPr>
        </p:nvSpPr>
        <p:spPr bwMode="gray"/>
        <p:txBody>
          <a:bodyPr/>
          <a:lstStyle/>
          <a:p>
            <a:pPr>
              <a:defRPr/>
            </a:pPr>
            <a:r>
              <a:rPr lang="en-US"/>
              <a:t>FOOTER / PRESENTATION NAME</a:t>
            </a:r>
          </a:p>
        </p:txBody>
      </p:sp>
      <p:sp>
        <p:nvSpPr>
          <p:cNvPr id="8" name="Slide Number Placeholder 7">
            <a:extLst>
              <a:ext uri="{FF2B5EF4-FFF2-40B4-BE49-F238E27FC236}">
                <a16:creationId xmlns:a16="http://schemas.microsoft.com/office/drawing/2014/main" id="{AEDCCE28-19A7-435F-8D59-90A8A4024C83}"/>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4" name="Text Placeholder 17">
            <a:extLst>
              <a:ext uri="{FF2B5EF4-FFF2-40B4-BE49-F238E27FC236}">
                <a16:creationId xmlns:a16="http://schemas.microsoft.com/office/drawing/2014/main" id="{60158A3D-6DBE-4CAA-A5BB-CC6CB67064FE}"/>
              </a:ext>
            </a:extLst>
          </p:cNvPr>
          <p:cNvSpPr>
            <a:spLocks noGrp="1"/>
          </p:cNvSpPr>
          <p:nvPr>
            <p:ph type="body" sz="quarter" idx="18"/>
          </p:nvPr>
        </p:nvSpPr>
        <p:spPr bwMode="gray">
          <a:xfrm>
            <a:off x="1142716" y="4189264"/>
            <a:ext cx="3047956"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4">
            <a:extLst>
              <a:ext uri="{FF2B5EF4-FFF2-40B4-BE49-F238E27FC236}">
                <a16:creationId xmlns:a16="http://schemas.microsoft.com/office/drawing/2014/main" id="{4A1DF06B-D9DA-44AA-B35B-6C3917A718B0}"/>
              </a:ext>
            </a:extLst>
          </p:cNvPr>
          <p:cNvSpPr>
            <a:spLocks noGrp="1"/>
          </p:cNvSpPr>
          <p:nvPr>
            <p:ph type="title" hasCustomPrompt="1"/>
          </p:nvPr>
        </p:nvSpPr>
        <p:spPr bwMode="gray">
          <a:xfrm>
            <a:off x="1142717" y="761653"/>
            <a:ext cx="4953282" cy="3427610"/>
          </a:xfrm>
        </p:spPr>
        <p:txBody>
          <a:bodyPr bIns="144000" anchor="b"/>
          <a:lstStyle>
            <a:lvl1pPr>
              <a:defRPr sz="6349"/>
            </a:lvl1pPr>
          </a:lstStyle>
          <a:p>
            <a:r>
              <a:rPr lang="en-US"/>
              <a:t>Nunc </a:t>
            </a:r>
            <a:r>
              <a:rPr lang="en-US" err="1"/>
              <a:t>viverra</a:t>
            </a:r>
            <a:r>
              <a:rPr lang="en-US"/>
              <a:t> </a:t>
            </a:r>
            <a:r>
              <a:rPr lang="en-US" err="1"/>
              <a:t>imperdiet</a:t>
            </a:r>
            <a:r>
              <a:rPr lang="en-US"/>
              <a:t> </a:t>
            </a:r>
            <a:br>
              <a:rPr lang="en-US"/>
            </a:b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Tree>
    <p:extLst>
      <p:ext uri="{BB962C8B-B14F-4D97-AF65-F5344CB8AC3E}">
        <p14:creationId xmlns:p14="http://schemas.microsoft.com/office/powerpoint/2010/main" val="2357397156"/>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380671" y="381455"/>
            <a:ext cx="3047871" cy="609542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bwMode="gray">
          <a:xfrm>
            <a:off x="3428543" y="381455"/>
            <a:ext cx="3047650" cy="3047544"/>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bwMode="gray">
          <a:xfrm>
            <a:off x="3428543" y="3429000"/>
            <a:ext cx="3047650" cy="3047544"/>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4" name="Picture Placeholder 3"/>
          <p:cNvSpPr>
            <a:spLocks noGrp="1"/>
          </p:cNvSpPr>
          <p:nvPr>
            <p:ph type="pic" sz="quarter" idx="28"/>
          </p:nvPr>
        </p:nvSpPr>
        <p:spPr bwMode="gray">
          <a:xfrm>
            <a:off x="6476192" y="381455"/>
            <a:ext cx="5335157" cy="6095089"/>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3" name="Date Placeholder 2">
            <a:extLst>
              <a:ext uri="{FF2B5EF4-FFF2-40B4-BE49-F238E27FC236}">
                <a16:creationId xmlns:a16="http://schemas.microsoft.com/office/drawing/2014/main" id="{3BEEA472-FFC5-4163-BBF5-3AB87198F59E}"/>
              </a:ext>
            </a:extLst>
          </p:cNvPr>
          <p:cNvSpPr>
            <a:spLocks noGrp="1"/>
          </p:cNvSpPr>
          <p:nvPr>
            <p:ph type="dt" sz="half" idx="29"/>
          </p:nvPr>
        </p:nvSpPr>
        <p:spPr bwMode="gray"/>
        <p:txBody>
          <a:bodyPr/>
          <a:lstStyle/>
          <a:p>
            <a:pPr>
              <a:defRPr/>
            </a:pPr>
            <a:fld id="{B3C10A5C-B79F-4D80-97C6-4B5A34F54120}" type="datetime5">
              <a:rPr lang="en-US" noProof="0" smtClean="0"/>
              <a:t>6-Oct-21</a:t>
            </a:fld>
            <a:endParaRPr lang="en-US" noProof="0"/>
          </a:p>
        </p:txBody>
      </p:sp>
      <p:sp>
        <p:nvSpPr>
          <p:cNvPr id="8" name="Footer Placeholder 7">
            <a:extLst>
              <a:ext uri="{FF2B5EF4-FFF2-40B4-BE49-F238E27FC236}">
                <a16:creationId xmlns:a16="http://schemas.microsoft.com/office/drawing/2014/main" id="{B311A146-ADE7-490B-906B-7D6611C1BF9D}"/>
              </a:ext>
            </a:extLst>
          </p:cNvPr>
          <p:cNvSpPr>
            <a:spLocks noGrp="1"/>
          </p:cNvSpPr>
          <p:nvPr>
            <p:ph type="ftr" sz="quarter" idx="30"/>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FD8E4796-355D-4859-A742-D960938E2D35}"/>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7D786E24-DC02-43AF-9B6A-E8D3FB81FE70}"/>
              </a:ext>
            </a:extLst>
          </p:cNvPr>
          <p:cNvSpPr>
            <a:spLocks noGrp="1"/>
          </p:cNvSpPr>
          <p:nvPr>
            <p:ph type="title" hasCustomPrompt="1"/>
          </p:nvPr>
        </p:nvSpPr>
        <p:spPr bwMode="gray">
          <a:xfrm>
            <a:off x="1142148" y="1143087"/>
            <a:ext cx="4572787" cy="3428868"/>
          </a:xfrm>
        </p:spPr>
        <p:txBody>
          <a:bodyPr/>
          <a:lstStyle>
            <a:lvl1pPr>
              <a:defRPr sz="6349"/>
            </a:lvl1pPr>
          </a:lstStyle>
          <a:p>
            <a:r>
              <a:rPr lang="en-US"/>
              <a:t>Nunc </a:t>
            </a:r>
            <a:r>
              <a:rPr lang="en-US" err="1"/>
              <a:t>viverra</a:t>
            </a:r>
            <a:br>
              <a:rPr lang="en-US"/>
            </a:b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Tree>
    <p:extLst>
      <p:ext uri="{BB962C8B-B14F-4D97-AF65-F5344CB8AC3E}">
        <p14:creationId xmlns:p14="http://schemas.microsoft.com/office/powerpoint/2010/main" val="406977382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1" y="0"/>
            <a:ext cx="3047475" cy="685792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3"/>
          </p:nvPr>
        </p:nvSpPr>
        <p:spPr bwMode="gray">
          <a:xfrm>
            <a:off x="3047476" y="1"/>
            <a:ext cx="3047475" cy="228604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bwMode="gray">
          <a:xfrm>
            <a:off x="3047476" y="2286044"/>
            <a:ext cx="3047475" cy="228604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bwMode="gray">
          <a:xfrm>
            <a:off x="3047476" y="4572087"/>
            <a:ext cx="3047475" cy="228604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21" name="Picture Placeholder 3"/>
          <p:cNvSpPr>
            <a:spLocks noGrp="1"/>
          </p:cNvSpPr>
          <p:nvPr>
            <p:ph type="pic" sz="quarter" idx="26"/>
          </p:nvPr>
        </p:nvSpPr>
        <p:spPr bwMode="gray">
          <a:xfrm>
            <a:off x="6094951" y="0"/>
            <a:ext cx="2668203" cy="3428999"/>
          </a:xfrm>
          <a:solidFill>
            <a:schemeClr val="bg2"/>
          </a:solidFill>
        </p:spPr>
        <p:txBody>
          <a:bodyPr anchor="ctr"/>
          <a:lstStyle>
            <a:lvl1pPr algn="ctr">
              <a:defRPr sz="1058" b="0">
                <a:solidFill>
                  <a:schemeClr val="bg1"/>
                </a:solidFill>
              </a:defRPr>
            </a:lvl1pPr>
          </a:lstStyle>
          <a:p>
            <a:r>
              <a:rPr lang="en-US" noProof="0"/>
              <a:t>Click icon to add picture</a:t>
            </a:r>
          </a:p>
        </p:txBody>
      </p:sp>
      <p:sp>
        <p:nvSpPr>
          <p:cNvPr id="23" name="Picture Placeholder 3"/>
          <p:cNvSpPr>
            <a:spLocks noGrp="1"/>
          </p:cNvSpPr>
          <p:nvPr>
            <p:ph type="pic" sz="quarter" idx="27"/>
          </p:nvPr>
        </p:nvSpPr>
        <p:spPr bwMode="gray">
          <a:xfrm>
            <a:off x="6094951" y="3429000"/>
            <a:ext cx="2668203" cy="3428999"/>
          </a:xfrm>
          <a:solidFill>
            <a:schemeClr val="bg2">
              <a:lumMod val="75000"/>
            </a:schemeClr>
          </a:solidFill>
        </p:spPr>
        <p:txBody>
          <a:bodyPr anchor="ctr"/>
          <a:lstStyle>
            <a:lvl1pPr algn="ctr">
              <a:defRPr sz="1058" b="0">
                <a:solidFill>
                  <a:schemeClr val="bg1"/>
                </a:solidFill>
              </a:defRPr>
            </a:lvl1pPr>
          </a:lstStyle>
          <a:p>
            <a:r>
              <a:rPr lang="en-US" noProof="0"/>
              <a:t>Click icon to add picture</a:t>
            </a:r>
          </a:p>
        </p:txBody>
      </p:sp>
      <p:sp>
        <p:nvSpPr>
          <p:cNvPr id="24" name="Picture Placeholder 3"/>
          <p:cNvSpPr>
            <a:spLocks noGrp="1"/>
          </p:cNvSpPr>
          <p:nvPr>
            <p:ph type="pic" sz="quarter" idx="28"/>
          </p:nvPr>
        </p:nvSpPr>
        <p:spPr bwMode="gray">
          <a:xfrm>
            <a:off x="8763153" y="0"/>
            <a:ext cx="3428847" cy="6857927"/>
          </a:xfrm>
          <a:solidFill>
            <a:schemeClr val="bg2">
              <a:lumMod val="50000"/>
            </a:schemeClr>
          </a:solidFill>
        </p:spPr>
        <p:txBody>
          <a:bodyPr anchor="ctr"/>
          <a:lstStyle>
            <a:lvl1pPr algn="ctr">
              <a:defRPr sz="1058" b="0">
                <a:solidFill>
                  <a:schemeClr val="bg1"/>
                </a:solidFill>
              </a:defRPr>
            </a:lvl1pPr>
          </a:lstStyle>
          <a:p>
            <a:r>
              <a:rPr lang="en-US" noProof="0"/>
              <a:t>Click icon to add picture</a:t>
            </a:r>
          </a:p>
        </p:txBody>
      </p:sp>
      <p:sp>
        <p:nvSpPr>
          <p:cNvPr id="3" name="Date Placeholder 2">
            <a:extLst>
              <a:ext uri="{FF2B5EF4-FFF2-40B4-BE49-F238E27FC236}">
                <a16:creationId xmlns:a16="http://schemas.microsoft.com/office/drawing/2014/main" id="{88B3B50E-8932-423D-9C5E-075ED67C9393}"/>
              </a:ext>
            </a:extLst>
          </p:cNvPr>
          <p:cNvSpPr>
            <a:spLocks noGrp="1"/>
          </p:cNvSpPr>
          <p:nvPr>
            <p:ph type="dt" sz="half" idx="29"/>
          </p:nvPr>
        </p:nvSpPr>
        <p:spPr bwMode="gray"/>
        <p:txBody>
          <a:bodyPr/>
          <a:lstStyle/>
          <a:p>
            <a:pPr>
              <a:defRPr/>
            </a:pPr>
            <a:fld id="{46965C07-DC3B-4958-AE4C-325A49510420}" type="datetime5">
              <a:rPr lang="en-US" noProof="0" smtClean="0"/>
              <a:t>6-Oct-21</a:t>
            </a:fld>
            <a:endParaRPr lang="en-US" noProof="0"/>
          </a:p>
        </p:txBody>
      </p:sp>
      <p:sp>
        <p:nvSpPr>
          <p:cNvPr id="8" name="Footer Placeholder 7">
            <a:extLst>
              <a:ext uri="{FF2B5EF4-FFF2-40B4-BE49-F238E27FC236}">
                <a16:creationId xmlns:a16="http://schemas.microsoft.com/office/drawing/2014/main" id="{39D386FB-1B96-43B7-AF95-B57479D81F88}"/>
              </a:ext>
            </a:extLst>
          </p:cNvPr>
          <p:cNvSpPr>
            <a:spLocks noGrp="1"/>
          </p:cNvSpPr>
          <p:nvPr>
            <p:ph type="ftr" sz="quarter" idx="30"/>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DDBBE06D-E1F0-45B0-A4B9-F2F79936B1B8}"/>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7" name="Title 6">
            <a:extLst>
              <a:ext uri="{FF2B5EF4-FFF2-40B4-BE49-F238E27FC236}">
                <a16:creationId xmlns:a16="http://schemas.microsoft.com/office/drawing/2014/main" id="{9F2CEF07-6748-4A1B-91B8-0FF107ED6470}"/>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5169450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bwMode="gray">
          <a:xfrm>
            <a:off x="1" y="0"/>
            <a:ext cx="5714934" cy="6857474"/>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9" name="Picture Placeholder 5"/>
          <p:cNvSpPr>
            <a:spLocks noGrp="1"/>
          </p:cNvSpPr>
          <p:nvPr>
            <p:ph type="pic" sz="quarter" idx="28"/>
          </p:nvPr>
        </p:nvSpPr>
        <p:spPr bwMode="gray">
          <a:xfrm>
            <a:off x="5714935" y="525"/>
            <a:ext cx="6477416" cy="6857476"/>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6" name="Picture Placeholder 5"/>
          <p:cNvSpPr>
            <a:spLocks noGrp="1"/>
          </p:cNvSpPr>
          <p:nvPr>
            <p:ph type="pic" sz="quarter" idx="27"/>
          </p:nvPr>
        </p:nvSpPr>
        <p:spPr bwMode="gray">
          <a:xfrm>
            <a:off x="6477067" y="761652"/>
            <a:ext cx="4190144" cy="4191815"/>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8" name="Date Placeholder 7">
            <a:extLst>
              <a:ext uri="{FF2B5EF4-FFF2-40B4-BE49-F238E27FC236}">
                <a16:creationId xmlns:a16="http://schemas.microsoft.com/office/drawing/2014/main" id="{2B018C27-F5B0-4B72-AC95-0F69D3FE5B7A}"/>
              </a:ext>
            </a:extLst>
          </p:cNvPr>
          <p:cNvSpPr>
            <a:spLocks noGrp="1"/>
          </p:cNvSpPr>
          <p:nvPr>
            <p:ph type="dt" sz="half" idx="29"/>
          </p:nvPr>
        </p:nvSpPr>
        <p:spPr bwMode="gray"/>
        <p:txBody>
          <a:bodyPr/>
          <a:lstStyle/>
          <a:p>
            <a:pPr>
              <a:defRPr/>
            </a:pPr>
            <a:fld id="{52CDF456-C6BE-4397-8E5E-D6368B37F8E0}" type="datetime5">
              <a:rPr lang="en-US" noProof="0" smtClean="0"/>
              <a:t>6-Oct-21</a:t>
            </a:fld>
            <a:endParaRPr lang="en-US" noProof="0"/>
          </a:p>
        </p:txBody>
      </p:sp>
      <p:sp>
        <p:nvSpPr>
          <p:cNvPr id="10" name="Footer Placeholder 9">
            <a:extLst>
              <a:ext uri="{FF2B5EF4-FFF2-40B4-BE49-F238E27FC236}">
                <a16:creationId xmlns:a16="http://schemas.microsoft.com/office/drawing/2014/main" id="{75C014CF-8D3D-40DB-80D2-FDAADF9DB104}"/>
              </a:ext>
            </a:extLst>
          </p:cNvPr>
          <p:cNvSpPr>
            <a:spLocks noGrp="1"/>
          </p:cNvSpPr>
          <p:nvPr>
            <p:ph type="ftr" sz="quarter" idx="30"/>
          </p:nvPr>
        </p:nvSpPr>
        <p:spPr bwMode="gray"/>
        <p:txBody>
          <a:bodyPr/>
          <a:lstStyle/>
          <a:p>
            <a:pPr>
              <a:defRPr/>
            </a:pPr>
            <a:r>
              <a:rPr lang="en-US"/>
              <a:t>FOOTER / PRESENTATION NAME</a:t>
            </a:r>
          </a:p>
        </p:txBody>
      </p:sp>
      <p:sp>
        <p:nvSpPr>
          <p:cNvPr id="11" name="Slide Number Placeholder 10">
            <a:extLst>
              <a:ext uri="{FF2B5EF4-FFF2-40B4-BE49-F238E27FC236}">
                <a16:creationId xmlns:a16="http://schemas.microsoft.com/office/drawing/2014/main" id="{7185475C-96D3-413F-A5B9-4489AB46BD6C}"/>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13" name="Text Placeholder 17">
            <a:extLst>
              <a:ext uri="{FF2B5EF4-FFF2-40B4-BE49-F238E27FC236}">
                <a16:creationId xmlns:a16="http://schemas.microsoft.com/office/drawing/2014/main" id="{E4334508-DEE9-4B79-92DC-0D4614578EA2}"/>
              </a:ext>
            </a:extLst>
          </p:cNvPr>
          <p:cNvSpPr>
            <a:spLocks noGrp="1"/>
          </p:cNvSpPr>
          <p:nvPr>
            <p:ph type="body" sz="quarter" idx="18"/>
          </p:nvPr>
        </p:nvSpPr>
        <p:spPr bwMode="gray">
          <a:xfrm>
            <a:off x="1142716" y="4189264"/>
            <a:ext cx="3047956"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
            <a:extLst>
              <a:ext uri="{FF2B5EF4-FFF2-40B4-BE49-F238E27FC236}">
                <a16:creationId xmlns:a16="http://schemas.microsoft.com/office/drawing/2014/main" id="{EB66B50D-5955-4E99-B69D-AAD52162D646}"/>
              </a:ext>
            </a:extLst>
          </p:cNvPr>
          <p:cNvSpPr>
            <a:spLocks noGrp="1"/>
          </p:cNvSpPr>
          <p:nvPr>
            <p:ph type="title" hasCustomPrompt="1"/>
          </p:nvPr>
        </p:nvSpPr>
        <p:spPr bwMode="gray">
          <a:xfrm>
            <a:off x="1142718" y="761653"/>
            <a:ext cx="3810087" cy="3427610"/>
          </a:xfrm>
        </p:spPr>
        <p:txBody>
          <a:bodyPr bIns="144000" anchor="b"/>
          <a:lstStyle>
            <a:lvl1pPr>
              <a:defRPr sz="6349"/>
            </a:lvl1pPr>
          </a:lstStyle>
          <a:p>
            <a:r>
              <a:rPr lang="en-US"/>
              <a:t>Nunc </a:t>
            </a:r>
            <a:r>
              <a:rPr lang="en-US" err="1"/>
              <a:t>viverra</a:t>
            </a:r>
            <a:r>
              <a:rPr lang="en-US"/>
              <a:t> </a:t>
            </a:r>
            <a:r>
              <a:rPr lang="en-US" err="1"/>
              <a:t>imperdiet</a:t>
            </a:r>
            <a:r>
              <a:rPr lang="en-US"/>
              <a:t> </a:t>
            </a:r>
            <a:br>
              <a:rPr lang="en-US"/>
            </a:b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Tree>
    <p:extLst>
      <p:ext uri="{BB962C8B-B14F-4D97-AF65-F5344CB8AC3E}">
        <p14:creationId xmlns:p14="http://schemas.microsoft.com/office/powerpoint/2010/main" val="333345236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149" y="1524072"/>
            <a:ext cx="3810523" cy="3047883"/>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4190672" y="1524072"/>
            <a:ext cx="3810523" cy="304788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8001196" y="1524072"/>
            <a:ext cx="3810523" cy="304788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4EA0DF66-95E0-46A6-8652-7C278A22A88D}"/>
              </a:ext>
            </a:extLst>
          </p:cNvPr>
          <p:cNvSpPr>
            <a:spLocks noGrp="1"/>
          </p:cNvSpPr>
          <p:nvPr>
            <p:ph type="title"/>
          </p:nvPr>
        </p:nvSpPr>
        <p:spPr bwMode="gray"/>
        <p:txBody>
          <a:bodyPr/>
          <a:lstStyle/>
          <a:p>
            <a:r>
              <a:rPr lang="en-US"/>
              <a:t>Click to edit Master title style</a:t>
            </a:r>
          </a:p>
        </p:txBody>
      </p:sp>
      <p:sp>
        <p:nvSpPr>
          <p:cNvPr id="2" name="Date Placeholder 1">
            <a:extLst>
              <a:ext uri="{FF2B5EF4-FFF2-40B4-BE49-F238E27FC236}">
                <a16:creationId xmlns:a16="http://schemas.microsoft.com/office/drawing/2014/main" id="{4464934C-885D-4D27-9653-892978261CFC}"/>
              </a:ext>
            </a:extLst>
          </p:cNvPr>
          <p:cNvSpPr>
            <a:spLocks noGrp="1"/>
          </p:cNvSpPr>
          <p:nvPr>
            <p:ph type="dt" sz="half" idx="28"/>
          </p:nvPr>
        </p:nvSpPr>
        <p:spPr bwMode="gray"/>
        <p:txBody>
          <a:bodyPr/>
          <a:lstStyle/>
          <a:p>
            <a:pPr>
              <a:defRPr/>
            </a:pPr>
            <a:fld id="{0C95F18B-878C-4C25-B761-16852FE70525}" type="datetime5">
              <a:rPr lang="en-US" noProof="0" smtClean="0"/>
              <a:t>6-Oct-21</a:t>
            </a:fld>
            <a:endParaRPr lang="en-US" noProof="0"/>
          </a:p>
        </p:txBody>
      </p:sp>
      <p:sp>
        <p:nvSpPr>
          <p:cNvPr id="7" name="Footer Placeholder 6">
            <a:extLst>
              <a:ext uri="{FF2B5EF4-FFF2-40B4-BE49-F238E27FC236}">
                <a16:creationId xmlns:a16="http://schemas.microsoft.com/office/drawing/2014/main" id="{D0206622-EE93-4E25-8EDD-D84DEAA5B70A}"/>
              </a:ext>
            </a:extLst>
          </p:cNvPr>
          <p:cNvSpPr>
            <a:spLocks noGrp="1"/>
          </p:cNvSpPr>
          <p:nvPr>
            <p:ph type="ftr" sz="quarter" idx="29"/>
          </p:nvPr>
        </p:nvSpPr>
        <p:spPr bwMode="gray"/>
        <p:txBody>
          <a:bodyPr/>
          <a:lstStyle/>
          <a:p>
            <a:pPr>
              <a:defRPr/>
            </a:pPr>
            <a:r>
              <a:rPr lang="en-US"/>
              <a:t>FOOTER / PRESENTATION NAME</a:t>
            </a:r>
          </a:p>
        </p:txBody>
      </p:sp>
      <p:sp>
        <p:nvSpPr>
          <p:cNvPr id="8" name="Slide Number Placeholder 7">
            <a:extLst>
              <a:ext uri="{FF2B5EF4-FFF2-40B4-BE49-F238E27FC236}">
                <a16:creationId xmlns:a16="http://schemas.microsoft.com/office/drawing/2014/main" id="{D1F55AED-4045-47E6-9355-4E70B8AC2FD7}"/>
              </a:ext>
            </a:extLst>
          </p:cNvPr>
          <p:cNvSpPr>
            <a:spLocks noGrp="1"/>
          </p:cNvSpPr>
          <p:nvPr>
            <p:ph type="sldNum" sz="quarter" idx="30"/>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8">
            <a:extLst>
              <a:ext uri="{FF2B5EF4-FFF2-40B4-BE49-F238E27FC236}">
                <a16:creationId xmlns:a16="http://schemas.microsoft.com/office/drawing/2014/main" id="{3F7655D8-F9A5-4788-B9AC-A86FA37BED8A}"/>
              </a:ext>
            </a:extLst>
          </p:cNvPr>
          <p:cNvSpPr>
            <a:spLocks noGrp="1"/>
          </p:cNvSpPr>
          <p:nvPr>
            <p:ph type="body" sz="quarter" idx="31"/>
          </p:nvPr>
        </p:nvSpPr>
        <p:spPr bwMode="gray">
          <a:xfrm>
            <a:off x="380016"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4" name="Text Placeholder 18">
            <a:extLst>
              <a:ext uri="{FF2B5EF4-FFF2-40B4-BE49-F238E27FC236}">
                <a16:creationId xmlns:a16="http://schemas.microsoft.com/office/drawing/2014/main" id="{202D6161-BB99-4257-AF9F-EBC735CB191A}"/>
              </a:ext>
            </a:extLst>
          </p:cNvPr>
          <p:cNvSpPr>
            <a:spLocks noGrp="1"/>
          </p:cNvSpPr>
          <p:nvPr>
            <p:ph type="body" sz="quarter" idx="32"/>
          </p:nvPr>
        </p:nvSpPr>
        <p:spPr bwMode="gray">
          <a:xfrm>
            <a:off x="4190673"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6408CCB-0074-4487-ADC2-FEB6BC4BB3D0}"/>
              </a:ext>
            </a:extLst>
          </p:cNvPr>
          <p:cNvSpPr>
            <a:spLocks noGrp="1"/>
          </p:cNvSpPr>
          <p:nvPr>
            <p:ph type="body" sz="quarter" idx="33"/>
          </p:nvPr>
        </p:nvSpPr>
        <p:spPr bwMode="gray">
          <a:xfrm>
            <a:off x="8001329"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780375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 Images + Descriptions (2)">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9606" y="381116"/>
            <a:ext cx="2667724" cy="3809854"/>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6477330" y="381116"/>
            <a:ext cx="2667724" cy="3809854"/>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9145054" y="381116"/>
            <a:ext cx="2667724" cy="3809854"/>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4EA0DF66-95E0-46A6-8652-7C278A22A88D}"/>
              </a:ext>
            </a:extLst>
          </p:cNvPr>
          <p:cNvSpPr>
            <a:spLocks noGrp="1"/>
          </p:cNvSpPr>
          <p:nvPr>
            <p:ph type="title"/>
          </p:nvPr>
        </p:nvSpPr>
        <p:spPr bwMode="gray">
          <a:xfrm>
            <a:off x="380672" y="381455"/>
            <a:ext cx="3047870" cy="3047544"/>
          </a:xfrm>
        </p:spPr>
        <p:txBody>
          <a:bodyPr/>
          <a:lstStyle/>
          <a:p>
            <a:r>
              <a:rPr lang="en-US"/>
              <a:t>Click to edit Master title style</a:t>
            </a:r>
          </a:p>
        </p:txBody>
      </p:sp>
      <p:sp>
        <p:nvSpPr>
          <p:cNvPr id="2" name="Date Placeholder 1">
            <a:extLst>
              <a:ext uri="{FF2B5EF4-FFF2-40B4-BE49-F238E27FC236}">
                <a16:creationId xmlns:a16="http://schemas.microsoft.com/office/drawing/2014/main" id="{4464934C-885D-4D27-9653-892978261CFC}"/>
              </a:ext>
            </a:extLst>
          </p:cNvPr>
          <p:cNvSpPr>
            <a:spLocks noGrp="1"/>
          </p:cNvSpPr>
          <p:nvPr>
            <p:ph type="dt" sz="half" idx="28"/>
          </p:nvPr>
        </p:nvSpPr>
        <p:spPr bwMode="gray"/>
        <p:txBody>
          <a:bodyPr/>
          <a:lstStyle/>
          <a:p>
            <a:pPr>
              <a:defRPr/>
            </a:pPr>
            <a:fld id="{C8286AB1-7DAD-44CE-9D8B-6328AC646482}" type="datetime5">
              <a:rPr lang="en-US" noProof="0" smtClean="0"/>
              <a:t>6-Oct-21</a:t>
            </a:fld>
            <a:endParaRPr lang="en-US" noProof="0"/>
          </a:p>
        </p:txBody>
      </p:sp>
      <p:sp>
        <p:nvSpPr>
          <p:cNvPr id="7" name="Footer Placeholder 6">
            <a:extLst>
              <a:ext uri="{FF2B5EF4-FFF2-40B4-BE49-F238E27FC236}">
                <a16:creationId xmlns:a16="http://schemas.microsoft.com/office/drawing/2014/main" id="{D0206622-EE93-4E25-8EDD-D84DEAA5B70A}"/>
              </a:ext>
            </a:extLst>
          </p:cNvPr>
          <p:cNvSpPr>
            <a:spLocks noGrp="1"/>
          </p:cNvSpPr>
          <p:nvPr>
            <p:ph type="ftr" sz="quarter" idx="29"/>
          </p:nvPr>
        </p:nvSpPr>
        <p:spPr bwMode="gray"/>
        <p:txBody>
          <a:bodyPr/>
          <a:lstStyle/>
          <a:p>
            <a:pPr>
              <a:defRPr/>
            </a:pPr>
            <a:r>
              <a:rPr lang="en-US"/>
              <a:t>FOOTER / PRESENTATION NAME</a:t>
            </a:r>
          </a:p>
        </p:txBody>
      </p:sp>
      <p:sp>
        <p:nvSpPr>
          <p:cNvPr id="8" name="Slide Number Placeholder 7">
            <a:extLst>
              <a:ext uri="{FF2B5EF4-FFF2-40B4-BE49-F238E27FC236}">
                <a16:creationId xmlns:a16="http://schemas.microsoft.com/office/drawing/2014/main" id="{D1F55AED-4045-47E6-9355-4E70B8AC2FD7}"/>
              </a:ext>
            </a:extLst>
          </p:cNvPr>
          <p:cNvSpPr>
            <a:spLocks noGrp="1"/>
          </p:cNvSpPr>
          <p:nvPr>
            <p:ph type="sldNum" sz="quarter" idx="30"/>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8">
            <a:extLst>
              <a:ext uri="{FF2B5EF4-FFF2-40B4-BE49-F238E27FC236}">
                <a16:creationId xmlns:a16="http://schemas.microsoft.com/office/drawing/2014/main" id="{3F7655D8-F9A5-4788-B9AC-A86FA37BED8A}"/>
              </a:ext>
            </a:extLst>
          </p:cNvPr>
          <p:cNvSpPr>
            <a:spLocks noGrp="1"/>
          </p:cNvSpPr>
          <p:nvPr>
            <p:ph type="body" sz="quarter" idx="31"/>
          </p:nvPr>
        </p:nvSpPr>
        <p:spPr bwMode="gray">
          <a:xfrm>
            <a:off x="3809608"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4" name="Text Placeholder 18">
            <a:extLst>
              <a:ext uri="{FF2B5EF4-FFF2-40B4-BE49-F238E27FC236}">
                <a16:creationId xmlns:a16="http://schemas.microsoft.com/office/drawing/2014/main" id="{202D6161-BB99-4257-AF9F-EBC735CB191A}"/>
              </a:ext>
            </a:extLst>
          </p:cNvPr>
          <p:cNvSpPr>
            <a:spLocks noGrp="1"/>
          </p:cNvSpPr>
          <p:nvPr>
            <p:ph type="body" sz="quarter" idx="32"/>
          </p:nvPr>
        </p:nvSpPr>
        <p:spPr bwMode="gray">
          <a:xfrm>
            <a:off x="6477330"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6408CCB-0074-4487-ADC2-FEB6BC4BB3D0}"/>
              </a:ext>
            </a:extLst>
          </p:cNvPr>
          <p:cNvSpPr>
            <a:spLocks noGrp="1"/>
          </p:cNvSpPr>
          <p:nvPr>
            <p:ph type="body" sz="quarter" idx="33"/>
          </p:nvPr>
        </p:nvSpPr>
        <p:spPr bwMode="gray">
          <a:xfrm>
            <a:off x="9145054"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2345314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149" y="1524072"/>
            <a:ext cx="2857858" cy="3047883"/>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3238007" y="1524072"/>
            <a:ext cx="2862502" cy="304788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6100509" y="1524072"/>
            <a:ext cx="2860117" cy="304788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2" name="Picture Placeholder 3"/>
          <p:cNvSpPr>
            <a:spLocks noGrp="1"/>
          </p:cNvSpPr>
          <p:nvPr>
            <p:ph type="pic" sz="quarter" idx="28"/>
          </p:nvPr>
        </p:nvSpPr>
        <p:spPr bwMode="gray">
          <a:xfrm>
            <a:off x="8960625" y="1524072"/>
            <a:ext cx="2860117" cy="3047883"/>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D898A731-213A-4339-8CA8-9E1916EACB64}"/>
              </a:ext>
            </a:extLst>
          </p:cNvPr>
          <p:cNvSpPr>
            <a:spLocks noGrp="1"/>
          </p:cNvSpPr>
          <p:nvPr>
            <p:ph type="title"/>
          </p:nvPr>
        </p:nvSpPr>
        <p:spPr bwMode="gray"/>
        <p:txBody>
          <a:bodyPr/>
          <a:lstStyle/>
          <a:p>
            <a:r>
              <a:rPr lang="en-US"/>
              <a:t>Click to edit Master title style</a:t>
            </a:r>
          </a:p>
        </p:txBody>
      </p:sp>
      <p:sp>
        <p:nvSpPr>
          <p:cNvPr id="2" name="Date Placeholder 1">
            <a:extLst>
              <a:ext uri="{FF2B5EF4-FFF2-40B4-BE49-F238E27FC236}">
                <a16:creationId xmlns:a16="http://schemas.microsoft.com/office/drawing/2014/main" id="{D15137B4-AA29-40F5-8A29-248FBA3FFDBE}"/>
              </a:ext>
            </a:extLst>
          </p:cNvPr>
          <p:cNvSpPr>
            <a:spLocks noGrp="1"/>
          </p:cNvSpPr>
          <p:nvPr>
            <p:ph type="dt" sz="half" idx="32"/>
          </p:nvPr>
        </p:nvSpPr>
        <p:spPr bwMode="gray"/>
        <p:txBody>
          <a:bodyPr/>
          <a:lstStyle/>
          <a:p>
            <a:pPr>
              <a:defRPr/>
            </a:pPr>
            <a:fld id="{D48263BC-7705-4273-AE3F-75179B6AD54B}" type="datetime5">
              <a:rPr lang="en-US" noProof="0" smtClean="0"/>
              <a:t>6-Oct-21</a:t>
            </a:fld>
            <a:endParaRPr lang="en-US" noProof="0"/>
          </a:p>
        </p:txBody>
      </p:sp>
      <p:sp>
        <p:nvSpPr>
          <p:cNvPr id="7" name="Footer Placeholder 6">
            <a:extLst>
              <a:ext uri="{FF2B5EF4-FFF2-40B4-BE49-F238E27FC236}">
                <a16:creationId xmlns:a16="http://schemas.microsoft.com/office/drawing/2014/main" id="{CFABE101-95FC-414F-8900-06C098E0060A}"/>
              </a:ext>
            </a:extLst>
          </p:cNvPr>
          <p:cNvSpPr>
            <a:spLocks noGrp="1"/>
          </p:cNvSpPr>
          <p:nvPr>
            <p:ph type="ftr" sz="quarter" idx="33"/>
          </p:nvPr>
        </p:nvSpPr>
        <p:spPr bwMode="gray"/>
        <p:txBody>
          <a:bodyPr/>
          <a:lstStyle/>
          <a:p>
            <a:pPr>
              <a:defRPr/>
            </a:pPr>
            <a:r>
              <a:rPr lang="en-US"/>
              <a:t>FOOTER / PRESENTATION NAME</a:t>
            </a:r>
          </a:p>
        </p:txBody>
      </p:sp>
      <p:sp>
        <p:nvSpPr>
          <p:cNvPr id="8" name="Slide Number Placeholder 7">
            <a:extLst>
              <a:ext uri="{FF2B5EF4-FFF2-40B4-BE49-F238E27FC236}">
                <a16:creationId xmlns:a16="http://schemas.microsoft.com/office/drawing/2014/main" id="{DCE725B1-3137-4CE9-9320-3816D119A0B7}"/>
              </a:ext>
            </a:extLst>
          </p:cNvPr>
          <p:cNvSpPr>
            <a:spLocks noGrp="1"/>
          </p:cNvSpPr>
          <p:nvPr>
            <p:ph type="sldNum" sz="quarter" idx="34"/>
          </p:nvPr>
        </p:nvSpPr>
        <p:spPr bwMode="gray"/>
        <p:txBody>
          <a:bodyPr/>
          <a:lstStyle/>
          <a:p>
            <a:pPr>
              <a:defRPr/>
            </a:pPr>
            <a:fld id="{66C8B3C2-955F-42B1-8DED-EE47D723596C}" type="slidenum">
              <a:rPr lang="en-US" noProof="0" smtClean="0"/>
              <a:pPr>
                <a:defRPr/>
              </a:pPr>
              <a:t>‹#›</a:t>
            </a:fld>
            <a:endParaRPr lang="en-US" noProof="0"/>
          </a:p>
        </p:txBody>
      </p:sp>
      <p:sp>
        <p:nvSpPr>
          <p:cNvPr id="20" name="Text Placeholder 18">
            <a:extLst>
              <a:ext uri="{FF2B5EF4-FFF2-40B4-BE49-F238E27FC236}">
                <a16:creationId xmlns:a16="http://schemas.microsoft.com/office/drawing/2014/main" id="{4B20DDC1-39BA-43B4-843F-07C3E46A0EA9}"/>
              </a:ext>
            </a:extLst>
          </p:cNvPr>
          <p:cNvSpPr>
            <a:spLocks noGrp="1"/>
          </p:cNvSpPr>
          <p:nvPr>
            <p:ph type="body" sz="quarter" idx="31"/>
          </p:nvPr>
        </p:nvSpPr>
        <p:spPr bwMode="gray">
          <a:xfrm>
            <a:off x="380016"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1" name="Text Placeholder 18">
            <a:extLst>
              <a:ext uri="{FF2B5EF4-FFF2-40B4-BE49-F238E27FC236}">
                <a16:creationId xmlns:a16="http://schemas.microsoft.com/office/drawing/2014/main" id="{FAA65DB6-2E3B-4611-B3AB-382BA57EDD71}"/>
              </a:ext>
            </a:extLst>
          </p:cNvPr>
          <p:cNvSpPr>
            <a:spLocks noGrp="1"/>
          </p:cNvSpPr>
          <p:nvPr>
            <p:ph type="body" sz="quarter" idx="35"/>
          </p:nvPr>
        </p:nvSpPr>
        <p:spPr bwMode="gray">
          <a:xfrm>
            <a:off x="3238007"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3" name="Text Placeholder 18">
            <a:extLst>
              <a:ext uri="{FF2B5EF4-FFF2-40B4-BE49-F238E27FC236}">
                <a16:creationId xmlns:a16="http://schemas.microsoft.com/office/drawing/2014/main" id="{DE34A013-F438-4001-ABF1-FC6F19E3FB47}"/>
              </a:ext>
            </a:extLst>
          </p:cNvPr>
          <p:cNvSpPr>
            <a:spLocks noGrp="1"/>
          </p:cNvSpPr>
          <p:nvPr>
            <p:ph type="body" sz="quarter" idx="36"/>
          </p:nvPr>
        </p:nvSpPr>
        <p:spPr bwMode="gray">
          <a:xfrm>
            <a:off x="6100509"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2269CA9-20B1-41ED-94C6-442ACA56F7CE}"/>
              </a:ext>
            </a:extLst>
          </p:cNvPr>
          <p:cNvSpPr>
            <a:spLocks noGrp="1"/>
          </p:cNvSpPr>
          <p:nvPr>
            <p:ph type="body" sz="quarter" idx="37"/>
          </p:nvPr>
        </p:nvSpPr>
        <p:spPr bwMode="gray">
          <a:xfrm>
            <a:off x="8960626"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663441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 Images + Descriptions (2)">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428540" y="381116"/>
            <a:ext cx="2095628" cy="3809854"/>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5524167" y="381116"/>
            <a:ext cx="2095628" cy="3809854"/>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7619795" y="381116"/>
            <a:ext cx="2095628" cy="3809854"/>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2" name="Picture Placeholder 3"/>
          <p:cNvSpPr>
            <a:spLocks noGrp="1"/>
          </p:cNvSpPr>
          <p:nvPr>
            <p:ph type="pic" sz="quarter" idx="28"/>
          </p:nvPr>
        </p:nvSpPr>
        <p:spPr bwMode="gray">
          <a:xfrm>
            <a:off x="9715423" y="381116"/>
            <a:ext cx="2095628" cy="3809854"/>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D898A731-213A-4339-8CA8-9E1916EACB64}"/>
              </a:ext>
            </a:extLst>
          </p:cNvPr>
          <p:cNvSpPr>
            <a:spLocks noGrp="1"/>
          </p:cNvSpPr>
          <p:nvPr>
            <p:ph type="title"/>
          </p:nvPr>
        </p:nvSpPr>
        <p:spPr bwMode="gray">
          <a:xfrm>
            <a:off x="380672" y="381455"/>
            <a:ext cx="2666804" cy="3047544"/>
          </a:xfrm>
        </p:spPr>
        <p:txBody>
          <a:bodyPr/>
          <a:lstStyle/>
          <a:p>
            <a:r>
              <a:rPr lang="en-US"/>
              <a:t>Click to edit Master title style</a:t>
            </a:r>
          </a:p>
        </p:txBody>
      </p:sp>
      <p:sp>
        <p:nvSpPr>
          <p:cNvPr id="2" name="Date Placeholder 1">
            <a:extLst>
              <a:ext uri="{FF2B5EF4-FFF2-40B4-BE49-F238E27FC236}">
                <a16:creationId xmlns:a16="http://schemas.microsoft.com/office/drawing/2014/main" id="{D15137B4-AA29-40F5-8A29-248FBA3FFDBE}"/>
              </a:ext>
            </a:extLst>
          </p:cNvPr>
          <p:cNvSpPr>
            <a:spLocks noGrp="1"/>
          </p:cNvSpPr>
          <p:nvPr>
            <p:ph type="dt" sz="half" idx="32"/>
          </p:nvPr>
        </p:nvSpPr>
        <p:spPr bwMode="gray"/>
        <p:txBody>
          <a:bodyPr/>
          <a:lstStyle/>
          <a:p>
            <a:pPr>
              <a:defRPr/>
            </a:pPr>
            <a:fld id="{AD4F1A45-0D14-4D2F-B366-83AEE89D61FD}" type="datetime5">
              <a:rPr lang="en-US" noProof="0" smtClean="0"/>
              <a:t>6-Oct-21</a:t>
            </a:fld>
            <a:endParaRPr lang="en-US" noProof="0"/>
          </a:p>
        </p:txBody>
      </p:sp>
      <p:sp>
        <p:nvSpPr>
          <p:cNvPr id="7" name="Footer Placeholder 6">
            <a:extLst>
              <a:ext uri="{FF2B5EF4-FFF2-40B4-BE49-F238E27FC236}">
                <a16:creationId xmlns:a16="http://schemas.microsoft.com/office/drawing/2014/main" id="{CFABE101-95FC-414F-8900-06C098E0060A}"/>
              </a:ext>
            </a:extLst>
          </p:cNvPr>
          <p:cNvSpPr>
            <a:spLocks noGrp="1"/>
          </p:cNvSpPr>
          <p:nvPr>
            <p:ph type="ftr" sz="quarter" idx="33"/>
          </p:nvPr>
        </p:nvSpPr>
        <p:spPr bwMode="gray"/>
        <p:txBody>
          <a:bodyPr/>
          <a:lstStyle/>
          <a:p>
            <a:pPr>
              <a:defRPr/>
            </a:pPr>
            <a:r>
              <a:rPr lang="en-US"/>
              <a:t>FOOTER / PRESENTATION NAME</a:t>
            </a:r>
          </a:p>
        </p:txBody>
      </p:sp>
      <p:sp>
        <p:nvSpPr>
          <p:cNvPr id="8" name="Slide Number Placeholder 7">
            <a:extLst>
              <a:ext uri="{FF2B5EF4-FFF2-40B4-BE49-F238E27FC236}">
                <a16:creationId xmlns:a16="http://schemas.microsoft.com/office/drawing/2014/main" id="{DCE725B1-3137-4CE9-9320-3816D119A0B7}"/>
              </a:ext>
            </a:extLst>
          </p:cNvPr>
          <p:cNvSpPr>
            <a:spLocks noGrp="1"/>
          </p:cNvSpPr>
          <p:nvPr>
            <p:ph type="sldNum" sz="quarter" idx="34"/>
          </p:nvPr>
        </p:nvSpPr>
        <p:spPr bwMode="gray"/>
        <p:txBody>
          <a:bodyPr/>
          <a:lstStyle/>
          <a:p>
            <a:pPr>
              <a:defRPr/>
            </a:pPr>
            <a:fld id="{66C8B3C2-955F-42B1-8DED-EE47D723596C}" type="slidenum">
              <a:rPr lang="en-US" noProof="0" smtClean="0"/>
              <a:pPr>
                <a:defRPr/>
              </a:pPr>
              <a:t>‹#›</a:t>
            </a:fld>
            <a:endParaRPr lang="en-US" noProof="0"/>
          </a:p>
        </p:txBody>
      </p:sp>
      <p:sp>
        <p:nvSpPr>
          <p:cNvPr id="20" name="Text Placeholder 18">
            <a:extLst>
              <a:ext uri="{FF2B5EF4-FFF2-40B4-BE49-F238E27FC236}">
                <a16:creationId xmlns:a16="http://schemas.microsoft.com/office/drawing/2014/main" id="{4B20DDC1-39BA-43B4-843F-07C3E46A0EA9}"/>
              </a:ext>
            </a:extLst>
          </p:cNvPr>
          <p:cNvSpPr>
            <a:spLocks noGrp="1"/>
          </p:cNvSpPr>
          <p:nvPr>
            <p:ph type="body" sz="quarter" idx="31"/>
          </p:nvPr>
        </p:nvSpPr>
        <p:spPr bwMode="gray">
          <a:xfrm>
            <a:off x="3428542"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1" name="Text Placeholder 18">
            <a:extLst>
              <a:ext uri="{FF2B5EF4-FFF2-40B4-BE49-F238E27FC236}">
                <a16:creationId xmlns:a16="http://schemas.microsoft.com/office/drawing/2014/main" id="{FAA65DB6-2E3B-4611-B3AB-382BA57EDD71}"/>
              </a:ext>
            </a:extLst>
          </p:cNvPr>
          <p:cNvSpPr>
            <a:spLocks noGrp="1"/>
          </p:cNvSpPr>
          <p:nvPr>
            <p:ph type="body" sz="quarter" idx="35"/>
          </p:nvPr>
        </p:nvSpPr>
        <p:spPr bwMode="gray">
          <a:xfrm>
            <a:off x="5524168"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3" name="Text Placeholder 18">
            <a:extLst>
              <a:ext uri="{FF2B5EF4-FFF2-40B4-BE49-F238E27FC236}">
                <a16:creationId xmlns:a16="http://schemas.microsoft.com/office/drawing/2014/main" id="{DE34A013-F438-4001-ABF1-FC6F19E3FB47}"/>
              </a:ext>
            </a:extLst>
          </p:cNvPr>
          <p:cNvSpPr>
            <a:spLocks noGrp="1"/>
          </p:cNvSpPr>
          <p:nvPr>
            <p:ph type="body" sz="quarter" idx="36"/>
          </p:nvPr>
        </p:nvSpPr>
        <p:spPr bwMode="gray">
          <a:xfrm>
            <a:off x="7619795"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2269CA9-20B1-41ED-94C6-442ACA56F7CE}"/>
              </a:ext>
            </a:extLst>
          </p:cNvPr>
          <p:cNvSpPr>
            <a:spLocks noGrp="1"/>
          </p:cNvSpPr>
          <p:nvPr>
            <p:ph type="body" sz="quarter" idx="37"/>
          </p:nvPr>
        </p:nvSpPr>
        <p:spPr bwMode="gray">
          <a:xfrm>
            <a:off x="9715423"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168566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ighlight Slide (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F20578-98B5-4A11-A705-F7CEB749D32D}"/>
              </a:ext>
            </a:extLst>
          </p:cNvPr>
          <p:cNvSpPr>
            <a:spLocks noGrp="1"/>
          </p:cNvSpPr>
          <p:nvPr>
            <p:ph type="dt" sz="half" idx="10"/>
          </p:nvPr>
        </p:nvSpPr>
        <p:spPr bwMode="gray"/>
        <p:txBody>
          <a:bodyPr/>
          <a:lstStyle/>
          <a:p>
            <a:pPr>
              <a:defRPr/>
            </a:pPr>
            <a:fld id="{C2C80E67-C753-419D-BB2E-490900CD5987}" type="datetime5">
              <a:rPr lang="en-US" smtClean="0"/>
              <a:t>6-Oct-21</a:t>
            </a:fld>
            <a:endParaRPr lang="en-US"/>
          </a:p>
        </p:txBody>
      </p:sp>
      <p:sp>
        <p:nvSpPr>
          <p:cNvPr id="4" name="Footer Placeholder 3">
            <a:extLst>
              <a:ext uri="{FF2B5EF4-FFF2-40B4-BE49-F238E27FC236}">
                <a16:creationId xmlns:a16="http://schemas.microsoft.com/office/drawing/2014/main" id="{93977545-ABA1-4677-985A-C4A1ADC04086}"/>
              </a:ext>
            </a:extLst>
          </p:cNvPr>
          <p:cNvSpPr>
            <a:spLocks noGrp="1"/>
          </p:cNvSpPr>
          <p:nvPr>
            <p:ph type="ftr" sz="quarter" idx="11"/>
          </p:nvPr>
        </p:nvSpPr>
        <p:spPr bwMode="gray"/>
        <p:txBody>
          <a:bodyPr/>
          <a:lstStyle/>
          <a:p>
            <a:pPr>
              <a:defRPr/>
            </a:pPr>
            <a:r>
              <a:rPr lang="en-US"/>
              <a:t>FOOTER / PRESENTATION NAME</a:t>
            </a:r>
          </a:p>
        </p:txBody>
      </p:sp>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380017" y="380068"/>
            <a:ext cx="6859180" cy="2286961"/>
          </a:xfrm>
        </p:spPr>
        <p:txBody>
          <a:bodyPr bIns="144000" anchor="t"/>
          <a:lstStyle>
            <a:lvl1pPr>
              <a:defRPr sz="6349"/>
            </a:lvl1pPr>
          </a:lstStyle>
          <a:p>
            <a:r>
              <a:rPr lang="en-US"/>
              <a:t>Nunc </a:t>
            </a:r>
            <a:r>
              <a:rPr lang="en-US" err="1"/>
              <a:t>viverra</a:t>
            </a:r>
            <a:r>
              <a:rPr lang="en-US"/>
              <a:t> </a:t>
            </a:r>
            <a:br>
              <a:rPr lang="en-US"/>
            </a:br>
            <a:r>
              <a:rPr lang="en-US" err="1"/>
              <a:t>imperdiet</a:t>
            </a:r>
            <a:r>
              <a:rPr lang="en-US"/>
              <a:t> </a:t>
            </a: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380016" y="3048016"/>
            <a:ext cx="3810656" cy="3047882"/>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8001328" y="381116"/>
            <a:ext cx="3810021" cy="495281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4571739" y="3048015"/>
            <a:ext cx="2667459" cy="2285911"/>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39539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esseging / Highlight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39201" y="139158"/>
            <a:ext cx="11913600" cy="6579685"/>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dirty="0"/>
              <a:t>Click icon to add picture</a:t>
            </a:r>
          </a:p>
        </p:txBody>
      </p:sp>
      <p:sp>
        <p:nvSpPr>
          <p:cNvPr id="3" name="Titel 2"/>
          <p:cNvSpPr>
            <a:spLocks noGrp="1"/>
          </p:cNvSpPr>
          <p:nvPr>
            <p:ph type="title" hasCustomPrompt="1"/>
          </p:nvPr>
        </p:nvSpPr>
        <p:spPr bwMode="gray">
          <a:xfrm>
            <a:off x="2285082" y="3048933"/>
            <a:ext cx="7619736" cy="2251003"/>
          </a:xfrm>
        </p:spPr>
        <p:txBody>
          <a:bodyPr/>
          <a:lstStyle>
            <a:lvl1pPr algn="ctr">
              <a:defRPr sz="4233" b="0" i="0">
                <a:solidFill>
                  <a:schemeClr val="bg1"/>
                </a:solidFill>
                <a:latin typeface="adineue TEXT Black" panose="020B0A03020201060004" pitchFamily="34" charset="0"/>
              </a:defRPr>
            </a:lvl1pPr>
          </a:lstStyle>
          <a:p>
            <a:r>
              <a:rPr lang="en-US" dirty="0"/>
              <a:t>Click to edit Master </a:t>
            </a:r>
            <a:br>
              <a:rPr lang="en-US" dirty="0"/>
            </a:br>
            <a:r>
              <a:rPr lang="en-US" dirty="0"/>
              <a:t>title style</a:t>
            </a:r>
            <a:endParaRPr lang="de-DE" dirty="0"/>
          </a:p>
        </p:txBody>
      </p:sp>
      <p:sp>
        <p:nvSpPr>
          <p:cNvPr id="8"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dirty="0"/>
              <a:t>CLICK TO EDIT MASTER TEXT STYLES</a:t>
            </a:r>
          </a:p>
        </p:txBody>
      </p:sp>
      <p:sp>
        <p:nvSpPr>
          <p:cNvPr id="9" name="Date Placeholder 2"/>
          <p:cNvSpPr>
            <a:spLocks noGrp="1"/>
          </p:cNvSpPr>
          <p:nvPr>
            <p:ph type="dt" sz="half" idx="15"/>
          </p:nvPr>
        </p:nvSpPr>
        <p:spPr>
          <a:xfrm>
            <a:off x="10287794" y="6951653"/>
            <a:ext cx="1143218" cy="379993"/>
          </a:xfrm>
        </p:spPr>
        <p:txBody>
          <a:bodyPr/>
          <a:lstStyle/>
          <a:p>
            <a:pPr>
              <a:defRPr/>
            </a:pPr>
            <a:fld id="{6FBDE80E-241A-4575-9F22-5C3D5D830C99}" type="datetime5">
              <a:rPr lang="en-US" smtClean="0"/>
              <a:t>6-Oct-21</a:t>
            </a:fld>
            <a:endParaRPr lang="en-US" dirty="0"/>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a:t>FOOTER / PRESENTATION NAME</a:t>
            </a:r>
            <a:endParaRPr lang="en-US" dirty="0"/>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76842170"/>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ighlight Slide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F20578-98B5-4A11-A705-F7CEB749D32D}"/>
              </a:ext>
            </a:extLst>
          </p:cNvPr>
          <p:cNvSpPr>
            <a:spLocks noGrp="1"/>
          </p:cNvSpPr>
          <p:nvPr>
            <p:ph type="dt" sz="half" idx="10"/>
          </p:nvPr>
        </p:nvSpPr>
        <p:spPr bwMode="gray"/>
        <p:txBody>
          <a:bodyPr/>
          <a:lstStyle/>
          <a:p>
            <a:pPr>
              <a:defRPr/>
            </a:pPr>
            <a:fld id="{E83944D2-D290-4A12-B8AE-9B352D84C3DA}" type="datetime5">
              <a:rPr lang="en-US" smtClean="0"/>
              <a:t>6-Oct-21</a:t>
            </a:fld>
            <a:endParaRPr lang="en-US"/>
          </a:p>
        </p:txBody>
      </p:sp>
      <p:sp>
        <p:nvSpPr>
          <p:cNvPr id="4" name="Footer Placeholder 3">
            <a:extLst>
              <a:ext uri="{FF2B5EF4-FFF2-40B4-BE49-F238E27FC236}">
                <a16:creationId xmlns:a16="http://schemas.microsoft.com/office/drawing/2014/main" id="{93977545-ABA1-4677-985A-C4A1ADC04086}"/>
              </a:ext>
            </a:extLst>
          </p:cNvPr>
          <p:cNvSpPr>
            <a:spLocks noGrp="1"/>
          </p:cNvSpPr>
          <p:nvPr>
            <p:ph type="ftr" sz="quarter" idx="11"/>
          </p:nvPr>
        </p:nvSpPr>
        <p:spPr bwMode="gray"/>
        <p:txBody>
          <a:bodyPr/>
          <a:lstStyle/>
          <a:p>
            <a:pPr>
              <a:defRPr/>
            </a:pPr>
            <a:r>
              <a:rPr lang="en-US"/>
              <a:t>FOOTER / PRESENTATION NAME</a:t>
            </a:r>
          </a:p>
        </p:txBody>
      </p:sp>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4952802" y="380068"/>
            <a:ext cx="6476804" cy="2667947"/>
          </a:xfrm>
        </p:spPr>
        <p:txBody>
          <a:bodyPr bIns="144000" anchor="t"/>
          <a:lstStyle>
            <a:lvl1pPr>
              <a:defRPr sz="6349"/>
            </a:lvl1pPr>
          </a:lstStyle>
          <a:p>
            <a:r>
              <a:rPr lang="en-US"/>
              <a:t>Nunc </a:t>
            </a:r>
            <a:r>
              <a:rPr lang="en-US" err="1"/>
              <a:t>viverra</a:t>
            </a:r>
            <a:r>
              <a:rPr lang="en-US"/>
              <a:t> </a:t>
            </a:r>
            <a:br>
              <a:rPr lang="en-US"/>
            </a:br>
            <a:r>
              <a:rPr lang="en-US" err="1"/>
              <a:t>imperdiet</a:t>
            </a:r>
            <a:r>
              <a:rPr lang="en-US"/>
              <a:t> </a:t>
            </a:r>
            <a:r>
              <a:rPr lang="en-US" err="1"/>
              <a:t>enim</a:t>
            </a:r>
            <a:r>
              <a:rPr lang="en-US"/>
              <a:t> </a:t>
            </a:r>
            <a:r>
              <a:rPr lang="en-US" err="1"/>
              <a:t>Fusce</a:t>
            </a:r>
            <a:r>
              <a:rPr lang="en-US"/>
              <a:t> </a:t>
            </a:r>
            <a:r>
              <a:rPr lang="en-US" err="1"/>
              <a:t>est</a:t>
            </a:r>
            <a:r>
              <a:rPr lang="en-US"/>
              <a:t> </a:t>
            </a:r>
            <a:r>
              <a:rPr lang="en-US" err="1"/>
              <a:t>Vivamus</a:t>
            </a:r>
            <a:endParaRPr lang="en-US"/>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1" y="0"/>
            <a:ext cx="4190672" cy="5714912"/>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7239196" y="4953073"/>
            <a:ext cx="3048525" cy="1904928"/>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4952802" y="3048015"/>
            <a:ext cx="4191723" cy="1523942"/>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610501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Highlight Slid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F20578-98B5-4A11-A705-F7CEB749D32D}"/>
              </a:ext>
            </a:extLst>
          </p:cNvPr>
          <p:cNvSpPr>
            <a:spLocks noGrp="1"/>
          </p:cNvSpPr>
          <p:nvPr>
            <p:ph type="dt" sz="half" idx="10"/>
          </p:nvPr>
        </p:nvSpPr>
        <p:spPr bwMode="gray"/>
        <p:txBody>
          <a:bodyPr/>
          <a:lstStyle/>
          <a:p>
            <a:pPr>
              <a:defRPr/>
            </a:pPr>
            <a:fld id="{9FA39C4A-A85D-4F64-8379-63D706923AEF}" type="datetime5">
              <a:rPr lang="en-US" smtClean="0"/>
              <a:t>6-Oct-21</a:t>
            </a:fld>
            <a:endParaRPr lang="en-US"/>
          </a:p>
        </p:txBody>
      </p:sp>
      <p:sp>
        <p:nvSpPr>
          <p:cNvPr id="4" name="Footer Placeholder 3">
            <a:extLst>
              <a:ext uri="{FF2B5EF4-FFF2-40B4-BE49-F238E27FC236}">
                <a16:creationId xmlns:a16="http://schemas.microsoft.com/office/drawing/2014/main" id="{93977545-ABA1-4677-985A-C4A1ADC04086}"/>
              </a:ext>
            </a:extLst>
          </p:cNvPr>
          <p:cNvSpPr>
            <a:spLocks noGrp="1"/>
          </p:cNvSpPr>
          <p:nvPr>
            <p:ph type="ftr" sz="quarter" idx="11"/>
          </p:nvPr>
        </p:nvSpPr>
        <p:spPr bwMode="gray"/>
        <p:txBody>
          <a:bodyPr/>
          <a:lstStyle/>
          <a:p>
            <a:pPr>
              <a:defRPr/>
            </a:pPr>
            <a:r>
              <a:rPr lang="en-US"/>
              <a:t>FOOTER / PRESENTATION NAME</a:t>
            </a:r>
          </a:p>
        </p:txBody>
      </p:sp>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380017" y="3048015"/>
            <a:ext cx="6859180" cy="3047883"/>
          </a:xfrm>
        </p:spPr>
        <p:txBody>
          <a:bodyPr bIns="144000" anchor="t"/>
          <a:lstStyle>
            <a:lvl1pPr>
              <a:defRPr sz="6349"/>
            </a:lvl1pPr>
          </a:lstStyle>
          <a:p>
            <a:r>
              <a:rPr lang="en-US"/>
              <a:t>Nunc </a:t>
            </a:r>
            <a:r>
              <a:rPr lang="en-US" err="1"/>
              <a:t>viverra</a:t>
            </a:r>
            <a:r>
              <a:rPr lang="en-US"/>
              <a:t> </a:t>
            </a:r>
            <a:br>
              <a:rPr lang="en-US"/>
            </a:br>
            <a:r>
              <a:rPr lang="en-US" err="1"/>
              <a:t>imperdiet</a:t>
            </a:r>
            <a:r>
              <a:rPr lang="en-US"/>
              <a:t> </a:t>
            </a:r>
            <a:r>
              <a:rPr lang="en-US" err="1"/>
              <a:t>enim</a:t>
            </a:r>
            <a:r>
              <a:rPr lang="en-US"/>
              <a:t> </a:t>
            </a:r>
            <a:r>
              <a:rPr lang="en-US" err="1"/>
              <a:t>Fusce</a:t>
            </a:r>
            <a:r>
              <a:rPr lang="en-US"/>
              <a:t> </a:t>
            </a:r>
            <a:br>
              <a:rPr lang="en-US"/>
            </a:br>
            <a:r>
              <a:rPr lang="en-US" err="1"/>
              <a:t>est</a:t>
            </a:r>
            <a:r>
              <a:rPr lang="en-US"/>
              <a:t> </a:t>
            </a:r>
            <a:r>
              <a:rPr lang="en-US" err="1"/>
              <a:t>Vivamus</a:t>
            </a:r>
            <a:endParaRPr lang="en-US"/>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1" y="0"/>
            <a:ext cx="8763459" cy="2667029"/>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8001328" y="4190971"/>
            <a:ext cx="3810021" cy="1904928"/>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9144525" y="380068"/>
            <a:ext cx="2667328" cy="2286699"/>
          </a:xfrm>
        </p:spPr>
        <p:txBody>
          <a:bodyPr anchor="b"/>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769175"/>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40" name="Text Placeholder 39"/>
          <p:cNvSpPr>
            <a:spLocks noGrp="1"/>
          </p:cNvSpPr>
          <p:nvPr>
            <p:ph type="body" sz="quarter" idx="13"/>
          </p:nvPr>
        </p:nvSpPr>
        <p:spPr bwMode="gray">
          <a:xfrm>
            <a:off x="38001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bwMode="gray">
          <a:xfrm>
            <a:off x="380960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bwMode="gray">
          <a:xfrm>
            <a:off x="723919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97B8C8F-512D-4840-86BB-CEB9544D8CE5}"/>
              </a:ext>
            </a:extLst>
          </p:cNvPr>
          <p:cNvSpPr>
            <a:spLocks noGrp="1"/>
          </p:cNvSpPr>
          <p:nvPr>
            <p:ph type="title"/>
          </p:nvPr>
        </p:nvSpPr>
        <p:spPr bwMode="gray"/>
        <p:txBody>
          <a:bodyPr/>
          <a:lstStyle/>
          <a:p>
            <a:r>
              <a:rPr lang="en-US"/>
              <a:t>Click to edit Master title style</a:t>
            </a:r>
          </a:p>
        </p:txBody>
      </p:sp>
      <p:sp>
        <p:nvSpPr>
          <p:cNvPr id="2" name="Date Placeholder 1">
            <a:extLst>
              <a:ext uri="{FF2B5EF4-FFF2-40B4-BE49-F238E27FC236}">
                <a16:creationId xmlns:a16="http://schemas.microsoft.com/office/drawing/2014/main" id="{7E96917E-325A-4ED1-952D-03150B0676DD}"/>
              </a:ext>
            </a:extLst>
          </p:cNvPr>
          <p:cNvSpPr>
            <a:spLocks noGrp="1"/>
          </p:cNvSpPr>
          <p:nvPr>
            <p:ph type="dt" sz="half" idx="16"/>
          </p:nvPr>
        </p:nvSpPr>
        <p:spPr bwMode="gray"/>
        <p:txBody>
          <a:bodyPr/>
          <a:lstStyle/>
          <a:p>
            <a:pPr>
              <a:defRPr/>
            </a:pPr>
            <a:fld id="{ADA2E69C-66F8-4A56-B82C-D68292CF957B}" type="datetime5">
              <a:rPr lang="en-US" noProof="0" smtClean="0"/>
              <a:t>6-Oct-21</a:t>
            </a:fld>
            <a:endParaRPr lang="en-US" noProof="0"/>
          </a:p>
        </p:txBody>
      </p:sp>
      <p:sp>
        <p:nvSpPr>
          <p:cNvPr id="7" name="Footer Placeholder 6">
            <a:extLst>
              <a:ext uri="{FF2B5EF4-FFF2-40B4-BE49-F238E27FC236}">
                <a16:creationId xmlns:a16="http://schemas.microsoft.com/office/drawing/2014/main" id="{5EB66D04-E523-43BC-8D0E-F122DE1F27CD}"/>
              </a:ext>
            </a:extLst>
          </p:cNvPr>
          <p:cNvSpPr>
            <a:spLocks noGrp="1"/>
          </p:cNvSpPr>
          <p:nvPr>
            <p:ph type="ftr" sz="quarter" idx="17"/>
          </p:nvPr>
        </p:nvSpPr>
        <p:spPr bwMode="gray"/>
        <p:txBody>
          <a:bodyPr/>
          <a:lstStyle/>
          <a:p>
            <a:pPr>
              <a:defRPr/>
            </a:pPr>
            <a:r>
              <a:rPr lang="en-US"/>
              <a:t>FOOTER / PRESENTATION NAME</a:t>
            </a:r>
          </a:p>
        </p:txBody>
      </p:sp>
      <p:sp>
        <p:nvSpPr>
          <p:cNvPr id="8" name="Slide Number Placeholder 7">
            <a:extLst>
              <a:ext uri="{FF2B5EF4-FFF2-40B4-BE49-F238E27FC236}">
                <a16:creationId xmlns:a16="http://schemas.microsoft.com/office/drawing/2014/main" id="{E8916C68-A2A4-48E3-BB80-81E28EE44E17}"/>
              </a:ext>
            </a:extLst>
          </p:cNvPr>
          <p:cNvSpPr>
            <a:spLocks noGrp="1"/>
          </p:cNvSpPr>
          <p:nvPr>
            <p:ph type="sldNum" sz="quarter" idx="18"/>
          </p:nvPr>
        </p:nvSpPr>
        <p:spPr bwMode="gray"/>
        <p:txBody>
          <a:bodyPr/>
          <a:lstStyle/>
          <a:p>
            <a:pPr>
              <a:defRPr/>
            </a:pPr>
            <a:fld id="{66C8B3C2-955F-42B1-8DED-EE47D723596C}" type="slidenum">
              <a:rPr lang="en-US" noProof="0" smtClean="0"/>
              <a:pPr>
                <a:defRPr/>
              </a:pPr>
              <a:t>‹#›</a:t>
            </a:fld>
            <a:endParaRPr lang="en-US" noProof="0"/>
          </a:p>
        </p:txBody>
      </p:sp>
      <p:grpSp>
        <p:nvGrpSpPr>
          <p:cNvPr id="37" name="Group 36">
            <a:extLst>
              <a:ext uri="{FF2B5EF4-FFF2-40B4-BE49-F238E27FC236}">
                <a16:creationId xmlns:a16="http://schemas.microsoft.com/office/drawing/2014/main" id="{0F43F632-D035-4929-ADCA-67D26910EE79}"/>
              </a:ext>
            </a:extLst>
          </p:cNvPr>
          <p:cNvGrpSpPr/>
          <p:nvPr userDrawn="1"/>
        </p:nvGrpSpPr>
        <p:grpSpPr bwMode="gray">
          <a:xfrm>
            <a:off x="3810636" y="1639902"/>
            <a:ext cx="297995" cy="265156"/>
            <a:chOff x="3511551" y="-1402656"/>
            <a:chExt cx="1443038" cy="1284288"/>
          </a:xfrm>
        </p:grpSpPr>
        <p:sp>
          <p:nvSpPr>
            <p:cNvPr id="38" name="Freeform 6">
              <a:extLst>
                <a:ext uri="{FF2B5EF4-FFF2-40B4-BE49-F238E27FC236}">
                  <a16:creationId xmlns:a16="http://schemas.microsoft.com/office/drawing/2014/main" id="{D3CA7162-5F80-4E4F-991B-16B47A7A7ECB}"/>
                </a:ext>
              </a:extLst>
            </p:cNvPr>
            <p:cNvSpPr>
              <a:spLocks/>
            </p:cNvSpPr>
            <p:nvPr/>
          </p:nvSpPr>
          <p:spPr bwMode="gray">
            <a:xfrm>
              <a:off x="3511551" y="-1208981"/>
              <a:ext cx="1443038" cy="1090613"/>
            </a:xfrm>
            <a:custGeom>
              <a:avLst/>
              <a:gdLst>
                <a:gd name="T0" fmla="*/ 620 w 909"/>
                <a:gd name="T1" fmla="*/ 0 h 687"/>
                <a:gd name="T2" fmla="*/ 909 w 909"/>
                <a:gd name="T3" fmla="*/ 0 h 687"/>
                <a:gd name="T4" fmla="*/ 909 w 909"/>
                <a:gd name="T5" fmla="*/ 687 h 687"/>
                <a:gd name="T6" fmla="*/ 0 w 909"/>
                <a:gd name="T7" fmla="*/ 687 h 687"/>
                <a:gd name="T8" fmla="*/ 0 w 909"/>
                <a:gd name="T9" fmla="*/ 0 h 687"/>
                <a:gd name="T10" fmla="*/ 290 w 909"/>
                <a:gd name="T11" fmla="*/ 0 h 687"/>
              </a:gdLst>
              <a:ahLst/>
              <a:cxnLst>
                <a:cxn ang="0">
                  <a:pos x="T0" y="T1"/>
                </a:cxn>
                <a:cxn ang="0">
                  <a:pos x="T2" y="T3"/>
                </a:cxn>
                <a:cxn ang="0">
                  <a:pos x="T4" y="T5"/>
                </a:cxn>
                <a:cxn ang="0">
                  <a:pos x="T6" y="T7"/>
                </a:cxn>
                <a:cxn ang="0">
                  <a:pos x="T8" y="T9"/>
                </a:cxn>
                <a:cxn ang="0">
                  <a:pos x="T10" y="T11"/>
                </a:cxn>
              </a:cxnLst>
              <a:rect l="0" t="0" r="r" b="b"/>
              <a:pathLst>
                <a:path w="909" h="687">
                  <a:moveTo>
                    <a:pt x="620" y="0"/>
                  </a:moveTo>
                  <a:lnTo>
                    <a:pt x="909" y="0"/>
                  </a:lnTo>
                  <a:lnTo>
                    <a:pt x="909" y="687"/>
                  </a:lnTo>
                  <a:lnTo>
                    <a:pt x="0" y="687"/>
                  </a:lnTo>
                  <a:lnTo>
                    <a:pt x="0" y="0"/>
                  </a:lnTo>
                  <a:lnTo>
                    <a:pt x="29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39" name="Freeform 7">
              <a:extLst>
                <a:ext uri="{FF2B5EF4-FFF2-40B4-BE49-F238E27FC236}">
                  <a16:creationId xmlns:a16="http://schemas.microsoft.com/office/drawing/2014/main" id="{B1E774EB-E89C-4FB6-9640-2D3E053FFF82}"/>
                </a:ext>
              </a:extLst>
            </p:cNvPr>
            <p:cNvSpPr>
              <a:spLocks/>
            </p:cNvSpPr>
            <p:nvPr/>
          </p:nvSpPr>
          <p:spPr bwMode="gray">
            <a:xfrm>
              <a:off x="3676651" y="-913706"/>
              <a:ext cx="528638" cy="628650"/>
            </a:xfrm>
            <a:custGeom>
              <a:avLst/>
              <a:gdLst>
                <a:gd name="T0" fmla="*/ 0 w 333"/>
                <a:gd name="T1" fmla="*/ 0 h 396"/>
                <a:gd name="T2" fmla="*/ 333 w 333"/>
                <a:gd name="T3" fmla="*/ 0 h 396"/>
                <a:gd name="T4" fmla="*/ 333 w 333"/>
                <a:gd name="T5" fmla="*/ 396 h 396"/>
                <a:gd name="T6" fmla="*/ 0 w 333"/>
                <a:gd name="T7" fmla="*/ 396 h 396"/>
                <a:gd name="T8" fmla="*/ 0 w 333"/>
                <a:gd name="T9" fmla="*/ 0 h 396"/>
                <a:gd name="T10" fmla="*/ 0 w 333"/>
                <a:gd name="T11" fmla="*/ 0 h 396"/>
              </a:gdLst>
              <a:ahLst/>
              <a:cxnLst>
                <a:cxn ang="0">
                  <a:pos x="T0" y="T1"/>
                </a:cxn>
                <a:cxn ang="0">
                  <a:pos x="T2" y="T3"/>
                </a:cxn>
                <a:cxn ang="0">
                  <a:pos x="T4" y="T5"/>
                </a:cxn>
                <a:cxn ang="0">
                  <a:pos x="T6" y="T7"/>
                </a:cxn>
                <a:cxn ang="0">
                  <a:pos x="T8" y="T9"/>
                </a:cxn>
                <a:cxn ang="0">
                  <a:pos x="T10" y="T11"/>
                </a:cxn>
              </a:cxnLst>
              <a:rect l="0" t="0" r="r" b="b"/>
              <a:pathLst>
                <a:path w="333" h="396">
                  <a:moveTo>
                    <a:pt x="0" y="0"/>
                  </a:moveTo>
                  <a:lnTo>
                    <a:pt x="333" y="0"/>
                  </a:lnTo>
                  <a:lnTo>
                    <a:pt x="333" y="396"/>
                  </a:lnTo>
                  <a:lnTo>
                    <a:pt x="0" y="396"/>
                  </a:lnTo>
                  <a:lnTo>
                    <a:pt x="0" y="0"/>
                  </a:lnTo>
                  <a:lnTo>
                    <a:pt x="0" y="0"/>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3" name="Freeform 8">
              <a:extLst>
                <a:ext uri="{FF2B5EF4-FFF2-40B4-BE49-F238E27FC236}">
                  <a16:creationId xmlns:a16="http://schemas.microsoft.com/office/drawing/2014/main" id="{8733B651-C3F8-436F-A648-A21DD06AF1CB}"/>
                </a:ext>
              </a:extLst>
            </p:cNvPr>
            <p:cNvSpPr>
              <a:spLocks/>
            </p:cNvSpPr>
            <p:nvPr/>
          </p:nvSpPr>
          <p:spPr bwMode="gray">
            <a:xfrm>
              <a:off x="3676651" y="-481906"/>
              <a:ext cx="528638" cy="196850"/>
            </a:xfrm>
            <a:custGeom>
              <a:avLst/>
              <a:gdLst>
                <a:gd name="T0" fmla="*/ 70 w 140"/>
                <a:gd name="T1" fmla="*/ 52 h 52"/>
                <a:gd name="T2" fmla="*/ 140 w 140"/>
                <a:gd name="T3" fmla="*/ 52 h 52"/>
                <a:gd name="T4" fmla="*/ 140 w 140"/>
                <a:gd name="T5" fmla="*/ 22 h 52"/>
                <a:gd name="T6" fmla="*/ 70 w 140"/>
                <a:gd name="T7" fmla="*/ 0 h 52"/>
                <a:gd name="T8" fmla="*/ 0 w 140"/>
                <a:gd name="T9" fmla="*/ 22 h 52"/>
                <a:gd name="T10" fmla="*/ 0 w 140"/>
                <a:gd name="T11" fmla="*/ 52 h 52"/>
                <a:gd name="T12" fmla="*/ 70 w 140"/>
                <a:gd name="T13" fmla="*/ 52 h 52"/>
                <a:gd name="T14" fmla="*/ 70 w 14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52">
                  <a:moveTo>
                    <a:pt x="70" y="52"/>
                  </a:moveTo>
                  <a:cubicBezTo>
                    <a:pt x="140" y="52"/>
                    <a:pt x="140" y="52"/>
                    <a:pt x="140" y="52"/>
                  </a:cubicBezTo>
                  <a:cubicBezTo>
                    <a:pt x="140" y="22"/>
                    <a:pt x="140" y="22"/>
                    <a:pt x="140" y="22"/>
                  </a:cubicBezTo>
                  <a:cubicBezTo>
                    <a:pt x="136" y="18"/>
                    <a:pt x="102" y="0"/>
                    <a:pt x="70" y="0"/>
                  </a:cubicBezTo>
                  <a:cubicBezTo>
                    <a:pt x="38" y="0"/>
                    <a:pt x="3" y="18"/>
                    <a:pt x="0" y="22"/>
                  </a:cubicBezTo>
                  <a:cubicBezTo>
                    <a:pt x="0" y="52"/>
                    <a:pt x="0" y="52"/>
                    <a:pt x="0" y="52"/>
                  </a:cubicBezTo>
                  <a:cubicBezTo>
                    <a:pt x="70" y="52"/>
                    <a:pt x="70" y="52"/>
                    <a:pt x="70" y="52"/>
                  </a:cubicBezTo>
                  <a:cubicBezTo>
                    <a:pt x="70" y="52"/>
                    <a:pt x="70" y="52"/>
                    <a:pt x="70" y="52"/>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4" name="Freeform 9">
              <a:extLst>
                <a:ext uri="{FF2B5EF4-FFF2-40B4-BE49-F238E27FC236}">
                  <a16:creationId xmlns:a16="http://schemas.microsoft.com/office/drawing/2014/main" id="{B97AE7A9-B741-43FB-8D3C-4F60A7A0FF36}"/>
                </a:ext>
              </a:extLst>
            </p:cNvPr>
            <p:cNvSpPr>
              <a:spLocks/>
            </p:cNvSpPr>
            <p:nvPr/>
          </p:nvSpPr>
          <p:spPr bwMode="gray">
            <a:xfrm>
              <a:off x="3843338" y="-807343"/>
              <a:ext cx="195263" cy="227013"/>
            </a:xfrm>
            <a:custGeom>
              <a:avLst/>
              <a:gdLst>
                <a:gd name="T0" fmla="*/ 26 w 52"/>
                <a:gd name="T1" fmla="*/ 0 h 60"/>
                <a:gd name="T2" fmla="*/ 26 w 52"/>
                <a:gd name="T3" fmla="*/ 0 h 60"/>
                <a:gd name="T4" fmla="*/ 0 w 52"/>
                <a:gd name="T5" fmla="*/ 26 h 60"/>
                <a:gd name="T6" fmla="*/ 0 w 52"/>
                <a:gd name="T7" fmla="*/ 34 h 60"/>
                <a:gd name="T8" fmla="*/ 26 w 52"/>
                <a:gd name="T9" fmla="*/ 60 h 60"/>
                <a:gd name="T10" fmla="*/ 26 w 52"/>
                <a:gd name="T11" fmla="*/ 60 h 60"/>
                <a:gd name="T12" fmla="*/ 52 w 52"/>
                <a:gd name="T13" fmla="*/ 34 h 60"/>
                <a:gd name="T14" fmla="*/ 52 w 52"/>
                <a:gd name="T15" fmla="*/ 26 h 60"/>
                <a:gd name="T16" fmla="*/ 26 w 52"/>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0">
                  <a:moveTo>
                    <a:pt x="26" y="0"/>
                  </a:moveTo>
                  <a:cubicBezTo>
                    <a:pt x="26" y="0"/>
                    <a:pt x="26" y="0"/>
                    <a:pt x="26" y="0"/>
                  </a:cubicBezTo>
                  <a:cubicBezTo>
                    <a:pt x="12" y="0"/>
                    <a:pt x="0" y="12"/>
                    <a:pt x="0" y="26"/>
                  </a:cubicBezTo>
                  <a:cubicBezTo>
                    <a:pt x="0" y="34"/>
                    <a:pt x="0" y="34"/>
                    <a:pt x="0" y="34"/>
                  </a:cubicBezTo>
                  <a:cubicBezTo>
                    <a:pt x="0" y="48"/>
                    <a:pt x="12" y="60"/>
                    <a:pt x="26" y="60"/>
                  </a:cubicBezTo>
                  <a:cubicBezTo>
                    <a:pt x="26" y="60"/>
                    <a:pt x="26" y="60"/>
                    <a:pt x="26" y="60"/>
                  </a:cubicBezTo>
                  <a:cubicBezTo>
                    <a:pt x="40" y="60"/>
                    <a:pt x="52" y="48"/>
                    <a:pt x="52" y="34"/>
                  </a:cubicBezTo>
                  <a:cubicBezTo>
                    <a:pt x="52" y="26"/>
                    <a:pt x="52" y="26"/>
                    <a:pt x="52" y="26"/>
                  </a:cubicBezTo>
                  <a:cubicBezTo>
                    <a:pt x="52" y="12"/>
                    <a:pt x="40" y="0"/>
                    <a:pt x="26" y="0"/>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5" name="Line 10">
              <a:extLst>
                <a:ext uri="{FF2B5EF4-FFF2-40B4-BE49-F238E27FC236}">
                  <a16:creationId xmlns:a16="http://schemas.microsoft.com/office/drawing/2014/main" id="{6B3FB9A6-8C9B-4C1B-B011-1BB6D504EAF6}"/>
                </a:ext>
              </a:extLst>
            </p:cNvPr>
            <p:cNvSpPr>
              <a:spLocks noChangeShapeType="1"/>
            </p:cNvSpPr>
            <p:nvPr/>
          </p:nvSpPr>
          <p:spPr bwMode="gray">
            <a:xfrm>
              <a:off x="4370388" y="-777181"/>
              <a:ext cx="41910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6" name="Line 11">
              <a:extLst>
                <a:ext uri="{FF2B5EF4-FFF2-40B4-BE49-F238E27FC236}">
                  <a16:creationId xmlns:a16="http://schemas.microsoft.com/office/drawing/2014/main" id="{6002E5A0-0E3A-47BC-9FCB-588B82BA9182}"/>
                </a:ext>
              </a:extLst>
            </p:cNvPr>
            <p:cNvSpPr>
              <a:spLocks noChangeShapeType="1"/>
            </p:cNvSpPr>
            <p:nvPr/>
          </p:nvSpPr>
          <p:spPr bwMode="gray">
            <a:xfrm>
              <a:off x="4370388" y="-629543"/>
              <a:ext cx="41910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7" name="Line 12">
              <a:extLst>
                <a:ext uri="{FF2B5EF4-FFF2-40B4-BE49-F238E27FC236}">
                  <a16:creationId xmlns:a16="http://schemas.microsoft.com/office/drawing/2014/main" id="{697081B6-0B5B-4092-AB26-CF24C2A57D97}"/>
                </a:ext>
              </a:extLst>
            </p:cNvPr>
            <p:cNvSpPr>
              <a:spLocks noChangeShapeType="1"/>
            </p:cNvSpPr>
            <p:nvPr/>
          </p:nvSpPr>
          <p:spPr bwMode="gray">
            <a:xfrm>
              <a:off x="4370388" y="-481906"/>
              <a:ext cx="22225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8" name="Line 13">
              <a:extLst>
                <a:ext uri="{FF2B5EF4-FFF2-40B4-BE49-F238E27FC236}">
                  <a16:creationId xmlns:a16="http://schemas.microsoft.com/office/drawing/2014/main" id="{167C52FF-F37C-434F-AEE1-BDA8477467BE}"/>
                </a:ext>
              </a:extLst>
            </p:cNvPr>
            <p:cNvSpPr>
              <a:spLocks noChangeShapeType="1"/>
            </p:cNvSpPr>
            <p:nvPr/>
          </p:nvSpPr>
          <p:spPr bwMode="gray">
            <a:xfrm>
              <a:off x="3971926" y="-1069281"/>
              <a:ext cx="5238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9" name="Freeform 14">
              <a:extLst>
                <a:ext uri="{FF2B5EF4-FFF2-40B4-BE49-F238E27FC236}">
                  <a16:creationId xmlns:a16="http://schemas.microsoft.com/office/drawing/2014/main" id="{8841CA98-4837-4EED-B9CB-6A97AB8A73AB}"/>
                </a:ext>
              </a:extLst>
            </p:cNvPr>
            <p:cNvSpPr>
              <a:spLocks/>
            </p:cNvSpPr>
            <p:nvPr/>
          </p:nvSpPr>
          <p:spPr bwMode="gray">
            <a:xfrm>
              <a:off x="4103688" y="-1402656"/>
              <a:ext cx="260350" cy="333375"/>
            </a:xfrm>
            <a:custGeom>
              <a:avLst/>
              <a:gdLst>
                <a:gd name="T0" fmla="*/ 0 w 164"/>
                <a:gd name="T1" fmla="*/ 0 h 210"/>
                <a:gd name="T2" fmla="*/ 164 w 164"/>
                <a:gd name="T3" fmla="*/ 0 h 210"/>
                <a:gd name="T4" fmla="*/ 164 w 164"/>
                <a:gd name="T5" fmla="*/ 210 h 210"/>
                <a:gd name="T6" fmla="*/ 0 w 164"/>
                <a:gd name="T7" fmla="*/ 210 h 210"/>
                <a:gd name="T8" fmla="*/ 0 w 164"/>
                <a:gd name="T9" fmla="*/ 0 h 210"/>
                <a:gd name="T10" fmla="*/ 0 w 164"/>
                <a:gd name="T11" fmla="*/ 0 h 210"/>
              </a:gdLst>
              <a:ahLst/>
              <a:cxnLst>
                <a:cxn ang="0">
                  <a:pos x="T0" y="T1"/>
                </a:cxn>
                <a:cxn ang="0">
                  <a:pos x="T2" y="T3"/>
                </a:cxn>
                <a:cxn ang="0">
                  <a:pos x="T4" y="T5"/>
                </a:cxn>
                <a:cxn ang="0">
                  <a:pos x="T6" y="T7"/>
                </a:cxn>
                <a:cxn ang="0">
                  <a:pos x="T8" y="T9"/>
                </a:cxn>
                <a:cxn ang="0">
                  <a:pos x="T10" y="T11"/>
                </a:cxn>
              </a:cxnLst>
              <a:rect l="0" t="0" r="r" b="b"/>
              <a:pathLst>
                <a:path w="164" h="210">
                  <a:moveTo>
                    <a:pt x="0" y="0"/>
                  </a:moveTo>
                  <a:lnTo>
                    <a:pt x="164" y="0"/>
                  </a:lnTo>
                  <a:lnTo>
                    <a:pt x="164" y="210"/>
                  </a:lnTo>
                  <a:lnTo>
                    <a:pt x="0" y="210"/>
                  </a:lnTo>
                  <a:lnTo>
                    <a:pt x="0" y="0"/>
                  </a:lnTo>
                  <a:lnTo>
                    <a:pt x="0" y="0"/>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grpSp>
        <p:nvGrpSpPr>
          <p:cNvPr id="50" name="Group 49">
            <a:extLst>
              <a:ext uri="{FF2B5EF4-FFF2-40B4-BE49-F238E27FC236}">
                <a16:creationId xmlns:a16="http://schemas.microsoft.com/office/drawing/2014/main" id="{E552AA60-8729-4069-8126-8953260C600E}"/>
              </a:ext>
            </a:extLst>
          </p:cNvPr>
          <p:cNvGrpSpPr/>
          <p:nvPr userDrawn="1"/>
        </p:nvGrpSpPr>
        <p:grpSpPr bwMode="gray">
          <a:xfrm>
            <a:off x="380017" y="1641541"/>
            <a:ext cx="382247" cy="263517"/>
            <a:chOff x="623888" y="-1394718"/>
            <a:chExt cx="1851025" cy="1276350"/>
          </a:xfrm>
        </p:grpSpPr>
        <p:sp>
          <p:nvSpPr>
            <p:cNvPr id="51" name="Freeform 5">
              <a:extLst>
                <a:ext uri="{FF2B5EF4-FFF2-40B4-BE49-F238E27FC236}">
                  <a16:creationId xmlns:a16="http://schemas.microsoft.com/office/drawing/2014/main" id="{76D5F37B-C1DA-43CF-BE7D-B8CEF2AF786A}"/>
                </a:ext>
              </a:extLst>
            </p:cNvPr>
            <p:cNvSpPr>
              <a:spLocks/>
            </p:cNvSpPr>
            <p:nvPr/>
          </p:nvSpPr>
          <p:spPr bwMode="gray">
            <a:xfrm>
              <a:off x="623888" y="-1394718"/>
              <a:ext cx="1851025" cy="1276350"/>
            </a:xfrm>
            <a:custGeom>
              <a:avLst/>
              <a:gdLst>
                <a:gd name="T0" fmla="*/ 491 w 491"/>
                <a:gd name="T1" fmla="*/ 168 h 337"/>
                <a:gd name="T2" fmla="*/ 246 w 491"/>
                <a:gd name="T3" fmla="*/ 337 h 337"/>
                <a:gd name="T4" fmla="*/ 0 w 491"/>
                <a:gd name="T5" fmla="*/ 168 h 337"/>
                <a:gd name="T6" fmla="*/ 245 w 491"/>
                <a:gd name="T7" fmla="*/ 0 h 337"/>
                <a:gd name="T8" fmla="*/ 491 w 491"/>
                <a:gd name="T9" fmla="*/ 168 h 337"/>
              </a:gdLst>
              <a:ahLst/>
              <a:cxnLst>
                <a:cxn ang="0">
                  <a:pos x="T0" y="T1"/>
                </a:cxn>
                <a:cxn ang="0">
                  <a:pos x="T2" y="T3"/>
                </a:cxn>
                <a:cxn ang="0">
                  <a:pos x="T4" y="T5"/>
                </a:cxn>
                <a:cxn ang="0">
                  <a:pos x="T6" y="T7"/>
                </a:cxn>
                <a:cxn ang="0">
                  <a:pos x="T8" y="T9"/>
                </a:cxn>
              </a:cxnLst>
              <a:rect l="0" t="0" r="r" b="b"/>
              <a:pathLst>
                <a:path w="491" h="337">
                  <a:moveTo>
                    <a:pt x="491" y="168"/>
                  </a:moveTo>
                  <a:cubicBezTo>
                    <a:pt x="491" y="168"/>
                    <a:pt x="382" y="337"/>
                    <a:pt x="246" y="337"/>
                  </a:cubicBezTo>
                  <a:cubicBezTo>
                    <a:pt x="111" y="337"/>
                    <a:pt x="0" y="168"/>
                    <a:pt x="0" y="168"/>
                  </a:cubicBezTo>
                  <a:cubicBezTo>
                    <a:pt x="0" y="168"/>
                    <a:pt x="109" y="0"/>
                    <a:pt x="245" y="0"/>
                  </a:cubicBezTo>
                  <a:cubicBezTo>
                    <a:pt x="380" y="0"/>
                    <a:pt x="491" y="168"/>
                    <a:pt x="491" y="168"/>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2" name="Oval 15">
              <a:extLst>
                <a:ext uri="{FF2B5EF4-FFF2-40B4-BE49-F238E27FC236}">
                  <a16:creationId xmlns:a16="http://schemas.microsoft.com/office/drawing/2014/main" id="{85B85F39-32F9-4058-A9C7-FA8ACFA2D32F}"/>
                </a:ext>
              </a:extLst>
            </p:cNvPr>
            <p:cNvSpPr>
              <a:spLocks noChangeArrowheads="1"/>
            </p:cNvSpPr>
            <p:nvPr/>
          </p:nvSpPr>
          <p:spPr bwMode="gray">
            <a:xfrm>
              <a:off x="1276351" y="-1031181"/>
              <a:ext cx="546100" cy="549275"/>
            </a:xfrm>
            <a:prstGeom prst="ellips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3" name="Freeform 16">
              <a:extLst>
                <a:ext uri="{FF2B5EF4-FFF2-40B4-BE49-F238E27FC236}">
                  <a16:creationId xmlns:a16="http://schemas.microsoft.com/office/drawing/2014/main" id="{32B7951B-9248-48A0-9D56-F8ECEF0A70AF}"/>
                </a:ext>
              </a:extLst>
            </p:cNvPr>
            <p:cNvSpPr>
              <a:spLocks/>
            </p:cNvSpPr>
            <p:nvPr/>
          </p:nvSpPr>
          <p:spPr bwMode="gray">
            <a:xfrm>
              <a:off x="1084263" y="-1137543"/>
              <a:ext cx="192088" cy="757238"/>
            </a:xfrm>
            <a:custGeom>
              <a:avLst/>
              <a:gdLst>
                <a:gd name="T0" fmla="*/ 51 w 51"/>
                <a:gd name="T1" fmla="*/ 200 h 200"/>
                <a:gd name="T2" fmla="*/ 0 w 51"/>
                <a:gd name="T3" fmla="*/ 100 h 200"/>
                <a:gd name="T4" fmla="*/ 51 w 51"/>
                <a:gd name="T5" fmla="*/ 0 h 200"/>
              </a:gdLst>
              <a:ahLst/>
              <a:cxnLst>
                <a:cxn ang="0">
                  <a:pos x="T0" y="T1"/>
                </a:cxn>
                <a:cxn ang="0">
                  <a:pos x="T2" y="T3"/>
                </a:cxn>
                <a:cxn ang="0">
                  <a:pos x="T4" y="T5"/>
                </a:cxn>
              </a:cxnLst>
              <a:rect l="0" t="0" r="r" b="b"/>
              <a:pathLst>
                <a:path w="51" h="200">
                  <a:moveTo>
                    <a:pt x="51" y="200"/>
                  </a:moveTo>
                  <a:cubicBezTo>
                    <a:pt x="20" y="178"/>
                    <a:pt x="0" y="142"/>
                    <a:pt x="0" y="100"/>
                  </a:cubicBezTo>
                  <a:cubicBezTo>
                    <a:pt x="0" y="59"/>
                    <a:pt x="20" y="23"/>
                    <a:pt x="51" y="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4" name="Freeform 17">
              <a:extLst>
                <a:ext uri="{FF2B5EF4-FFF2-40B4-BE49-F238E27FC236}">
                  <a16:creationId xmlns:a16="http://schemas.microsoft.com/office/drawing/2014/main" id="{42D29D02-129A-4D2C-B3B3-FE291897F40A}"/>
                </a:ext>
              </a:extLst>
            </p:cNvPr>
            <p:cNvSpPr>
              <a:spLocks/>
            </p:cNvSpPr>
            <p:nvPr/>
          </p:nvSpPr>
          <p:spPr bwMode="gray">
            <a:xfrm>
              <a:off x="1822451" y="-1137543"/>
              <a:ext cx="192088" cy="757238"/>
            </a:xfrm>
            <a:custGeom>
              <a:avLst/>
              <a:gdLst>
                <a:gd name="T0" fmla="*/ 0 w 51"/>
                <a:gd name="T1" fmla="*/ 0 h 200"/>
                <a:gd name="T2" fmla="*/ 51 w 51"/>
                <a:gd name="T3" fmla="*/ 100 h 200"/>
                <a:gd name="T4" fmla="*/ 0 w 51"/>
                <a:gd name="T5" fmla="*/ 200 h 200"/>
              </a:gdLst>
              <a:ahLst/>
              <a:cxnLst>
                <a:cxn ang="0">
                  <a:pos x="T0" y="T1"/>
                </a:cxn>
                <a:cxn ang="0">
                  <a:pos x="T2" y="T3"/>
                </a:cxn>
                <a:cxn ang="0">
                  <a:pos x="T4" y="T5"/>
                </a:cxn>
              </a:cxnLst>
              <a:rect l="0" t="0" r="r" b="b"/>
              <a:pathLst>
                <a:path w="51" h="200">
                  <a:moveTo>
                    <a:pt x="0" y="0"/>
                  </a:moveTo>
                  <a:cubicBezTo>
                    <a:pt x="31" y="23"/>
                    <a:pt x="51" y="59"/>
                    <a:pt x="51" y="100"/>
                  </a:cubicBezTo>
                  <a:cubicBezTo>
                    <a:pt x="51" y="142"/>
                    <a:pt x="31" y="178"/>
                    <a:pt x="0" y="20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grpSp>
        <p:nvGrpSpPr>
          <p:cNvPr id="55" name="Group 30">
            <a:extLst>
              <a:ext uri="{FF2B5EF4-FFF2-40B4-BE49-F238E27FC236}">
                <a16:creationId xmlns:a16="http://schemas.microsoft.com/office/drawing/2014/main" id="{F01704B8-D01A-49AE-8879-A259941D91EC}"/>
              </a:ext>
            </a:extLst>
          </p:cNvPr>
          <p:cNvGrpSpPr>
            <a:grpSpLocks noChangeAspect="1"/>
          </p:cNvGrpSpPr>
          <p:nvPr userDrawn="1"/>
        </p:nvGrpSpPr>
        <p:grpSpPr bwMode="gray">
          <a:xfrm>
            <a:off x="7239197" y="1606303"/>
            <a:ext cx="235053" cy="298756"/>
            <a:chOff x="2556" y="1196"/>
            <a:chExt cx="693" cy="881"/>
          </a:xfrm>
        </p:grpSpPr>
        <p:sp>
          <p:nvSpPr>
            <p:cNvPr id="56" name="Rectangle 31">
              <a:extLst>
                <a:ext uri="{FF2B5EF4-FFF2-40B4-BE49-F238E27FC236}">
                  <a16:creationId xmlns:a16="http://schemas.microsoft.com/office/drawing/2014/main" id="{AC90A230-641C-4668-BA37-263DB6F42A1D}"/>
                </a:ext>
              </a:extLst>
            </p:cNvPr>
            <p:cNvSpPr>
              <a:spLocks noChangeArrowheads="1"/>
            </p:cNvSpPr>
            <p:nvPr/>
          </p:nvSpPr>
          <p:spPr bwMode="gray">
            <a:xfrm>
              <a:off x="2688" y="1196"/>
              <a:ext cx="431" cy="108"/>
            </a:xfrm>
            <a:prstGeom prst="rect">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7" name="Freeform 32">
              <a:extLst>
                <a:ext uri="{FF2B5EF4-FFF2-40B4-BE49-F238E27FC236}">
                  <a16:creationId xmlns:a16="http://schemas.microsoft.com/office/drawing/2014/main" id="{C45D1171-2E96-466C-9651-6D488B7894BE}"/>
                </a:ext>
              </a:extLst>
            </p:cNvPr>
            <p:cNvSpPr>
              <a:spLocks/>
            </p:cNvSpPr>
            <p:nvPr/>
          </p:nvSpPr>
          <p:spPr bwMode="gray">
            <a:xfrm>
              <a:off x="2556" y="1239"/>
              <a:ext cx="693" cy="838"/>
            </a:xfrm>
            <a:custGeom>
              <a:avLst/>
              <a:gdLst>
                <a:gd name="T0" fmla="*/ 563 w 693"/>
                <a:gd name="T1" fmla="*/ 0 h 838"/>
                <a:gd name="T2" fmla="*/ 693 w 693"/>
                <a:gd name="T3" fmla="*/ 0 h 838"/>
                <a:gd name="T4" fmla="*/ 693 w 693"/>
                <a:gd name="T5" fmla="*/ 838 h 838"/>
                <a:gd name="T6" fmla="*/ 0 w 693"/>
                <a:gd name="T7" fmla="*/ 838 h 838"/>
                <a:gd name="T8" fmla="*/ 0 w 693"/>
                <a:gd name="T9" fmla="*/ 0 h 838"/>
                <a:gd name="T10" fmla="*/ 132 w 693"/>
                <a:gd name="T11" fmla="*/ 0 h 838"/>
              </a:gdLst>
              <a:ahLst/>
              <a:cxnLst>
                <a:cxn ang="0">
                  <a:pos x="T0" y="T1"/>
                </a:cxn>
                <a:cxn ang="0">
                  <a:pos x="T2" y="T3"/>
                </a:cxn>
                <a:cxn ang="0">
                  <a:pos x="T4" y="T5"/>
                </a:cxn>
                <a:cxn ang="0">
                  <a:pos x="T6" y="T7"/>
                </a:cxn>
                <a:cxn ang="0">
                  <a:pos x="T8" y="T9"/>
                </a:cxn>
                <a:cxn ang="0">
                  <a:pos x="T10" y="T11"/>
                </a:cxn>
              </a:cxnLst>
              <a:rect l="0" t="0" r="r" b="b"/>
              <a:pathLst>
                <a:path w="693" h="838">
                  <a:moveTo>
                    <a:pt x="563" y="0"/>
                  </a:moveTo>
                  <a:lnTo>
                    <a:pt x="693" y="0"/>
                  </a:lnTo>
                  <a:lnTo>
                    <a:pt x="693" y="838"/>
                  </a:lnTo>
                  <a:lnTo>
                    <a:pt x="0" y="838"/>
                  </a:lnTo>
                  <a:lnTo>
                    <a:pt x="0" y="0"/>
                  </a:lnTo>
                  <a:lnTo>
                    <a:pt x="13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8" name="Freeform 33">
              <a:extLst>
                <a:ext uri="{FF2B5EF4-FFF2-40B4-BE49-F238E27FC236}">
                  <a16:creationId xmlns:a16="http://schemas.microsoft.com/office/drawing/2014/main" id="{1B0357C3-0B79-40F8-8625-1925F968A474}"/>
                </a:ext>
              </a:extLst>
            </p:cNvPr>
            <p:cNvSpPr>
              <a:spLocks/>
            </p:cNvSpPr>
            <p:nvPr/>
          </p:nvSpPr>
          <p:spPr bwMode="gray">
            <a:xfrm>
              <a:off x="2664" y="1452"/>
              <a:ext cx="173" cy="171"/>
            </a:xfrm>
            <a:custGeom>
              <a:avLst/>
              <a:gdLst>
                <a:gd name="T0" fmla="*/ 173 w 173"/>
                <a:gd name="T1" fmla="*/ 171 h 171"/>
                <a:gd name="T2" fmla="*/ 0 w 173"/>
                <a:gd name="T3" fmla="*/ 171 h 171"/>
                <a:gd name="T4" fmla="*/ 0 w 173"/>
                <a:gd name="T5" fmla="*/ 0 h 171"/>
                <a:gd name="T6" fmla="*/ 72 w 173"/>
                <a:gd name="T7" fmla="*/ 0 h 171"/>
              </a:gdLst>
              <a:ahLst/>
              <a:cxnLst>
                <a:cxn ang="0">
                  <a:pos x="T0" y="T1"/>
                </a:cxn>
                <a:cxn ang="0">
                  <a:pos x="T2" y="T3"/>
                </a:cxn>
                <a:cxn ang="0">
                  <a:pos x="T4" y="T5"/>
                </a:cxn>
                <a:cxn ang="0">
                  <a:pos x="T6" y="T7"/>
                </a:cxn>
              </a:cxnLst>
              <a:rect l="0" t="0" r="r" b="b"/>
              <a:pathLst>
                <a:path w="173" h="171">
                  <a:moveTo>
                    <a:pt x="173" y="171"/>
                  </a:moveTo>
                  <a:lnTo>
                    <a:pt x="0" y="171"/>
                  </a:lnTo>
                  <a:lnTo>
                    <a:pt x="0" y="0"/>
                  </a:lnTo>
                  <a:lnTo>
                    <a:pt x="7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9" name="Freeform 34">
              <a:extLst>
                <a:ext uri="{FF2B5EF4-FFF2-40B4-BE49-F238E27FC236}">
                  <a16:creationId xmlns:a16="http://schemas.microsoft.com/office/drawing/2014/main" id="{CBD1765B-D6F4-42D1-8E15-47ED15457FB3}"/>
                </a:ext>
              </a:extLst>
            </p:cNvPr>
            <p:cNvSpPr>
              <a:spLocks/>
            </p:cNvSpPr>
            <p:nvPr/>
          </p:nvSpPr>
          <p:spPr bwMode="gray">
            <a:xfrm>
              <a:off x="2741" y="1471"/>
              <a:ext cx="127" cy="81"/>
            </a:xfrm>
            <a:custGeom>
              <a:avLst/>
              <a:gdLst>
                <a:gd name="T0" fmla="*/ 0 w 127"/>
                <a:gd name="T1" fmla="*/ 38 h 81"/>
                <a:gd name="T2" fmla="*/ 43 w 127"/>
                <a:gd name="T3" fmla="*/ 81 h 81"/>
                <a:gd name="T4" fmla="*/ 127 w 127"/>
                <a:gd name="T5" fmla="*/ 0 h 81"/>
              </a:gdLst>
              <a:ahLst/>
              <a:cxnLst>
                <a:cxn ang="0">
                  <a:pos x="T0" y="T1"/>
                </a:cxn>
                <a:cxn ang="0">
                  <a:pos x="T2" y="T3"/>
                </a:cxn>
                <a:cxn ang="0">
                  <a:pos x="T4" y="T5"/>
                </a:cxn>
              </a:cxnLst>
              <a:rect l="0" t="0" r="r" b="b"/>
              <a:pathLst>
                <a:path w="127" h="81">
                  <a:moveTo>
                    <a:pt x="0" y="38"/>
                  </a:moveTo>
                  <a:lnTo>
                    <a:pt x="43" y="81"/>
                  </a:lnTo>
                  <a:lnTo>
                    <a:pt x="127"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0" name="Line 35">
              <a:extLst>
                <a:ext uri="{FF2B5EF4-FFF2-40B4-BE49-F238E27FC236}">
                  <a16:creationId xmlns:a16="http://schemas.microsoft.com/office/drawing/2014/main" id="{8BD15E90-BE96-4BD5-A4F3-E13B710D1525}"/>
                </a:ext>
              </a:extLst>
            </p:cNvPr>
            <p:cNvSpPr>
              <a:spLocks noChangeShapeType="1"/>
            </p:cNvSpPr>
            <p:nvPr/>
          </p:nvSpPr>
          <p:spPr bwMode="gray">
            <a:xfrm>
              <a:off x="2929" y="1779"/>
              <a:ext cx="214"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1" name="Line 36">
              <a:extLst>
                <a:ext uri="{FF2B5EF4-FFF2-40B4-BE49-F238E27FC236}">
                  <a16:creationId xmlns:a16="http://schemas.microsoft.com/office/drawing/2014/main" id="{1703B673-4E8E-4B07-BB6A-A66FB6F2F939}"/>
                </a:ext>
              </a:extLst>
            </p:cNvPr>
            <p:cNvSpPr>
              <a:spLocks noChangeShapeType="1"/>
            </p:cNvSpPr>
            <p:nvPr/>
          </p:nvSpPr>
          <p:spPr bwMode="gray">
            <a:xfrm>
              <a:off x="2929" y="1867"/>
              <a:ext cx="13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2" name="Freeform 37">
              <a:extLst>
                <a:ext uri="{FF2B5EF4-FFF2-40B4-BE49-F238E27FC236}">
                  <a16:creationId xmlns:a16="http://schemas.microsoft.com/office/drawing/2014/main" id="{F2C7E138-8EBB-49E2-9E85-74EEDD10FA01}"/>
                </a:ext>
              </a:extLst>
            </p:cNvPr>
            <p:cNvSpPr>
              <a:spLocks/>
            </p:cNvSpPr>
            <p:nvPr/>
          </p:nvSpPr>
          <p:spPr bwMode="gray">
            <a:xfrm>
              <a:off x="2664" y="1752"/>
              <a:ext cx="173" cy="172"/>
            </a:xfrm>
            <a:custGeom>
              <a:avLst/>
              <a:gdLst>
                <a:gd name="T0" fmla="*/ 173 w 173"/>
                <a:gd name="T1" fmla="*/ 172 h 172"/>
                <a:gd name="T2" fmla="*/ 0 w 173"/>
                <a:gd name="T3" fmla="*/ 172 h 172"/>
                <a:gd name="T4" fmla="*/ 0 w 173"/>
                <a:gd name="T5" fmla="*/ 0 h 172"/>
                <a:gd name="T6" fmla="*/ 72 w 173"/>
                <a:gd name="T7" fmla="*/ 0 h 172"/>
              </a:gdLst>
              <a:ahLst/>
              <a:cxnLst>
                <a:cxn ang="0">
                  <a:pos x="T0" y="T1"/>
                </a:cxn>
                <a:cxn ang="0">
                  <a:pos x="T2" y="T3"/>
                </a:cxn>
                <a:cxn ang="0">
                  <a:pos x="T4" y="T5"/>
                </a:cxn>
                <a:cxn ang="0">
                  <a:pos x="T6" y="T7"/>
                </a:cxn>
              </a:cxnLst>
              <a:rect l="0" t="0" r="r" b="b"/>
              <a:pathLst>
                <a:path w="173" h="172">
                  <a:moveTo>
                    <a:pt x="173" y="172"/>
                  </a:moveTo>
                  <a:lnTo>
                    <a:pt x="0" y="172"/>
                  </a:lnTo>
                  <a:lnTo>
                    <a:pt x="0" y="0"/>
                  </a:lnTo>
                  <a:lnTo>
                    <a:pt x="7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3" name="Freeform 38">
              <a:extLst>
                <a:ext uri="{FF2B5EF4-FFF2-40B4-BE49-F238E27FC236}">
                  <a16:creationId xmlns:a16="http://schemas.microsoft.com/office/drawing/2014/main" id="{7EDAAF62-EFB6-4694-BE89-8F55A99B8EC7}"/>
                </a:ext>
              </a:extLst>
            </p:cNvPr>
            <p:cNvSpPr>
              <a:spLocks/>
            </p:cNvSpPr>
            <p:nvPr/>
          </p:nvSpPr>
          <p:spPr bwMode="gray">
            <a:xfrm>
              <a:off x="2741" y="1771"/>
              <a:ext cx="127" cy="82"/>
            </a:xfrm>
            <a:custGeom>
              <a:avLst/>
              <a:gdLst>
                <a:gd name="T0" fmla="*/ 0 w 127"/>
                <a:gd name="T1" fmla="*/ 39 h 82"/>
                <a:gd name="T2" fmla="*/ 43 w 127"/>
                <a:gd name="T3" fmla="*/ 82 h 82"/>
                <a:gd name="T4" fmla="*/ 127 w 127"/>
                <a:gd name="T5" fmla="*/ 0 h 82"/>
              </a:gdLst>
              <a:ahLst/>
              <a:cxnLst>
                <a:cxn ang="0">
                  <a:pos x="T0" y="T1"/>
                </a:cxn>
                <a:cxn ang="0">
                  <a:pos x="T2" y="T3"/>
                </a:cxn>
                <a:cxn ang="0">
                  <a:pos x="T4" y="T5"/>
                </a:cxn>
              </a:cxnLst>
              <a:rect l="0" t="0" r="r" b="b"/>
              <a:pathLst>
                <a:path w="127" h="82">
                  <a:moveTo>
                    <a:pt x="0" y="39"/>
                  </a:moveTo>
                  <a:lnTo>
                    <a:pt x="43" y="82"/>
                  </a:lnTo>
                  <a:lnTo>
                    <a:pt x="127"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4" name="Line 39">
              <a:extLst>
                <a:ext uri="{FF2B5EF4-FFF2-40B4-BE49-F238E27FC236}">
                  <a16:creationId xmlns:a16="http://schemas.microsoft.com/office/drawing/2014/main" id="{F92A5DBA-EC46-45C9-A50E-44355F31F2F1}"/>
                </a:ext>
              </a:extLst>
            </p:cNvPr>
            <p:cNvSpPr>
              <a:spLocks noChangeShapeType="1"/>
            </p:cNvSpPr>
            <p:nvPr/>
          </p:nvSpPr>
          <p:spPr bwMode="gray">
            <a:xfrm>
              <a:off x="2929" y="1471"/>
              <a:ext cx="214"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5" name="Line 40">
              <a:extLst>
                <a:ext uri="{FF2B5EF4-FFF2-40B4-BE49-F238E27FC236}">
                  <a16:creationId xmlns:a16="http://schemas.microsoft.com/office/drawing/2014/main" id="{413E9C72-7B21-4656-8EB1-4A1AE7AB01B2}"/>
                </a:ext>
              </a:extLst>
            </p:cNvPr>
            <p:cNvSpPr>
              <a:spLocks noChangeShapeType="1"/>
            </p:cNvSpPr>
            <p:nvPr/>
          </p:nvSpPr>
          <p:spPr bwMode="gray">
            <a:xfrm>
              <a:off x="2929" y="1559"/>
              <a:ext cx="13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spTree>
    <p:extLst>
      <p:ext uri="{BB962C8B-B14F-4D97-AF65-F5344CB8AC3E}">
        <p14:creationId xmlns:p14="http://schemas.microsoft.com/office/powerpoint/2010/main" val="350986696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D421ABF-9DBC-439C-96FD-8A7965646C4D}"/>
              </a:ext>
            </a:extLst>
          </p:cNvPr>
          <p:cNvSpPr>
            <a:spLocks noGrp="1"/>
          </p:cNvSpPr>
          <p:nvPr>
            <p:ph type="pic" sz="quarter" idx="19" hasCustomPrompt="1"/>
          </p:nvPr>
        </p:nvSpPr>
        <p:spPr bwMode="gray">
          <a:xfrm>
            <a:off x="380147" y="1428433"/>
            <a:ext cx="476201" cy="476102"/>
          </a:xfrm>
        </p:spPr>
        <p:txBody>
          <a:bodyPr anchor="ctr"/>
          <a:lstStyle>
            <a:lvl1pPr algn="ctr">
              <a:defRPr sz="1058"/>
            </a:lvl1pPr>
          </a:lstStyle>
          <a:p>
            <a:r>
              <a:rPr lang="en-US"/>
              <a:t>Icon</a:t>
            </a:r>
          </a:p>
        </p:txBody>
      </p:sp>
      <p:sp>
        <p:nvSpPr>
          <p:cNvPr id="40" name="Text Placeholder 39"/>
          <p:cNvSpPr>
            <a:spLocks noGrp="1"/>
          </p:cNvSpPr>
          <p:nvPr>
            <p:ph type="body" sz="quarter" idx="13"/>
          </p:nvPr>
        </p:nvSpPr>
        <p:spPr bwMode="gray">
          <a:xfrm>
            <a:off x="38001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bwMode="gray">
          <a:xfrm>
            <a:off x="380960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bwMode="gray">
          <a:xfrm>
            <a:off x="723919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97B8C8F-512D-4840-86BB-CEB9544D8CE5}"/>
              </a:ext>
            </a:extLst>
          </p:cNvPr>
          <p:cNvSpPr>
            <a:spLocks noGrp="1"/>
          </p:cNvSpPr>
          <p:nvPr>
            <p:ph type="title"/>
          </p:nvPr>
        </p:nvSpPr>
        <p:spPr bwMode="gray"/>
        <p:txBody>
          <a:bodyPr/>
          <a:lstStyle/>
          <a:p>
            <a:r>
              <a:rPr lang="en-US"/>
              <a:t>Click to edit Master title style</a:t>
            </a:r>
          </a:p>
        </p:txBody>
      </p:sp>
      <p:sp>
        <p:nvSpPr>
          <p:cNvPr id="2" name="Date Placeholder 1">
            <a:extLst>
              <a:ext uri="{FF2B5EF4-FFF2-40B4-BE49-F238E27FC236}">
                <a16:creationId xmlns:a16="http://schemas.microsoft.com/office/drawing/2014/main" id="{7E96917E-325A-4ED1-952D-03150B0676DD}"/>
              </a:ext>
            </a:extLst>
          </p:cNvPr>
          <p:cNvSpPr>
            <a:spLocks noGrp="1"/>
          </p:cNvSpPr>
          <p:nvPr>
            <p:ph type="dt" sz="half" idx="16"/>
          </p:nvPr>
        </p:nvSpPr>
        <p:spPr bwMode="gray"/>
        <p:txBody>
          <a:bodyPr/>
          <a:lstStyle/>
          <a:p>
            <a:pPr>
              <a:defRPr/>
            </a:pPr>
            <a:fld id="{B4E27A20-A549-41F1-B72A-EC3A1B9C870B}" type="datetime5">
              <a:rPr lang="en-US" noProof="0" smtClean="0"/>
              <a:t>6-Oct-21</a:t>
            </a:fld>
            <a:endParaRPr lang="en-US" noProof="0"/>
          </a:p>
        </p:txBody>
      </p:sp>
      <p:sp>
        <p:nvSpPr>
          <p:cNvPr id="7" name="Footer Placeholder 6">
            <a:extLst>
              <a:ext uri="{FF2B5EF4-FFF2-40B4-BE49-F238E27FC236}">
                <a16:creationId xmlns:a16="http://schemas.microsoft.com/office/drawing/2014/main" id="{5EB66D04-E523-43BC-8D0E-F122DE1F27CD}"/>
              </a:ext>
            </a:extLst>
          </p:cNvPr>
          <p:cNvSpPr>
            <a:spLocks noGrp="1"/>
          </p:cNvSpPr>
          <p:nvPr>
            <p:ph type="ftr" sz="quarter" idx="17"/>
          </p:nvPr>
        </p:nvSpPr>
        <p:spPr bwMode="gray"/>
        <p:txBody>
          <a:bodyPr/>
          <a:lstStyle/>
          <a:p>
            <a:pPr>
              <a:defRPr/>
            </a:pPr>
            <a:r>
              <a:rPr lang="en-US"/>
              <a:t>FOOTER / PRESENTATION NAME</a:t>
            </a:r>
          </a:p>
        </p:txBody>
      </p:sp>
      <p:sp>
        <p:nvSpPr>
          <p:cNvPr id="8" name="Slide Number Placeholder 7">
            <a:extLst>
              <a:ext uri="{FF2B5EF4-FFF2-40B4-BE49-F238E27FC236}">
                <a16:creationId xmlns:a16="http://schemas.microsoft.com/office/drawing/2014/main" id="{E8916C68-A2A4-48E3-BB80-81E28EE44E17}"/>
              </a:ext>
            </a:extLst>
          </p:cNvPr>
          <p:cNvSpPr>
            <a:spLocks noGrp="1"/>
          </p:cNvSpPr>
          <p:nvPr>
            <p:ph type="sldNum" sz="quarter" idx="18"/>
          </p:nvPr>
        </p:nvSpPr>
        <p:spPr bwMode="gray"/>
        <p:txBody>
          <a:bodyPr/>
          <a:lstStyle/>
          <a:p>
            <a:pPr>
              <a:defRPr/>
            </a:pPr>
            <a:fld id="{66C8B3C2-955F-42B1-8DED-EE47D723596C}" type="slidenum">
              <a:rPr lang="en-US" noProof="0" smtClean="0"/>
              <a:pPr>
                <a:defRPr/>
              </a:pPr>
              <a:t>‹#›</a:t>
            </a:fld>
            <a:endParaRPr lang="en-US" noProof="0"/>
          </a:p>
        </p:txBody>
      </p:sp>
      <p:sp>
        <p:nvSpPr>
          <p:cNvPr id="66" name="Picture Placeholder 4">
            <a:extLst>
              <a:ext uri="{FF2B5EF4-FFF2-40B4-BE49-F238E27FC236}">
                <a16:creationId xmlns:a16="http://schemas.microsoft.com/office/drawing/2014/main" id="{D63D4149-57CC-40E3-9AF5-D3C951581FEE}"/>
              </a:ext>
            </a:extLst>
          </p:cNvPr>
          <p:cNvSpPr>
            <a:spLocks noGrp="1"/>
          </p:cNvSpPr>
          <p:nvPr>
            <p:ph type="pic" sz="quarter" idx="20" hasCustomPrompt="1"/>
          </p:nvPr>
        </p:nvSpPr>
        <p:spPr bwMode="gray">
          <a:xfrm>
            <a:off x="3809607" y="1428302"/>
            <a:ext cx="476332" cy="476233"/>
          </a:xfrm>
        </p:spPr>
        <p:txBody>
          <a:bodyPr anchor="ctr"/>
          <a:lstStyle>
            <a:lvl1pPr algn="ctr">
              <a:defRPr sz="1058"/>
            </a:lvl1pPr>
          </a:lstStyle>
          <a:p>
            <a:r>
              <a:rPr lang="en-US"/>
              <a:t>Icon</a:t>
            </a:r>
          </a:p>
        </p:txBody>
      </p:sp>
      <p:sp>
        <p:nvSpPr>
          <p:cNvPr id="67" name="Picture Placeholder 4">
            <a:extLst>
              <a:ext uri="{FF2B5EF4-FFF2-40B4-BE49-F238E27FC236}">
                <a16:creationId xmlns:a16="http://schemas.microsoft.com/office/drawing/2014/main" id="{3B15767F-EF66-47BE-BCCD-22BC083AD75F}"/>
              </a:ext>
            </a:extLst>
          </p:cNvPr>
          <p:cNvSpPr>
            <a:spLocks noGrp="1"/>
          </p:cNvSpPr>
          <p:nvPr>
            <p:ph type="pic" sz="quarter" idx="21" hasCustomPrompt="1"/>
          </p:nvPr>
        </p:nvSpPr>
        <p:spPr bwMode="gray">
          <a:xfrm>
            <a:off x="7239197" y="1428302"/>
            <a:ext cx="476332" cy="476233"/>
          </a:xfrm>
        </p:spPr>
        <p:txBody>
          <a:bodyPr anchor="ctr"/>
          <a:lstStyle>
            <a:lvl1pPr algn="ctr">
              <a:defRPr sz="1058"/>
            </a:lvl1pPr>
          </a:lstStyle>
          <a:p>
            <a:r>
              <a:rPr lang="en-US"/>
              <a:t>Icon</a:t>
            </a:r>
          </a:p>
        </p:txBody>
      </p:sp>
    </p:spTree>
    <p:extLst>
      <p:ext uri="{BB962C8B-B14F-4D97-AF65-F5344CB8AC3E}">
        <p14:creationId xmlns:p14="http://schemas.microsoft.com/office/powerpoint/2010/main" val="4031789666"/>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sp>
        <p:nvSpPr>
          <p:cNvPr id="17" name="text" descr="{&quot;templafy&quot;:{&quot;binding&quot;:&quot;Form.Footer&quot;,&quot;type&quot;:&quot;text&quot;}}" title="Form.Footer">
            <a:extLst>
              <a:ext uri="{FF2B5EF4-FFF2-40B4-BE49-F238E27FC236}">
                <a16:creationId xmlns:a16="http://schemas.microsoft.com/office/drawing/2014/main" id="{237D5101-8E8B-48EB-91FB-94CCAFB149FA}"/>
              </a:ext>
            </a:extLst>
          </p:cNvPr>
          <p:cNvSpPr/>
          <p:nvPr userDrawn="1"/>
        </p:nvSpPr>
        <p:spPr bwMode="gray">
          <a:xfrm>
            <a:off x="5337174" y="6583484"/>
            <a:ext cx="5332559"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18" name="date" descr="{&quot;templafy&quot;:{&quot;binding&quot;:&quot;Form.Date&quot;,&quot;format&quot;:&quot;{{DateFormats.PowerPoint}}&quot;,&quot;type&quot;:&quot;date&quot;}}" title="Form.Date">
            <a:extLst>
              <a:ext uri="{FF2B5EF4-FFF2-40B4-BE49-F238E27FC236}">
                <a16:creationId xmlns:a16="http://schemas.microsoft.com/office/drawing/2014/main" id="{3A70EB2B-60E0-43D1-956A-9766A6EFE056}"/>
              </a:ext>
            </a:extLst>
          </p:cNvPr>
          <p:cNvSpPr/>
          <p:nvPr userDrawn="1"/>
        </p:nvSpPr>
        <p:spPr bwMode="gray">
          <a:xfrm>
            <a:off x="10669733" y="6583484"/>
            <a:ext cx="758826" cy="285629"/>
          </a:xfrm>
          <a:prstGeom prst="rect">
            <a:avLst/>
          </a:prstGeom>
          <a:no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lnSpc>
                <a:spcPct val="90000"/>
              </a:lnSpc>
              <a:spcAft>
                <a:spcPts val="794"/>
              </a:spcAft>
            </a:pPr>
            <a:endParaRPr lang="en-US" sz="661" b="0" cap="all" baseline="0">
              <a:solidFill>
                <a:schemeClr val="tx2"/>
              </a:solidFill>
              <a:cs typeface="AdihausDIN Cn" panose="020B0506020101010102" pitchFamily="34" charset="0"/>
            </a:endParaRPr>
          </a:p>
        </p:txBody>
      </p:sp>
      <p:sp>
        <p:nvSpPr>
          <p:cNvPr id="3" name="Title 2">
            <a:extLst>
              <a:ext uri="{FF2B5EF4-FFF2-40B4-BE49-F238E27FC236}">
                <a16:creationId xmlns:a16="http://schemas.microsoft.com/office/drawing/2014/main" id="{33427E25-488A-4F29-B13C-3D0DD2B81E92}"/>
              </a:ext>
            </a:extLst>
          </p:cNvPr>
          <p:cNvSpPr>
            <a:spLocks noGrp="1"/>
          </p:cNvSpPr>
          <p:nvPr>
            <p:ph type="title"/>
          </p:nvPr>
        </p:nvSpPr>
        <p:spPr bwMode="gray"/>
        <p:txBody>
          <a:bodyPr/>
          <a:lstStyle/>
          <a:p>
            <a:r>
              <a:rPr lang="en-US"/>
              <a:t>Click to edit Master title style</a:t>
            </a:r>
          </a:p>
        </p:txBody>
      </p:sp>
      <p:sp>
        <p:nvSpPr>
          <p:cNvPr id="2" name="Date Placeholder 1">
            <a:extLst>
              <a:ext uri="{FF2B5EF4-FFF2-40B4-BE49-F238E27FC236}">
                <a16:creationId xmlns:a16="http://schemas.microsoft.com/office/drawing/2014/main" id="{06440296-BB79-468E-84B6-28C39FA97B67}"/>
              </a:ext>
            </a:extLst>
          </p:cNvPr>
          <p:cNvSpPr>
            <a:spLocks noGrp="1"/>
          </p:cNvSpPr>
          <p:nvPr>
            <p:ph type="dt" sz="half" idx="23"/>
          </p:nvPr>
        </p:nvSpPr>
        <p:spPr bwMode="gray"/>
        <p:txBody>
          <a:bodyPr/>
          <a:lstStyle/>
          <a:p>
            <a:pPr>
              <a:defRPr/>
            </a:pPr>
            <a:fld id="{21AB3F08-42D6-4869-8C92-774E62BD722D}" type="datetime5">
              <a:rPr lang="en-US" noProof="0" smtClean="0"/>
              <a:t>6-Oct-21</a:t>
            </a:fld>
            <a:endParaRPr lang="en-US" noProof="0"/>
          </a:p>
        </p:txBody>
      </p:sp>
      <p:sp>
        <p:nvSpPr>
          <p:cNvPr id="8" name="Footer Placeholder 7">
            <a:extLst>
              <a:ext uri="{FF2B5EF4-FFF2-40B4-BE49-F238E27FC236}">
                <a16:creationId xmlns:a16="http://schemas.microsoft.com/office/drawing/2014/main" id="{3A53202D-B5B0-43EB-A123-88E73D8A8DA2}"/>
              </a:ext>
            </a:extLst>
          </p:cNvPr>
          <p:cNvSpPr>
            <a:spLocks noGrp="1"/>
          </p:cNvSpPr>
          <p:nvPr>
            <p:ph type="ftr" sz="quarter" idx="24"/>
          </p:nvPr>
        </p:nvSpPr>
        <p:spPr bwMode="gray"/>
        <p:txBody>
          <a:bodyPr/>
          <a:lstStyle/>
          <a:p>
            <a:pPr>
              <a:defRPr/>
            </a:pPr>
            <a:r>
              <a:rPr lang="en-US"/>
              <a:t>FOOTER / PRESENTATION NAME</a:t>
            </a:r>
          </a:p>
        </p:txBody>
      </p:sp>
      <p:sp>
        <p:nvSpPr>
          <p:cNvPr id="9" name="Slide Number Placeholder 8">
            <a:extLst>
              <a:ext uri="{FF2B5EF4-FFF2-40B4-BE49-F238E27FC236}">
                <a16:creationId xmlns:a16="http://schemas.microsoft.com/office/drawing/2014/main" id="{797E4858-62D0-45EB-B7E7-B8026D00B506}"/>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73" name="Picture Placeholder 4">
            <a:extLst>
              <a:ext uri="{FF2B5EF4-FFF2-40B4-BE49-F238E27FC236}">
                <a16:creationId xmlns:a16="http://schemas.microsoft.com/office/drawing/2014/main" id="{D92FEA9E-110D-4C4F-B12A-F276F492698B}"/>
              </a:ext>
            </a:extLst>
          </p:cNvPr>
          <p:cNvSpPr>
            <a:spLocks noGrp="1"/>
          </p:cNvSpPr>
          <p:nvPr>
            <p:ph type="pic" sz="quarter" idx="19" hasCustomPrompt="1"/>
          </p:nvPr>
        </p:nvSpPr>
        <p:spPr bwMode="gray">
          <a:xfrm>
            <a:off x="380147" y="1428433"/>
            <a:ext cx="476201" cy="476102"/>
          </a:xfrm>
        </p:spPr>
        <p:txBody>
          <a:bodyPr anchor="ctr"/>
          <a:lstStyle>
            <a:lvl1pPr algn="ctr">
              <a:defRPr sz="1058"/>
            </a:lvl1pPr>
          </a:lstStyle>
          <a:p>
            <a:r>
              <a:rPr lang="en-US"/>
              <a:t>Icon</a:t>
            </a:r>
          </a:p>
        </p:txBody>
      </p:sp>
      <p:sp>
        <p:nvSpPr>
          <p:cNvPr id="74" name="Picture Placeholder 4">
            <a:extLst>
              <a:ext uri="{FF2B5EF4-FFF2-40B4-BE49-F238E27FC236}">
                <a16:creationId xmlns:a16="http://schemas.microsoft.com/office/drawing/2014/main" id="{A036B799-83AB-49B4-9EE6-D758207FD99A}"/>
              </a:ext>
            </a:extLst>
          </p:cNvPr>
          <p:cNvSpPr>
            <a:spLocks noGrp="1"/>
          </p:cNvSpPr>
          <p:nvPr>
            <p:ph type="pic" sz="quarter" idx="20" hasCustomPrompt="1"/>
          </p:nvPr>
        </p:nvSpPr>
        <p:spPr bwMode="gray">
          <a:xfrm>
            <a:off x="3238008" y="1428302"/>
            <a:ext cx="476332" cy="476233"/>
          </a:xfrm>
        </p:spPr>
        <p:txBody>
          <a:bodyPr anchor="ctr"/>
          <a:lstStyle>
            <a:lvl1pPr algn="ctr">
              <a:defRPr sz="1058"/>
            </a:lvl1pPr>
          </a:lstStyle>
          <a:p>
            <a:r>
              <a:rPr lang="en-US"/>
              <a:t>Icon</a:t>
            </a:r>
          </a:p>
        </p:txBody>
      </p:sp>
      <p:sp>
        <p:nvSpPr>
          <p:cNvPr id="75" name="Picture Placeholder 4">
            <a:extLst>
              <a:ext uri="{FF2B5EF4-FFF2-40B4-BE49-F238E27FC236}">
                <a16:creationId xmlns:a16="http://schemas.microsoft.com/office/drawing/2014/main" id="{1686E482-9B5B-4201-99FF-F4101F99C2BA}"/>
              </a:ext>
            </a:extLst>
          </p:cNvPr>
          <p:cNvSpPr>
            <a:spLocks noGrp="1"/>
          </p:cNvSpPr>
          <p:nvPr>
            <p:ph type="pic" sz="quarter" idx="21" hasCustomPrompt="1"/>
          </p:nvPr>
        </p:nvSpPr>
        <p:spPr bwMode="gray">
          <a:xfrm>
            <a:off x="6096000" y="1428302"/>
            <a:ext cx="476332" cy="476233"/>
          </a:xfrm>
        </p:spPr>
        <p:txBody>
          <a:bodyPr anchor="ctr"/>
          <a:lstStyle>
            <a:lvl1pPr algn="ctr">
              <a:defRPr sz="1058"/>
            </a:lvl1pPr>
          </a:lstStyle>
          <a:p>
            <a:r>
              <a:rPr lang="en-US"/>
              <a:t>Icon</a:t>
            </a:r>
          </a:p>
        </p:txBody>
      </p:sp>
      <p:sp>
        <p:nvSpPr>
          <p:cNvPr id="76" name="Text Placeholder 39">
            <a:extLst>
              <a:ext uri="{FF2B5EF4-FFF2-40B4-BE49-F238E27FC236}">
                <a16:creationId xmlns:a16="http://schemas.microsoft.com/office/drawing/2014/main" id="{4ACAC2B5-8751-4EE6-8EA4-4B2FB146D059}"/>
              </a:ext>
            </a:extLst>
          </p:cNvPr>
          <p:cNvSpPr>
            <a:spLocks noGrp="1"/>
          </p:cNvSpPr>
          <p:nvPr>
            <p:ph type="body" sz="quarter" idx="13"/>
          </p:nvPr>
        </p:nvSpPr>
        <p:spPr bwMode="gray">
          <a:xfrm>
            <a:off x="380017"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7" name="Text Placeholder 39">
            <a:extLst>
              <a:ext uri="{FF2B5EF4-FFF2-40B4-BE49-F238E27FC236}">
                <a16:creationId xmlns:a16="http://schemas.microsoft.com/office/drawing/2014/main" id="{346AFB4A-0574-4246-B1D2-FFF300049F95}"/>
              </a:ext>
            </a:extLst>
          </p:cNvPr>
          <p:cNvSpPr>
            <a:spLocks noGrp="1"/>
          </p:cNvSpPr>
          <p:nvPr>
            <p:ph type="body" sz="quarter" idx="14"/>
          </p:nvPr>
        </p:nvSpPr>
        <p:spPr bwMode="gray">
          <a:xfrm>
            <a:off x="3238008"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Text Placeholder 39">
            <a:extLst>
              <a:ext uri="{FF2B5EF4-FFF2-40B4-BE49-F238E27FC236}">
                <a16:creationId xmlns:a16="http://schemas.microsoft.com/office/drawing/2014/main" id="{F51609D4-BF06-4DCF-B9B2-89BF1F81DB7B}"/>
              </a:ext>
            </a:extLst>
          </p:cNvPr>
          <p:cNvSpPr>
            <a:spLocks noGrp="1"/>
          </p:cNvSpPr>
          <p:nvPr>
            <p:ph type="body" sz="quarter" idx="15"/>
          </p:nvPr>
        </p:nvSpPr>
        <p:spPr bwMode="gray">
          <a:xfrm>
            <a:off x="6096000"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9" name="Text Placeholder 39">
            <a:extLst>
              <a:ext uri="{FF2B5EF4-FFF2-40B4-BE49-F238E27FC236}">
                <a16:creationId xmlns:a16="http://schemas.microsoft.com/office/drawing/2014/main" id="{09722502-4883-48C9-9FCD-CBC9D8225A77}"/>
              </a:ext>
            </a:extLst>
          </p:cNvPr>
          <p:cNvSpPr>
            <a:spLocks noGrp="1"/>
          </p:cNvSpPr>
          <p:nvPr>
            <p:ph type="body" sz="quarter" idx="26"/>
          </p:nvPr>
        </p:nvSpPr>
        <p:spPr bwMode="gray">
          <a:xfrm>
            <a:off x="8953992"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Picture Placeholder 4">
            <a:extLst>
              <a:ext uri="{FF2B5EF4-FFF2-40B4-BE49-F238E27FC236}">
                <a16:creationId xmlns:a16="http://schemas.microsoft.com/office/drawing/2014/main" id="{FFA0D21F-72A7-4DAD-AE5F-01D7A5006C0B}"/>
              </a:ext>
            </a:extLst>
          </p:cNvPr>
          <p:cNvSpPr>
            <a:spLocks noGrp="1"/>
          </p:cNvSpPr>
          <p:nvPr>
            <p:ph type="pic" sz="quarter" idx="27" hasCustomPrompt="1"/>
          </p:nvPr>
        </p:nvSpPr>
        <p:spPr bwMode="gray">
          <a:xfrm>
            <a:off x="8953992" y="1428302"/>
            <a:ext cx="476332" cy="476233"/>
          </a:xfrm>
        </p:spPr>
        <p:txBody>
          <a:bodyPr anchor="ctr"/>
          <a:lstStyle>
            <a:lvl1pPr algn="ctr">
              <a:defRPr sz="1058"/>
            </a:lvl1pPr>
          </a:lstStyle>
          <a:p>
            <a:r>
              <a:rPr lang="en-US"/>
              <a:t>Icon</a:t>
            </a:r>
          </a:p>
        </p:txBody>
      </p:sp>
    </p:spTree>
    <p:extLst>
      <p:ext uri="{BB962C8B-B14F-4D97-AF65-F5344CB8AC3E}">
        <p14:creationId xmlns:p14="http://schemas.microsoft.com/office/powerpoint/2010/main" val="1008059756"/>
      </p:ext>
    </p:extLst>
  </p:cSld>
  <p:clrMapOvr>
    <a:masterClrMapping/>
  </p:clrMapOvr>
  <p:transition>
    <p:fade/>
  </p:transition>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D37C4876-F1CB-49DA-8B69-1E8E832DDDE6}"/>
              </a:ext>
            </a:extLst>
          </p:cNvPr>
          <p:cNvSpPr>
            <a:spLocks noGrp="1"/>
          </p:cNvSpPr>
          <p:nvPr>
            <p:ph type="pic" sz="quarter" idx="14"/>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a:solidFill>
                  <a:schemeClr val="tx1"/>
                </a:solidFill>
              </a:defRPr>
            </a:lvl1pPr>
          </a:lstStyle>
          <a:p>
            <a:pPr lvl="0"/>
            <a:r>
              <a:rPr lang="en-GB" noProof="0"/>
              <a:t>Click icon to add picture</a:t>
            </a:r>
            <a:endParaRPr lang="en-US" noProof="0"/>
          </a:p>
        </p:txBody>
      </p:sp>
      <p:sp>
        <p:nvSpPr>
          <p:cNvPr id="7" name="Title 1">
            <a:extLst>
              <a:ext uri="{FF2B5EF4-FFF2-40B4-BE49-F238E27FC236}">
                <a16:creationId xmlns:a16="http://schemas.microsoft.com/office/drawing/2014/main" id="{7279423D-05BE-4471-BD21-CF8A186ADE76}"/>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tx1"/>
                </a:solidFill>
                <a:latin typeface="+mj-lt"/>
              </a:defRPr>
            </a:lvl1pPr>
            <a:lvl2pPr>
              <a:lnSpc>
                <a:spcPct val="75000"/>
              </a:lnSpc>
              <a:defRPr sz="6349" b="1" spc="26" baseline="0">
                <a:solidFill>
                  <a:schemeClr val="tx1"/>
                </a:solidFill>
                <a:latin typeface="+mj-lt"/>
              </a:defRPr>
            </a:lvl2pPr>
            <a:lvl3pPr>
              <a:lnSpc>
                <a:spcPct val="75000"/>
              </a:lnSpc>
              <a:defRPr sz="6349" b="1" spc="26" baseline="0">
                <a:solidFill>
                  <a:schemeClr val="tx1"/>
                </a:solidFill>
                <a:latin typeface="+mj-lt"/>
              </a:defRPr>
            </a:lvl3pPr>
            <a:lvl4pPr>
              <a:lnSpc>
                <a:spcPct val="75000"/>
              </a:lnSpc>
              <a:defRPr sz="6349" b="1" spc="26" baseline="0">
                <a:solidFill>
                  <a:schemeClr val="tx1"/>
                </a:solidFill>
                <a:latin typeface="+mj-lt"/>
              </a:defRPr>
            </a:lvl4pPr>
            <a:lvl5pPr>
              <a:lnSpc>
                <a:spcPct val="75000"/>
              </a:lnSpc>
              <a:defRPr sz="6349" b="1" spc="26" baseline="0">
                <a:solidFill>
                  <a:schemeClr val="tx1"/>
                </a:solidFill>
                <a:latin typeface="+mj-lt"/>
              </a:defRPr>
            </a:lvl5pPr>
            <a:lvl6pPr>
              <a:lnSpc>
                <a:spcPct val="75000"/>
              </a:lnSpc>
              <a:defRPr sz="6349" b="1" spc="26" baseline="0">
                <a:solidFill>
                  <a:schemeClr val="tx1"/>
                </a:solidFill>
                <a:latin typeface="+mj-lt"/>
              </a:defRPr>
            </a:lvl6pPr>
            <a:lvl7pPr>
              <a:lnSpc>
                <a:spcPct val="75000"/>
              </a:lnSpc>
              <a:defRPr sz="6349" b="1" spc="26" baseline="0">
                <a:solidFill>
                  <a:schemeClr val="tx1"/>
                </a:solidFill>
                <a:latin typeface="+mj-lt"/>
              </a:defRPr>
            </a:lvl7pPr>
            <a:lvl8pPr>
              <a:lnSpc>
                <a:spcPct val="75000"/>
              </a:lnSpc>
              <a:defRPr sz="6349" b="1" spc="26" baseline="0">
                <a:solidFill>
                  <a:schemeClr val="tx1"/>
                </a:solidFill>
                <a:latin typeface="+mj-lt"/>
              </a:defRPr>
            </a:lvl8pPr>
            <a:lvl9pPr algn="l">
              <a:lnSpc>
                <a:spcPct val="75000"/>
              </a:lnSpc>
              <a:defRPr sz="6349" b="1" spc="26" baseline="0">
                <a:solidFill>
                  <a:schemeClr val="tx1"/>
                </a:solidFill>
                <a:latin typeface="+mj-lt"/>
              </a:defRPr>
            </a:lvl9pPr>
          </a:lstStyle>
          <a:p>
            <a:pPr lvl="0"/>
            <a:r>
              <a:rPr lang="en-US" noProof="0"/>
              <a:t>Title of your presentation</a:t>
            </a:r>
            <a:endParaRPr lang="en-US"/>
          </a:p>
        </p:txBody>
      </p:sp>
      <p:sp>
        <p:nvSpPr>
          <p:cNvPr id="9" name="Subtitle 2">
            <a:extLst>
              <a:ext uri="{FF2B5EF4-FFF2-40B4-BE49-F238E27FC236}">
                <a16:creationId xmlns:a16="http://schemas.microsoft.com/office/drawing/2014/main" id="{CE607C86-A073-4B8A-9703-E7131EEB5579}"/>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tx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6pPr>
            <a:lvl7pPr marL="0" indent="0" algn="l">
              <a:lnSpc>
                <a:spcPct val="75000"/>
              </a:lnSpc>
              <a:spcBef>
                <a:spcPts val="0"/>
              </a:spcBef>
              <a:spcAft>
                <a:spcPts val="0"/>
              </a:spcAft>
              <a:buNone/>
              <a:defRPr sz="1852" b="0" cap="all" spc="26" baseline="0">
                <a:solidFill>
                  <a:schemeClr val="tx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8pPr>
            <a:lvl9pPr marL="0" indent="0" algn="l">
              <a:lnSpc>
                <a:spcPct val="75000"/>
              </a:lnSpc>
              <a:spcBef>
                <a:spcPts val="0"/>
              </a:spcBef>
              <a:spcAft>
                <a:spcPts val="0"/>
              </a:spcAft>
              <a:buNone/>
              <a:defRPr sz="1852" b="0" cap="all" spc="26" baseline="0">
                <a:solidFill>
                  <a:schemeClr val="tx1"/>
                </a:solidFill>
                <a:latin typeface="+mj-lt"/>
              </a:defRPr>
            </a:lvl9pPr>
          </a:lstStyle>
          <a:p>
            <a:pPr lvl="0"/>
            <a:r>
              <a:rPr lang="en-GB" noProof="0"/>
              <a:t>Click to edit Master subtitle style</a:t>
            </a:r>
            <a:endParaRPr lang="en-US" noProof="0"/>
          </a:p>
        </p:txBody>
      </p:sp>
      <p:sp>
        <p:nvSpPr>
          <p:cNvPr id="78" name="Text Placeholder 77">
            <a:extLst>
              <a:ext uri="{FF2B5EF4-FFF2-40B4-BE49-F238E27FC236}">
                <a16:creationId xmlns:a16="http://schemas.microsoft.com/office/drawing/2014/main" id="{1100DE97-1C17-4DE5-AF51-6F3963ECEC24}"/>
              </a:ext>
            </a:extLst>
          </p:cNvPr>
          <p:cNvSpPr>
            <a:spLocks noGrp="1"/>
          </p:cNvSpPr>
          <p:nvPr>
            <p:ph type="body" sz="quarter" idx="15" hasCustomPrompt="1"/>
          </p:nvPr>
        </p:nvSpPr>
        <p:spPr bwMode="gray">
          <a:xfrm>
            <a:off x="8953676" y="4936795"/>
            <a:ext cx="1714603" cy="398825"/>
          </a:xfrm>
          <a:custGeom>
            <a:avLst/>
            <a:gdLst>
              <a:gd name="connsiteX0" fmla="*/ 962020 w 1295999"/>
              <a:gd name="connsiteY0" fmla="*/ 123589 h 301519"/>
              <a:gd name="connsiteX1" fmla="*/ 899264 w 1295999"/>
              <a:gd name="connsiteY1" fmla="*/ 187067 h 301519"/>
              <a:gd name="connsiteX2" fmla="*/ 962020 w 1295999"/>
              <a:gd name="connsiteY2" fmla="*/ 250545 h 301519"/>
              <a:gd name="connsiteX3" fmla="*/ 1024776 w 1295999"/>
              <a:gd name="connsiteY3" fmla="*/ 187067 h 301519"/>
              <a:gd name="connsiteX4" fmla="*/ 962020 w 1295999"/>
              <a:gd name="connsiteY4" fmla="*/ 123589 h 301519"/>
              <a:gd name="connsiteX5" fmla="*/ 706668 w 1295999"/>
              <a:gd name="connsiteY5" fmla="*/ 123589 h 301519"/>
              <a:gd name="connsiteX6" fmla="*/ 644392 w 1295999"/>
              <a:gd name="connsiteY6" fmla="*/ 187067 h 301519"/>
              <a:gd name="connsiteX7" fmla="*/ 706668 w 1295999"/>
              <a:gd name="connsiteY7" fmla="*/ 250545 h 301519"/>
              <a:gd name="connsiteX8" fmla="*/ 768944 w 1295999"/>
              <a:gd name="connsiteY8" fmla="*/ 187067 h 301519"/>
              <a:gd name="connsiteX9" fmla="*/ 706668 w 1295999"/>
              <a:gd name="connsiteY9" fmla="*/ 123589 h 301519"/>
              <a:gd name="connsiteX10" fmla="*/ 370526 w 1295999"/>
              <a:gd name="connsiteY10" fmla="*/ 123589 h 301519"/>
              <a:gd name="connsiteX11" fmla="*/ 308250 w 1295999"/>
              <a:gd name="connsiteY11" fmla="*/ 187067 h 301519"/>
              <a:gd name="connsiteX12" fmla="*/ 370526 w 1295999"/>
              <a:gd name="connsiteY12" fmla="*/ 250545 h 301519"/>
              <a:gd name="connsiteX13" fmla="*/ 432802 w 1295999"/>
              <a:gd name="connsiteY13" fmla="*/ 187067 h 301519"/>
              <a:gd name="connsiteX14" fmla="*/ 370526 w 1295999"/>
              <a:gd name="connsiteY14" fmla="*/ 123589 h 301519"/>
              <a:gd name="connsiteX15" fmla="*/ 115172 w 1295999"/>
              <a:gd name="connsiteY15" fmla="*/ 123589 h 301519"/>
              <a:gd name="connsiteX16" fmla="*/ 52416 w 1295999"/>
              <a:gd name="connsiteY16" fmla="*/ 187067 h 301519"/>
              <a:gd name="connsiteX17" fmla="*/ 115172 w 1295999"/>
              <a:gd name="connsiteY17" fmla="*/ 250545 h 301519"/>
              <a:gd name="connsiteX18" fmla="*/ 177928 w 1295999"/>
              <a:gd name="connsiteY18" fmla="*/ 187067 h 301519"/>
              <a:gd name="connsiteX19" fmla="*/ 115172 w 1295999"/>
              <a:gd name="connsiteY19" fmla="*/ 123589 h 301519"/>
              <a:gd name="connsiteX20" fmla="*/ 514071 w 1295999"/>
              <a:gd name="connsiteY20" fmla="*/ 75019 h 301519"/>
              <a:gd name="connsiteX21" fmla="*/ 568893 w 1295999"/>
              <a:gd name="connsiteY21" fmla="*/ 75019 h 301519"/>
              <a:gd name="connsiteX22" fmla="*/ 568893 w 1295999"/>
              <a:gd name="connsiteY22" fmla="*/ 296710 h 301519"/>
              <a:gd name="connsiteX23" fmla="*/ 514071 w 1295999"/>
              <a:gd name="connsiteY23" fmla="*/ 296710 h 301519"/>
              <a:gd name="connsiteX24" fmla="*/ 1194227 w 1295999"/>
              <a:gd name="connsiteY24" fmla="*/ 72615 h 301519"/>
              <a:gd name="connsiteX25" fmla="*/ 1287995 w 1295999"/>
              <a:gd name="connsiteY25" fmla="*/ 145448 h 301519"/>
              <a:gd name="connsiteX26" fmla="*/ 1231963 w 1295999"/>
              <a:gd name="connsiteY26" fmla="*/ 145448 h 301519"/>
              <a:gd name="connsiteX27" fmla="*/ 1193083 w 1295999"/>
              <a:gd name="connsiteY27" fmla="*/ 114234 h 301519"/>
              <a:gd name="connsiteX28" fmla="*/ 1158778 w 1295999"/>
              <a:gd name="connsiteY28" fmla="*/ 136200 h 301519"/>
              <a:gd name="connsiteX29" fmla="*/ 1196514 w 1295999"/>
              <a:gd name="connsiteY29" fmla="*/ 158165 h 301519"/>
              <a:gd name="connsiteX30" fmla="*/ 1231963 w 1295999"/>
              <a:gd name="connsiteY30" fmla="*/ 165102 h 301519"/>
              <a:gd name="connsiteX31" fmla="*/ 1295999 w 1295999"/>
              <a:gd name="connsiteY31" fmla="*/ 228686 h 301519"/>
              <a:gd name="connsiteX32" fmla="*/ 1201088 w 1295999"/>
              <a:gd name="connsiteY32" fmla="*/ 301519 h 301519"/>
              <a:gd name="connsiteX33" fmla="*/ 1099315 w 1295999"/>
              <a:gd name="connsiteY33" fmla="*/ 225218 h 301519"/>
              <a:gd name="connsiteX34" fmla="*/ 1154204 w 1295999"/>
              <a:gd name="connsiteY34" fmla="*/ 225218 h 301519"/>
              <a:gd name="connsiteX35" fmla="*/ 1202231 w 1295999"/>
              <a:gd name="connsiteY35" fmla="*/ 259900 h 301519"/>
              <a:gd name="connsiteX36" fmla="*/ 1237680 w 1295999"/>
              <a:gd name="connsiteY36" fmla="*/ 237935 h 301519"/>
              <a:gd name="connsiteX37" fmla="*/ 1207949 w 1295999"/>
              <a:gd name="connsiteY37" fmla="*/ 215969 h 301519"/>
              <a:gd name="connsiteX38" fmla="*/ 1179361 w 1295999"/>
              <a:gd name="connsiteY38" fmla="*/ 210189 h 301519"/>
              <a:gd name="connsiteX39" fmla="*/ 1103889 w 1295999"/>
              <a:gd name="connsiteY39" fmla="*/ 145448 h 301519"/>
              <a:gd name="connsiteX40" fmla="*/ 1194227 w 1295999"/>
              <a:gd name="connsiteY40" fmla="*/ 72615 h 301519"/>
              <a:gd name="connsiteX41" fmla="*/ 959735 w 1295999"/>
              <a:gd name="connsiteY41" fmla="*/ 72615 h 301519"/>
              <a:gd name="connsiteX42" fmla="*/ 1023759 w 1295999"/>
              <a:gd name="connsiteY42" fmla="*/ 93425 h 301519"/>
              <a:gd name="connsiteX43" fmla="*/ 1023759 w 1295999"/>
              <a:gd name="connsiteY43" fmla="*/ 74927 h 301519"/>
              <a:gd name="connsiteX44" fmla="*/ 1078637 w 1295999"/>
              <a:gd name="connsiteY44" fmla="*/ 74927 h 301519"/>
              <a:gd name="connsiteX45" fmla="*/ 1078637 w 1295999"/>
              <a:gd name="connsiteY45" fmla="*/ 296895 h 301519"/>
              <a:gd name="connsiteX46" fmla="*/ 1023759 w 1295999"/>
              <a:gd name="connsiteY46" fmla="*/ 296895 h 301519"/>
              <a:gd name="connsiteX47" fmla="*/ 1023759 w 1295999"/>
              <a:gd name="connsiteY47" fmla="*/ 281866 h 301519"/>
              <a:gd name="connsiteX48" fmla="*/ 959735 w 1295999"/>
              <a:gd name="connsiteY48" fmla="*/ 301519 h 301519"/>
              <a:gd name="connsiteX49" fmla="*/ 845405 w 1295999"/>
              <a:gd name="connsiteY49" fmla="*/ 187067 h 301519"/>
              <a:gd name="connsiteX50" fmla="*/ 959735 w 1295999"/>
              <a:gd name="connsiteY50" fmla="*/ 72615 h 301519"/>
              <a:gd name="connsiteX51" fmla="*/ 113040 w 1295999"/>
              <a:gd name="connsiteY51" fmla="*/ 72615 h 301519"/>
              <a:gd name="connsiteX52" fmla="*/ 178124 w 1295999"/>
              <a:gd name="connsiteY52" fmla="*/ 93425 h 301519"/>
              <a:gd name="connsiteX53" fmla="*/ 178124 w 1295999"/>
              <a:gd name="connsiteY53" fmla="*/ 74927 h 301519"/>
              <a:gd name="connsiteX54" fmla="*/ 231789 w 1295999"/>
              <a:gd name="connsiteY54" fmla="*/ 74927 h 301519"/>
              <a:gd name="connsiteX55" fmla="*/ 231789 w 1295999"/>
              <a:gd name="connsiteY55" fmla="*/ 296895 h 301519"/>
              <a:gd name="connsiteX56" fmla="*/ 178124 w 1295999"/>
              <a:gd name="connsiteY56" fmla="*/ 296895 h 301519"/>
              <a:gd name="connsiteX57" fmla="*/ 178124 w 1295999"/>
              <a:gd name="connsiteY57" fmla="*/ 281866 h 301519"/>
              <a:gd name="connsiteX58" fmla="*/ 113040 w 1295999"/>
              <a:gd name="connsiteY58" fmla="*/ 301519 h 301519"/>
              <a:gd name="connsiteX59" fmla="*/ 0 w 1295999"/>
              <a:gd name="connsiteY59" fmla="*/ 187067 h 301519"/>
              <a:gd name="connsiteX60" fmla="*/ 113040 w 1295999"/>
              <a:gd name="connsiteY60" fmla="*/ 72615 h 301519"/>
              <a:gd name="connsiteX61" fmla="*/ 768887 w 1295999"/>
              <a:gd name="connsiteY61" fmla="*/ 0 h 301519"/>
              <a:gd name="connsiteX62" fmla="*/ 823765 w 1295999"/>
              <a:gd name="connsiteY62" fmla="*/ 0 h 301519"/>
              <a:gd name="connsiteX63" fmla="*/ 823765 w 1295999"/>
              <a:gd name="connsiteY63" fmla="*/ 296898 h 301519"/>
              <a:gd name="connsiteX64" fmla="*/ 768887 w 1295999"/>
              <a:gd name="connsiteY64" fmla="*/ 296898 h 301519"/>
              <a:gd name="connsiteX65" fmla="*/ 768887 w 1295999"/>
              <a:gd name="connsiteY65" fmla="*/ 281880 h 301519"/>
              <a:gd name="connsiteX66" fmla="*/ 703719 w 1295999"/>
              <a:gd name="connsiteY66" fmla="*/ 301519 h 301519"/>
              <a:gd name="connsiteX67" fmla="*/ 590533 w 1295999"/>
              <a:gd name="connsiteY67" fmla="*/ 187150 h 301519"/>
              <a:gd name="connsiteX68" fmla="*/ 703719 w 1295999"/>
              <a:gd name="connsiteY68" fmla="*/ 72781 h 301519"/>
              <a:gd name="connsiteX69" fmla="*/ 768887 w 1295999"/>
              <a:gd name="connsiteY69" fmla="*/ 93575 h 301519"/>
              <a:gd name="connsiteX70" fmla="*/ 768887 w 1295999"/>
              <a:gd name="connsiteY70" fmla="*/ 0 h 301519"/>
              <a:gd name="connsiteX71" fmla="*/ 514071 w 1295999"/>
              <a:gd name="connsiteY71" fmla="*/ 0 h 301519"/>
              <a:gd name="connsiteX72" fmla="*/ 568893 w 1295999"/>
              <a:gd name="connsiteY72" fmla="*/ 0 h 301519"/>
              <a:gd name="connsiteX73" fmla="*/ 568893 w 1295999"/>
              <a:gd name="connsiteY73" fmla="*/ 55303 h 301519"/>
              <a:gd name="connsiteX74" fmla="*/ 514071 w 1295999"/>
              <a:gd name="connsiteY74" fmla="*/ 55303 h 301519"/>
              <a:gd name="connsiteX75" fmla="*/ 432857 w 1295999"/>
              <a:gd name="connsiteY75" fmla="*/ 0 h 301519"/>
              <a:gd name="connsiteX76" fmla="*/ 487622 w 1295999"/>
              <a:gd name="connsiteY76" fmla="*/ 0 h 301519"/>
              <a:gd name="connsiteX77" fmla="*/ 487622 w 1295999"/>
              <a:gd name="connsiteY77" fmla="*/ 296898 h 301519"/>
              <a:gd name="connsiteX78" fmla="*/ 432857 w 1295999"/>
              <a:gd name="connsiteY78" fmla="*/ 296898 h 301519"/>
              <a:gd name="connsiteX79" fmla="*/ 432857 w 1295999"/>
              <a:gd name="connsiteY79" fmla="*/ 281880 h 301519"/>
              <a:gd name="connsiteX80" fmla="*/ 367824 w 1295999"/>
              <a:gd name="connsiteY80" fmla="*/ 301519 h 301519"/>
              <a:gd name="connsiteX81" fmla="*/ 254871 w 1295999"/>
              <a:gd name="connsiteY81" fmla="*/ 187150 h 301519"/>
              <a:gd name="connsiteX82" fmla="*/ 367824 w 1295999"/>
              <a:gd name="connsiteY82" fmla="*/ 72781 h 301519"/>
              <a:gd name="connsiteX83" fmla="*/ 432857 w 1295999"/>
              <a:gd name="connsiteY83" fmla="*/ 93575 h 301519"/>
              <a:gd name="connsiteX84" fmla="*/ 432857 w 1295999"/>
              <a:gd name="connsiteY84" fmla="*/ 0 h 30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95999" h="301519">
                <a:moveTo>
                  <a:pt x="962020" y="123589"/>
                </a:moveTo>
                <a:cubicBezTo>
                  <a:pt x="927361" y="123589"/>
                  <a:pt x="899264" y="152009"/>
                  <a:pt x="899264" y="187067"/>
                </a:cubicBezTo>
                <a:cubicBezTo>
                  <a:pt x="899264" y="222125"/>
                  <a:pt x="927361" y="250545"/>
                  <a:pt x="962020" y="250545"/>
                </a:cubicBezTo>
                <a:cubicBezTo>
                  <a:pt x="996679" y="250545"/>
                  <a:pt x="1024776" y="222125"/>
                  <a:pt x="1024776" y="187067"/>
                </a:cubicBezTo>
                <a:cubicBezTo>
                  <a:pt x="1024776" y="152009"/>
                  <a:pt x="996679" y="123589"/>
                  <a:pt x="962020" y="123589"/>
                </a:cubicBezTo>
                <a:close/>
                <a:moveTo>
                  <a:pt x="706668" y="123589"/>
                </a:moveTo>
                <a:cubicBezTo>
                  <a:pt x="672274" y="123589"/>
                  <a:pt x="644392" y="152009"/>
                  <a:pt x="644392" y="187067"/>
                </a:cubicBezTo>
                <a:cubicBezTo>
                  <a:pt x="644392" y="222125"/>
                  <a:pt x="672274" y="250545"/>
                  <a:pt x="706668" y="250545"/>
                </a:cubicBezTo>
                <a:cubicBezTo>
                  <a:pt x="741062" y="250545"/>
                  <a:pt x="768944" y="222125"/>
                  <a:pt x="768944" y="187067"/>
                </a:cubicBezTo>
                <a:cubicBezTo>
                  <a:pt x="768944" y="152009"/>
                  <a:pt x="741062" y="123589"/>
                  <a:pt x="706668" y="123589"/>
                </a:cubicBezTo>
                <a:close/>
                <a:moveTo>
                  <a:pt x="370526" y="123589"/>
                </a:moveTo>
                <a:cubicBezTo>
                  <a:pt x="336132" y="123589"/>
                  <a:pt x="308250" y="152009"/>
                  <a:pt x="308250" y="187067"/>
                </a:cubicBezTo>
                <a:cubicBezTo>
                  <a:pt x="308250" y="222125"/>
                  <a:pt x="336132" y="250545"/>
                  <a:pt x="370526" y="250545"/>
                </a:cubicBezTo>
                <a:cubicBezTo>
                  <a:pt x="404920" y="250545"/>
                  <a:pt x="432802" y="222125"/>
                  <a:pt x="432802" y="187067"/>
                </a:cubicBezTo>
                <a:cubicBezTo>
                  <a:pt x="432802" y="152009"/>
                  <a:pt x="404920" y="123589"/>
                  <a:pt x="370526" y="123589"/>
                </a:cubicBezTo>
                <a:close/>
                <a:moveTo>
                  <a:pt x="115172" y="123589"/>
                </a:moveTo>
                <a:cubicBezTo>
                  <a:pt x="80513" y="123589"/>
                  <a:pt x="52416" y="152009"/>
                  <a:pt x="52416" y="187067"/>
                </a:cubicBezTo>
                <a:cubicBezTo>
                  <a:pt x="52416" y="222125"/>
                  <a:pt x="80513" y="250545"/>
                  <a:pt x="115172" y="250545"/>
                </a:cubicBezTo>
                <a:cubicBezTo>
                  <a:pt x="149831" y="250545"/>
                  <a:pt x="177928" y="222125"/>
                  <a:pt x="177928" y="187067"/>
                </a:cubicBezTo>
                <a:cubicBezTo>
                  <a:pt x="177928" y="152009"/>
                  <a:pt x="149831" y="123589"/>
                  <a:pt x="115172" y="123589"/>
                </a:cubicBezTo>
                <a:close/>
                <a:moveTo>
                  <a:pt x="514071" y="75019"/>
                </a:moveTo>
                <a:lnTo>
                  <a:pt x="568893" y="75019"/>
                </a:lnTo>
                <a:lnTo>
                  <a:pt x="568893" y="296710"/>
                </a:lnTo>
                <a:lnTo>
                  <a:pt x="514071" y="296710"/>
                </a:lnTo>
                <a:close/>
                <a:moveTo>
                  <a:pt x="1194227" y="72615"/>
                </a:moveTo>
                <a:cubicBezTo>
                  <a:pt x="1250259" y="72615"/>
                  <a:pt x="1284564" y="101517"/>
                  <a:pt x="1287995" y="145448"/>
                </a:cubicBezTo>
                <a:cubicBezTo>
                  <a:pt x="1287995" y="145448"/>
                  <a:pt x="1287995" y="145448"/>
                  <a:pt x="1231963" y="145448"/>
                </a:cubicBezTo>
                <a:cubicBezTo>
                  <a:pt x="1231963" y="128107"/>
                  <a:pt x="1220527" y="114234"/>
                  <a:pt x="1193083" y="114234"/>
                </a:cubicBezTo>
                <a:cubicBezTo>
                  <a:pt x="1173644" y="114234"/>
                  <a:pt x="1158778" y="121171"/>
                  <a:pt x="1158778" y="136200"/>
                </a:cubicBezTo>
                <a:cubicBezTo>
                  <a:pt x="1158778" y="148916"/>
                  <a:pt x="1174787" y="153541"/>
                  <a:pt x="1196514" y="158165"/>
                </a:cubicBezTo>
                <a:cubicBezTo>
                  <a:pt x="1196514" y="158165"/>
                  <a:pt x="1196514" y="158165"/>
                  <a:pt x="1231963" y="165102"/>
                </a:cubicBezTo>
                <a:cubicBezTo>
                  <a:pt x="1276560" y="173194"/>
                  <a:pt x="1295999" y="194004"/>
                  <a:pt x="1295999" y="228686"/>
                </a:cubicBezTo>
                <a:cubicBezTo>
                  <a:pt x="1295999" y="278398"/>
                  <a:pt x="1253689" y="301519"/>
                  <a:pt x="1201088" y="301519"/>
                </a:cubicBezTo>
                <a:cubicBezTo>
                  <a:pt x="1138195" y="301519"/>
                  <a:pt x="1100459" y="270305"/>
                  <a:pt x="1099315" y="225218"/>
                </a:cubicBezTo>
                <a:cubicBezTo>
                  <a:pt x="1099315" y="225218"/>
                  <a:pt x="1099315" y="225218"/>
                  <a:pt x="1154204" y="225218"/>
                </a:cubicBezTo>
                <a:cubicBezTo>
                  <a:pt x="1155347" y="241403"/>
                  <a:pt x="1166782" y="259900"/>
                  <a:pt x="1202231" y="259900"/>
                </a:cubicBezTo>
                <a:cubicBezTo>
                  <a:pt x="1227389" y="259900"/>
                  <a:pt x="1237680" y="248339"/>
                  <a:pt x="1237680" y="237935"/>
                </a:cubicBezTo>
                <a:cubicBezTo>
                  <a:pt x="1237680" y="226374"/>
                  <a:pt x="1228532" y="219437"/>
                  <a:pt x="1207949" y="215969"/>
                </a:cubicBezTo>
                <a:cubicBezTo>
                  <a:pt x="1207949" y="215969"/>
                  <a:pt x="1207949" y="215969"/>
                  <a:pt x="1179361" y="210189"/>
                </a:cubicBezTo>
                <a:cubicBezTo>
                  <a:pt x="1143912" y="204408"/>
                  <a:pt x="1103889" y="196316"/>
                  <a:pt x="1103889" y="145448"/>
                </a:cubicBezTo>
                <a:cubicBezTo>
                  <a:pt x="1103889" y="103829"/>
                  <a:pt x="1137051" y="72615"/>
                  <a:pt x="1194227" y="72615"/>
                </a:cubicBezTo>
                <a:close/>
                <a:moveTo>
                  <a:pt x="959735" y="72615"/>
                </a:moveTo>
                <a:cubicBezTo>
                  <a:pt x="983744" y="72615"/>
                  <a:pt x="1005466" y="79552"/>
                  <a:pt x="1023759" y="93425"/>
                </a:cubicBezTo>
                <a:cubicBezTo>
                  <a:pt x="1023759" y="93425"/>
                  <a:pt x="1023759" y="93425"/>
                  <a:pt x="1023759" y="74927"/>
                </a:cubicBezTo>
                <a:cubicBezTo>
                  <a:pt x="1023759" y="74927"/>
                  <a:pt x="1023759" y="74927"/>
                  <a:pt x="1078637" y="74927"/>
                </a:cubicBezTo>
                <a:cubicBezTo>
                  <a:pt x="1078637" y="74927"/>
                  <a:pt x="1078637" y="74927"/>
                  <a:pt x="1078637" y="296895"/>
                </a:cubicBezTo>
                <a:cubicBezTo>
                  <a:pt x="1078637" y="296895"/>
                  <a:pt x="1078637" y="296895"/>
                  <a:pt x="1023759" y="296895"/>
                </a:cubicBezTo>
                <a:cubicBezTo>
                  <a:pt x="1023759" y="296895"/>
                  <a:pt x="1023759" y="296895"/>
                  <a:pt x="1023759" y="281866"/>
                </a:cubicBezTo>
                <a:cubicBezTo>
                  <a:pt x="1005466" y="294583"/>
                  <a:pt x="983744" y="301519"/>
                  <a:pt x="959735" y="301519"/>
                </a:cubicBezTo>
                <a:cubicBezTo>
                  <a:pt x="896853" y="301519"/>
                  <a:pt x="845405" y="250652"/>
                  <a:pt x="845405" y="187067"/>
                </a:cubicBezTo>
                <a:cubicBezTo>
                  <a:pt x="845405" y="123483"/>
                  <a:pt x="896853" y="72615"/>
                  <a:pt x="959735" y="72615"/>
                </a:cubicBezTo>
                <a:close/>
                <a:moveTo>
                  <a:pt x="113040" y="72615"/>
                </a:moveTo>
                <a:cubicBezTo>
                  <a:pt x="137018" y="72615"/>
                  <a:pt x="159855" y="79552"/>
                  <a:pt x="178124" y="93425"/>
                </a:cubicBezTo>
                <a:cubicBezTo>
                  <a:pt x="178124" y="93425"/>
                  <a:pt x="178124" y="93425"/>
                  <a:pt x="178124" y="74927"/>
                </a:cubicBezTo>
                <a:cubicBezTo>
                  <a:pt x="178124" y="74927"/>
                  <a:pt x="178124" y="74927"/>
                  <a:pt x="231789" y="74927"/>
                </a:cubicBezTo>
                <a:cubicBezTo>
                  <a:pt x="231789" y="74927"/>
                  <a:pt x="231789" y="74927"/>
                  <a:pt x="231789" y="296895"/>
                </a:cubicBezTo>
                <a:cubicBezTo>
                  <a:pt x="231789" y="296895"/>
                  <a:pt x="231789" y="296895"/>
                  <a:pt x="178124" y="296895"/>
                </a:cubicBezTo>
                <a:cubicBezTo>
                  <a:pt x="178124" y="296895"/>
                  <a:pt x="178124" y="296895"/>
                  <a:pt x="178124" y="281866"/>
                </a:cubicBezTo>
                <a:cubicBezTo>
                  <a:pt x="159855" y="294583"/>
                  <a:pt x="137018" y="301519"/>
                  <a:pt x="113040" y="301519"/>
                </a:cubicBezTo>
                <a:cubicBezTo>
                  <a:pt x="50240" y="301519"/>
                  <a:pt x="0" y="250652"/>
                  <a:pt x="0" y="187067"/>
                </a:cubicBezTo>
                <a:cubicBezTo>
                  <a:pt x="0" y="123483"/>
                  <a:pt x="50240" y="72615"/>
                  <a:pt x="113040" y="72615"/>
                </a:cubicBezTo>
                <a:close/>
                <a:moveTo>
                  <a:pt x="768887" y="0"/>
                </a:moveTo>
                <a:cubicBezTo>
                  <a:pt x="768887" y="0"/>
                  <a:pt x="768887" y="0"/>
                  <a:pt x="823765" y="0"/>
                </a:cubicBezTo>
                <a:cubicBezTo>
                  <a:pt x="823765" y="0"/>
                  <a:pt x="823765" y="0"/>
                  <a:pt x="823765" y="296898"/>
                </a:cubicBezTo>
                <a:cubicBezTo>
                  <a:pt x="823765" y="296898"/>
                  <a:pt x="823765" y="296898"/>
                  <a:pt x="768887" y="296898"/>
                </a:cubicBezTo>
                <a:cubicBezTo>
                  <a:pt x="768887" y="296898"/>
                  <a:pt x="768887" y="296898"/>
                  <a:pt x="768887" y="281880"/>
                </a:cubicBezTo>
                <a:cubicBezTo>
                  <a:pt x="750594" y="294588"/>
                  <a:pt x="727729" y="301519"/>
                  <a:pt x="703719" y="301519"/>
                </a:cubicBezTo>
                <a:cubicBezTo>
                  <a:pt x="641981" y="301519"/>
                  <a:pt x="590533" y="250688"/>
                  <a:pt x="590533" y="187150"/>
                </a:cubicBezTo>
                <a:cubicBezTo>
                  <a:pt x="590533" y="123611"/>
                  <a:pt x="641981" y="72781"/>
                  <a:pt x="703719" y="72781"/>
                </a:cubicBezTo>
                <a:cubicBezTo>
                  <a:pt x="727729" y="72781"/>
                  <a:pt x="750594" y="79712"/>
                  <a:pt x="768887" y="93575"/>
                </a:cubicBezTo>
                <a:cubicBezTo>
                  <a:pt x="768887" y="93575"/>
                  <a:pt x="768887" y="93575"/>
                  <a:pt x="768887" y="0"/>
                </a:cubicBezTo>
                <a:close/>
                <a:moveTo>
                  <a:pt x="514071" y="0"/>
                </a:moveTo>
                <a:lnTo>
                  <a:pt x="568893" y="0"/>
                </a:lnTo>
                <a:lnTo>
                  <a:pt x="568893" y="55303"/>
                </a:lnTo>
                <a:lnTo>
                  <a:pt x="514071" y="55303"/>
                </a:lnTo>
                <a:close/>
                <a:moveTo>
                  <a:pt x="432857" y="0"/>
                </a:moveTo>
                <a:cubicBezTo>
                  <a:pt x="432857" y="0"/>
                  <a:pt x="432857" y="0"/>
                  <a:pt x="487622" y="0"/>
                </a:cubicBezTo>
                <a:cubicBezTo>
                  <a:pt x="487622" y="0"/>
                  <a:pt x="487622" y="0"/>
                  <a:pt x="487622" y="296898"/>
                </a:cubicBezTo>
                <a:cubicBezTo>
                  <a:pt x="487622" y="296898"/>
                  <a:pt x="487622" y="296898"/>
                  <a:pt x="432857" y="296898"/>
                </a:cubicBezTo>
                <a:cubicBezTo>
                  <a:pt x="432857" y="296898"/>
                  <a:pt x="432857" y="296898"/>
                  <a:pt x="432857" y="281880"/>
                </a:cubicBezTo>
                <a:cubicBezTo>
                  <a:pt x="414602" y="294588"/>
                  <a:pt x="391784" y="301519"/>
                  <a:pt x="367824" y="301519"/>
                </a:cubicBezTo>
                <a:cubicBezTo>
                  <a:pt x="305072" y="301519"/>
                  <a:pt x="254871" y="250688"/>
                  <a:pt x="254871" y="187150"/>
                </a:cubicBezTo>
                <a:cubicBezTo>
                  <a:pt x="254871" y="123611"/>
                  <a:pt x="305072" y="72781"/>
                  <a:pt x="367824" y="72781"/>
                </a:cubicBezTo>
                <a:cubicBezTo>
                  <a:pt x="391784" y="72781"/>
                  <a:pt x="414602" y="79712"/>
                  <a:pt x="432857" y="93575"/>
                </a:cubicBezTo>
                <a:cubicBezTo>
                  <a:pt x="432857" y="93575"/>
                  <a:pt x="432857" y="93575"/>
                  <a:pt x="432857" y="0"/>
                </a:cubicBezTo>
                <a:close/>
              </a:path>
            </a:pathLst>
          </a:custGeom>
          <a:solidFill>
            <a:schemeClr val="tx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Tree>
    <p:extLst>
      <p:ext uri="{BB962C8B-B14F-4D97-AF65-F5344CB8AC3E}">
        <p14:creationId xmlns:p14="http://schemas.microsoft.com/office/powerpoint/2010/main" val="2742882123"/>
      </p:ext>
    </p:extLst>
  </p:cSld>
  <p:clrMapOvr>
    <a:masterClrMapping/>
  </p:clrMapOvr>
  <p:transition>
    <p:fade/>
  </p:transition>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Badge of Sport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0" anchor="ctr" anchorCtr="0"/>
          <a:lstStyle>
            <a:lvl1pPr algn="ctr">
              <a:lnSpc>
                <a:spcPct val="100000"/>
              </a:lnSpc>
              <a:spcAft>
                <a:spcPts val="0"/>
              </a:spcAft>
              <a:defRPr sz="1058">
                <a:solidFill>
                  <a:schemeClr val="bg1"/>
                </a:solidFill>
              </a:defRPr>
            </a:lvl1pPr>
          </a:lstStyle>
          <a:p>
            <a:pPr lvl="0"/>
            <a:r>
              <a:rPr lang="en-GB" noProof="0"/>
              <a:t>Click icon to add picture</a:t>
            </a:r>
            <a:endParaRPr lang="en-US" noProof="0"/>
          </a:p>
        </p:txBody>
      </p:sp>
      <p:sp>
        <p:nvSpPr>
          <p:cNvPr id="11" name="Title 1">
            <a:extLst>
              <a:ext uri="{FF2B5EF4-FFF2-40B4-BE49-F238E27FC236}">
                <a16:creationId xmlns:a16="http://schemas.microsoft.com/office/drawing/2014/main" id="{BC5232D5-2341-4EA3-9A49-EFA4B2DA6426}"/>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latin typeface="+mj-lt"/>
              </a:defRPr>
            </a:lvl7pPr>
            <a:lvl8pPr>
              <a:lnSpc>
                <a:spcPct val="75000"/>
              </a:lnSpc>
              <a:defRPr sz="6349" b="1" spc="26" baseline="0">
                <a:solidFill>
                  <a:schemeClr val="bg1"/>
                </a:solidFill>
                <a:latin typeface="+mj-lt"/>
              </a:defRPr>
            </a:lvl8pPr>
            <a:lvl9pPr algn="l">
              <a:lnSpc>
                <a:spcPct val="75000"/>
              </a:lnSpc>
              <a:defRPr sz="6349" b="1" spc="26" baseline="0">
                <a:solidFill>
                  <a:schemeClr val="bg1"/>
                </a:solidFill>
                <a:latin typeface="+mj-lt"/>
              </a:defRPr>
            </a:lvl9pPr>
          </a:lstStyle>
          <a:p>
            <a:pPr lvl="0"/>
            <a:r>
              <a:rPr lang="en-US" noProof="0"/>
              <a:t>Title of your presentation</a:t>
            </a:r>
            <a:endParaRPr lang="en-US"/>
          </a:p>
        </p:txBody>
      </p:sp>
      <p:sp>
        <p:nvSpPr>
          <p:cNvPr id="12" name="Subtitle 2">
            <a:extLst>
              <a:ext uri="{FF2B5EF4-FFF2-40B4-BE49-F238E27FC236}">
                <a16:creationId xmlns:a16="http://schemas.microsoft.com/office/drawing/2014/main" id="{C1E0360F-7E9C-4772-A307-A0B67E3B4437}"/>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bg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6pPr>
            <a:lvl7pPr marL="0" indent="0" algn="l">
              <a:lnSpc>
                <a:spcPct val="75000"/>
              </a:lnSpc>
              <a:spcBef>
                <a:spcPts val="0"/>
              </a:spcBef>
              <a:spcAft>
                <a:spcPts val="0"/>
              </a:spcAft>
              <a:buNone/>
              <a:defRPr sz="1852" b="0" cap="all" spc="26" baseline="0">
                <a:solidFill>
                  <a:schemeClr val="bg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8pPr>
            <a:lvl9pPr marL="0" indent="0" algn="l">
              <a:lnSpc>
                <a:spcPct val="75000"/>
              </a:lnSpc>
              <a:spcBef>
                <a:spcPts val="0"/>
              </a:spcBef>
              <a:spcAft>
                <a:spcPts val="0"/>
              </a:spcAft>
              <a:buNone/>
              <a:defRPr sz="1852" b="0" cap="all" spc="26" baseline="0">
                <a:solidFill>
                  <a:schemeClr val="bg1"/>
                </a:solidFill>
                <a:latin typeface="+mj-lt"/>
              </a:defRPr>
            </a:lvl9pPr>
          </a:lstStyle>
          <a:p>
            <a:pPr lvl="0"/>
            <a:r>
              <a:rPr lang="en-GB" noProof="0"/>
              <a:t>Click to edit Master subtitle style</a:t>
            </a:r>
            <a:endParaRPr lang="en-US" noProof="0"/>
          </a:p>
        </p:txBody>
      </p:sp>
      <p:sp>
        <p:nvSpPr>
          <p:cNvPr id="28" name="Text Placeholder 27">
            <a:extLst>
              <a:ext uri="{FF2B5EF4-FFF2-40B4-BE49-F238E27FC236}">
                <a16:creationId xmlns:a16="http://schemas.microsoft.com/office/drawing/2014/main" id="{3263AB9C-3C65-442C-B186-7803FA958432}"/>
              </a:ext>
            </a:extLst>
          </p:cNvPr>
          <p:cNvSpPr>
            <a:spLocks noGrp="1" noChangeAspect="1"/>
          </p:cNvSpPr>
          <p:nvPr>
            <p:ph type="body" sz="quarter" idx="16" hasCustomPrompt="1"/>
          </p:nvPr>
        </p:nvSpPr>
        <p:spPr bwMode="gray">
          <a:xfrm>
            <a:off x="8954110" y="4181727"/>
            <a:ext cx="1714677" cy="1152199"/>
          </a:xfrm>
          <a:custGeom>
            <a:avLst/>
            <a:gdLst>
              <a:gd name="connsiteX0" fmla="*/ 962421 w 1296055"/>
              <a:gd name="connsiteY0" fmla="*/ 695176 h 871084"/>
              <a:gd name="connsiteX1" fmla="*/ 900261 w 1296055"/>
              <a:gd name="connsiteY1" fmla="*/ 757970 h 871084"/>
              <a:gd name="connsiteX2" fmla="*/ 962421 w 1296055"/>
              <a:gd name="connsiteY2" fmla="*/ 820764 h 871084"/>
              <a:gd name="connsiteX3" fmla="*/ 1024581 w 1296055"/>
              <a:gd name="connsiteY3" fmla="*/ 757970 h 871084"/>
              <a:gd name="connsiteX4" fmla="*/ 962421 w 1296055"/>
              <a:gd name="connsiteY4" fmla="*/ 695176 h 871084"/>
              <a:gd name="connsiteX5" fmla="*/ 707228 w 1296055"/>
              <a:gd name="connsiteY5" fmla="*/ 695176 h 871084"/>
              <a:gd name="connsiteX6" fmla="*/ 644856 w 1296055"/>
              <a:gd name="connsiteY6" fmla="*/ 757970 h 871084"/>
              <a:gd name="connsiteX7" fmla="*/ 707228 w 1296055"/>
              <a:gd name="connsiteY7" fmla="*/ 820764 h 871084"/>
              <a:gd name="connsiteX8" fmla="*/ 769600 w 1296055"/>
              <a:gd name="connsiteY8" fmla="*/ 757970 h 871084"/>
              <a:gd name="connsiteX9" fmla="*/ 707228 w 1296055"/>
              <a:gd name="connsiteY9" fmla="*/ 695176 h 871084"/>
              <a:gd name="connsiteX10" fmla="*/ 371056 w 1296055"/>
              <a:gd name="connsiteY10" fmla="*/ 695176 h 871084"/>
              <a:gd name="connsiteX11" fmla="*/ 308262 w 1296055"/>
              <a:gd name="connsiteY11" fmla="*/ 757970 h 871084"/>
              <a:gd name="connsiteX12" fmla="*/ 371056 w 1296055"/>
              <a:gd name="connsiteY12" fmla="*/ 820764 h 871084"/>
              <a:gd name="connsiteX13" fmla="*/ 433850 w 1296055"/>
              <a:gd name="connsiteY13" fmla="*/ 757970 h 871084"/>
              <a:gd name="connsiteX14" fmla="*/ 371056 w 1296055"/>
              <a:gd name="connsiteY14" fmla="*/ 695176 h 871084"/>
              <a:gd name="connsiteX15" fmla="*/ 116074 w 1296055"/>
              <a:gd name="connsiteY15" fmla="*/ 695176 h 871084"/>
              <a:gd name="connsiteX16" fmla="*/ 53280 w 1296055"/>
              <a:gd name="connsiteY16" fmla="*/ 757970 h 871084"/>
              <a:gd name="connsiteX17" fmla="*/ 116074 w 1296055"/>
              <a:gd name="connsiteY17" fmla="*/ 820764 h 871084"/>
              <a:gd name="connsiteX18" fmla="*/ 178868 w 1296055"/>
              <a:gd name="connsiteY18" fmla="*/ 757970 h 871084"/>
              <a:gd name="connsiteX19" fmla="*/ 116074 w 1296055"/>
              <a:gd name="connsiteY19" fmla="*/ 695176 h 871084"/>
              <a:gd name="connsiteX20" fmla="*/ 514616 w 1296055"/>
              <a:gd name="connsiteY20" fmla="*/ 646970 h 871084"/>
              <a:gd name="connsiteX21" fmla="*/ 568742 w 1296055"/>
              <a:gd name="connsiteY21" fmla="*/ 646970 h 871084"/>
              <a:gd name="connsiteX22" fmla="*/ 568742 w 1296055"/>
              <a:gd name="connsiteY22" fmla="*/ 867278 h 871084"/>
              <a:gd name="connsiteX23" fmla="*/ 514616 w 1296055"/>
              <a:gd name="connsiteY23" fmla="*/ 867278 h 871084"/>
              <a:gd name="connsiteX24" fmla="*/ 1195519 w 1296055"/>
              <a:gd name="connsiteY24" fmla="*/ 644856 h 871084"/>
              <a:gd name="connsiteX25" fmla="*/ 1288012 w 1296055"/>
              <a:gd name="connsiteY25" fmla="*/ 716244 h 871084"/>
              <a:gd name="connsiteX26" fmla="*/ 1232717 w 1296055"/>
              <a:gd name="connsiteY26" fmla="*/ 716244 h 871084"/>
              <a:gd name="connsiteX27" fmla="*/ 1193508 w 1296055"/>
              <a:gd name="connsiteY27" fmla="*/ 686080 h 871084"/>
              <a:gd name="connsiteX28" fmla="*/ 1159326 w 1296055"/>
              <a:gd name="connsiteY28" fmla="*/ 707195 h 871084"/>
              <a:gd name="connsiteX29" fmla="*/ 1197530 w 1296055"/>
              <a:gd name="connsiteY29" fmla="*/ 729315 h 871084"/>
              <a:gd name="connsiteX30" fmla="*/ 1232717 w 1296055"/>
              <a:gd name="connsiteY30" fmla="*/ 736353 h 871084"/>
              <a:gd name="connsiteX31" fmla="*/ 1296055 w 1296055"/>
              <a:gd name="connsiteY31" fmla="*/ 798691 h 871084"/>
              <a:gd name="connsiteX32" fmla="*/ 1202557 w 1296055"/>
              <a:gd name="connsiteY32" fmla="*/ 871084 h 871084"/>
              <a:gd name="connsiteX33" fmla="*/ 1099004 w 1296055"/>
              <a:gd name="connsiteY33" fmla="*/ 795675 h 871084"/>
              <a:gd name="connsiteX34" fmla="*/ 1155305 w 1296055"/>
              <a:gd name="connsiteY34" fmla="*/ 795675 h 871084"/>
              <a:gd name="connsiteX35" fmla="*/ 1203562 w 1296055"/>
              <a:gd name="connsiteY35" fmla="*/ 829860 h 871084"/>
              <a:gd name="connsiteX36" fmla="*/ 1237744 w 1296055"/>
              <a:gd name="connsiteY36" fmla="*/ 807740 h 871084"/>
              <a:gd name="connsiteX37" fmla="*/ 1208589 w 1296055"/>
              <a:gd name="connsiteY37" fmla="*/ 786626 h 871084"/>
              <a:gd name="connsiteX38" fmla="*/ 1179433 w 1296055"/>
              <a:gd name="connsiteY38" fmla="*/ 781598 h 871084"/>
              <a:gd name="connsiteX39" fmla="*/ 1104031 w 1296055"/>
              <a:gd name="connsiteY39" fmla="*/ 716244 h 871084"/>
              <a:gd name="connsiteX40" fmla="*/ 1195519 w 1296055"/>
              <a:gd name="connsiteY40" fmla="*/ 644856 h 871084"/>
              <a:gd name="connsiteX41" fmla="*/ 959538 w 1296055"/>
              <a:gd name="connsiteY41" fmla="*/ 644856 h 871084"/>
              <a:gd name="connsiteX42" fmla="*/ 1024861 w 1296055"/>
              <a:gd name="connsiteY42" fmla="*/ 664965 h 871084"/>
              <a:gd name="connsiteX43" fmla="*/ 1024861 w 1296055"/>
              <a:gd name="connsiteY43" fmla="*/ 646867 h 871084"/>
              <a:gd name="connsiteX44" fmla="*/ 1079129 w 1296055"/>
              <a:gd name="connsiteY44" fmla="*/ 646867 h 871084"/>
              <a:gd name="connsiteX45" fmla="*/ 1079129 w 1296055"/>
              <a:gd name="connsiteY45" fmla="*/ 867062 h 871084"/>
              <a:gd name="connsiteX46" fmla="*/ 1024861 w 1296055"/>
              <a:gd name="connsiteY46" fmla="*/ 867062 h 871084"/>
              <a:gd name="connsiteX47" fmla="*/ 1024861 w 1296055"/>
              <a:gd name="connsiteY47" fmla="*/ 850975 h 871084"/>
              <a:gd name="connsiteX48" fmla="*/ 959538 w 1296055"/>
              <a:gd name="connsiteY48" fmla="*/ 871084 h 871084"/>
              <a:gd name="connsiteX49" fmla="*/ 846981 w 1296055"/>
              <a:gd name="connsiteY49" fmla="*/ 757467 h 871084"/>
              <a:gd name="connsiteX50" fmla="*/ 959538 w 1296055"/>
              <a:gd name="connsiteY50" fmla="*/ 644856 h 871084"/>
              <a:gd name="connsiteX51" fmla="*/ 113561 w 1296055"/>
              <a:gd name="connsiteY51" fmla="*/ 644856 h 871084"/>
              <a:gd name="connsiteX52" fmla="*/ 177880 w 1296055"/>
              <a:gd name="connsiteY52" fmla="*/ 664965 h 871084"/>
              <a:gd name="connsiteX53" fmla="*/ 177880 w 1296055"/>
              <a:gd name="connsiteY53" fmla="*/ 646867 h 871084"/>
              <a:gd name="connsiteX54" fmla="*/ 232148 w 1296055"/>
              <a:gd name="connsiteY54" fmla="*/ 646867 h 871084"/>
              <a:gd name="connsiteX55" fmla="*/ 232148 w 1296055"/>
              <a:gd name="connsiteY55" fmla="*/ 867062 h 871084"/>
              <a:gd name="connsiteX56" fmla="*/ 177880 w 1296055"/>
              <a:gd name="connsiteY56" fmla="*/ 867062 h 871084"/>
              <a:gd name="connsiteX57" fmla="*/ 177880 w 1296055"/>
              <a:gd name="connsiteY57" fmla="*/ 850975 h 871084"/>
              <a:gd name="connsiteX58" fmla="*/ 113561 w 1296055"/>
              <a:gd name="connsiteY58" fmla="*/ 871084 h 871084"/>
              <a:gd name="connsiteX59" fmla="*/ 0 w 1296055"/>
              <a:gd name="connsiteY59" fmla="*/ 757467 h 871084"/>
              <a:gd name="connsiteX60" fmla="*/ 113561 w 1296055"/>
              <a:gd name="connsiteY60" fmla="*/ 644856 h 871084"/>
              <a:gd name="connsiteX61" fmla="*/ 332788 w 1296055"/>
              <a:gd name="connsiteY61" fmla="*/ 397484 h 871084"/>
              <a:gd name="connsiteX62" fmla="*/ 433005 w 1296055"/>
              <a:gd name="connsiteY62" fmla="*/ 572547 h 871084"/>
              <a:gd name="connsiteX63" fmla="*/ 433807 w 1296055"/>
              <a:gd name="connsiteY63" fmla="*/ 572547 h 871084"/>
              <a:gd name="connsiteX64" fmla="*/ 487130 w 1296055"/>
              <a:gd name="connsiteY64" fmla="*/ 572547 h 871084"/>
              <a:gd name="connsiteX65" fmla="*/ 487130 w 1296055"/>
              <a:gd name="connsiteY65" fmla="*/ 867063 h 871084"/>
              <a:gd name="connsiteX66" fmla="*/ 432961 w 1296055"/>
              <a:gd name="connsiteY66" fmla="*/ 867063 h 871084"/>
              <a:gd name="connsiteX67" fmla="*/ 432961 w 1296055"/>
              <a:gd name="connsiteY67" fmla="*/ 850981 h 871084"/>
              <a:gd name="connsiteX68" fmla="*/ 368760 w 1296055"/>
              <a:gd name="connsiteY68" fmla="*/ 871084 h 871084"/>
              <a:gd name="connsiteX69" fmla="*/ 255405 w 1296055"/>
              <a:gd name="connsiteY69" fmla="*/ 757499 h 871084"/>
              <a:gd name="connsiteX70" fmla="*/ 368760 w 1296055"/>
              <a:gd name="connsiteY70" fmla="*/ 644920 h 871084"/>
              <a:gd name="connsiteX71" fmla="*/ 432961 w 1296055"/>
              <a:gd name="connsiteY71" fmla="*/ 665023 h 871084"/>
              <a:gd name="connsiteX72" fmla="*/ 432961 w 1296055"/>
              <a:gd name="connsiteY72" fmla="*/ 572547 h 871084"/>
              <a:gd name="connsiteX73" fmla="*/ 178868 w 1296055"/>
              <a:gd name="connsiteY73" fmla="*/ 572547 h 871084"/>
              <a:gd name="connsiteX74" fmla="*/ 141657 w 1296055"/>
              <a:gd name="connsiteY74" fmla="*/ 507004 h 871084"/>
              <a:gd name="connsiteX75" fmla="*/ 555633 w 1296055"/>
              <a:gd name="connsiteY75" fmla="*/ 200856 h 871084"/>
              <a:gd name="connsiteX76" fmla="*/ 769599 w 1296055"/>
              <a:gd name="connsiteY76" fmla="*/ 572547 h 871084"/>
              <a:gd name="connsiteX77" fmla="*/ 770304 w 1296055"/>
              <a:gd name="connsiteY77" fmla="*/ 572547 h 871084"/>
              <a:gd name="connsiteX78" fmla="*/ 823724 w 1296055"/>
              <a:gd name="connsiteY78" fmla="*/ 572547 h 871084"/>
              <a:gd name="connsiteX79" fmla="*/ 823724 w 1296055"/>
              <a:gd name="connsiteY79" fmla="*/ 867063 h 871084"/>
              <a:gd name="connsiteX80" fmla="*/ 769456 w 1296055"/>
              <a:gd name="connsiteY80" fmla="*/ 867063 h 871084"/>
              <a:gd name="connsiteX81" fmla="*/ 769456 w 1296055"/>
              <a:gd name="connsiteY81" fmla="*/ 850981 h 871084"/>
              <a:gd name="connsiteX82" fmla="*/ 704133 w 1296055"/>
              <a:gd name="connsiteY82" fmla="*/ 871084 h 871084"/>
              <a:gd name="connsiteX83" fmla="*/ 591576 w 1296055"/>
              <a:gd name="connsiteY83" fmla="*/ 757499 h 871084"/>
              <a:gd name="connsiteX84" fmla="*/ 704133 w 1296055"/>
              <a:gd name="connsiteY84" fmla="*/ 644920 h 871084"/>
              <a:gd name="connsiteX85" fmla="*/ 769456 w 1296055"/>
              <a:gd name="connsiteY85" fmla="*/ 665023 h 871084"/>
              <a:gd name="connsiteX86" fmla="*/ 769456 w 1296055"/>
              <a:gd name="connsiteY86" fmla="*/ 572547 h 871084"/>
              <a:gd name="connsiteX87" fmla="*/ 568742 w 1296055"/>
              <a:gd name="connsiteY87" fmla="*/ 572547 h 871084"/>
              <a:gd name="connsiteX88" fmla="*/ 568742 w 1296055"/>
              <a:gd name="connsiteY88" fmla="*/ 626672 h 871084"/>
              <a:gd name="connsiteX89" fmla="*/ 514616 w 1296055"/>
              <a:gd name="connsiteY89" fmla="*/ 626672 h 871084"/>
              <a:gd name="connsiteX90" fmla="*/ 514616 w 1296055"/>
              <a:gd name="connsiteY90" fmla="*/ 572547 h 871084"/>
              <a:gd name="connsiteX91" fmla="*/ 364925 w 1296055"/>
              <a:gd name="connsiteY91" fmla="*/ 310799 h 871084"/>
              <a:gd name="connsiteX92" fmla="*/ 775519 w 1296055"/>
              <a:gd name="connsiteY92" fmla="*/ 0 h 871084"/>
              <a:gd name="connsiteX93" fmla="*/ 1106192 w 1296055"/>
              <a:gd name="connsiteY93" fmla="*/ 572547 h 871084"/>
              <a:gd name="connsiteX94" fmla="*/ 850787 w 1296055"/>
              <a:gd name="connsiteY94" fmla="*/ 572547 h 871084"/>
              <a:gd name="connsiteX95" fmla="*/ 585656 w 1296055"/>
              <a:gd name="connsiteY95" fmla="*/ 110366 h 87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296055" h="871084">
                <a:moveTo>
                  <a:pt x="962421" y="695176"/>
                </a:moveTo>
                <a:cubicBezTo>
                  <a:pt x="928091" y="695176"/>
                  <a:pt x="900261" y="723290"/>
                  <a:pt x="900261" y="757970"/>
                </a:cubicBezTo>
                <a:cubicBezTo>
                  <a:pt x="900261" y="792650"/>
                  <a:pt x="928091" y="820764"/>
                  <a:pt x="962421" y="820764"/>
                </a:cubicBezTo>
                <a:cubicBezTo>
                  <a:pt x="996751" y="820764"/>
                  <a:pt x="1024581" y="792650"/>
                  <a:pt x="1024581" y="757970"/>
                </a:cubicBezTo>
                <a:cubicBezTo>
                  <a:pt x="1024581" y="723290"/>
                  <a:pt x="996751" y="695176"/>
                  <a:pt x="962421" y="695176"/>
                </a:cubicBezTo>
                <a:close/>
                <a:moveTo>
                  <a:pt x="707228" y="695176"/>
                </a:moveTo>
                <a:cubicBezTo>
                  <a:pt x="672781" y="695176"/>
                  <a:pt x="644856" y="723290"/>
                  <a:pt x="644856" y="757970"/>
                </a:cubicBezTo>
                <a:cubicBezTo>
                  <a:pt x="644856" y="792650"/>
                  <a:pt x="672781" y="820764"/>
                  <a:pt x="707228" y="820764"/>
                </a:cubicBezTo>
                <a:cubicBezTo>
                  <a:pt x="741675" y="820764"/>
                  <a:pt x="769600" y="792650"/>
                  <a:pt x="769600" y="757970"/>
                </a:cubicBezTo>
                <a:cubicBezTo>
                  <a:pt x="769600" y="723290"/>
                  <a:pt x="741675" y="695176"/>
                  <a:pt x="707228" y="695176"/>
                </a:cubicBezTo>
                <a:close/>
                <a:moveTo>
                  <a:pt x="371056" y="695176"/>
                </a:moveTo>
                <a:cubicBezTo>
                  <a:pt x="336376" y="695176"/>
                  <a:pt x="308262" y="723290"/>
                  <a:pt x="308262" y="757970"/>
                </a:cubicBezTo>
                <a:cubicBezTo>
                  <a:pt x="308262" y="792650"/>
                  <a:pt x="336376" y="820764"/>
                  <a:pt x="371056" y="820764"/>
                </a:cubicBezTo>
                <a:cubicBezTo>
                  <a:pt x="405736" y="820764"/>
                  <a:pt x="433850" y="792650"/>
                  <a:pt x="433850" y="757970"/>
                </a:cubicBezTo>
                <a:cubicBezTo>
                  <a:pt x="433850" y="723290"/>
                  <a:pt x="405736" y="695176"/>
                  <a:pt x="371056" y="695176"/>
                </a:cubicBezTo>
                <a:close/>
                <a:moveTo>
                  <a:pt x="116074" y="695176"/>
                </a:moveTo>
                <a:cubicBezTo>
                  <a:pt x="81394" y="695176"/>
                  <a:pt x="53280" y="723290"/>
                  <a:pt x="53280" y="757970"/>
                </a:cubicBezTo>
                <a:cubicBezTo>
                  <a:pt x="53280" y="792650"/>
                  <a:pt x="81394" y="820764"/>
                  <a:pt x="116074" y="820764"/>
                </a:cubicBezTo>
                <a:cubicBezTo>
                  <a:pt x="150754" y="820764"/>
                  <a:pt x="178868" y="792650"/>
                  <a:pt x="178868" y="757970"/>
                </a:cubicBezTo>
                <a:cubicBezTo>
                  <a:pt x="178868" y="723290"/>
                  <a:pt x="150754" y="695176"/>
                  <a:pt x="116074" y="695176"/>
                </a:cubicBezTo>
                <a:close/>
                <a:moveTo>
                  <a:pt x="514616" y="646970"/>
                </a:moveTo>
                <a:lnTo>
                  <a:pt x="568742" y="646970"/>
                </a:lnTo>
                <a:lnTo>
                  <a:pt x="568742" y="867278"/>
                </a:lnTo>
                <a:lnTo>
                  <a:pt x="514616" y="867278"/>
                </a:lnTo>
                <a:close/>
                <a:moveTo>
                  <a:pt x="1195519" y="644856"/>
                </a:moveTo>
                <a:cubicBezTo>
                  <a:pt x="1250814" y="644856"/>
                  <a:pt x="1284996" y="673009"/>
                  <a:pt x="1288012" y="716244"/>
                </a:cubicBezTo>
                <a:cubicBezTo>
                  <a:pt x="1288012" y="716244"/>
                  <a:pt x="1288012" y="716244"/>
                  <a:pt x="1232717" y="716244"/>
                </a:cubicBezTo>
                <a:cubicBezTo>
                  <a:pt x="1232717" y="700156"/>
                  <a:pt x="1220653" y="686080"/>
                  <a:pt x="1193508" y="686080"/>
                </a:cubicBezTo>
                <a:cubicBezTo>
                  <a:pt x="1174406" y="686080"/>
                  <a:pt x="1159326" y="692113"/>
                  <a:pt x="1159326" y="707195"/>
                </a:cubicBezTo>
                <a:cubicBezTo>
                  <a:pt x="1159326" y="720265"/>
                  <a:pt x="1175412" y="725293"/>
                  <a:pt x="1197530" y="729315"/>
                </a:cubicBezTo>
                <a:cubicBezTo>
                  <a:pt x="1197530" y="729315"/>
                  <a:pt x="1197530" y="729315"/>
                  <a:pt x="1232717" y="736353"/>
                </a:cubicBezTo>
                <a:cubicBezTo>
                  <a:pt x="1276953" y="744396"/>
                  <a:pt x="1296055" y="764506"/>
                  <a:pt x="1296055" y="798691"/>
                </a:cubicBezTo>
                <a:cubicBezTo>
                  <a:pt x="1296055" y="848964"/>
                  <a:pt x="1253830" y="871084"/>
                  <a:pt x="1202557" y="871084"/>
                </a:cubicBezTo>
                <a:cubicBezTo>
                  <a:pt x="1139219" y="871084"/>
                  <a:pt x="1101015" y="839915"/>
                  <a:pt x="1099004" y="795675"/>
                </a:cubicBezTo>
                <a:cubicBezTo>
                  <a:pt x="1099004" y="795675"/>
                  <a:pt x="1099004" y="795675"/>
                  <a:pt x="1155305" y="795675"/>
                </a:cubicBezTo>
                <a:cubicBezTo>
                  <a:pt x="1155305" y="810757"/>
                  <a:pt x="1167369" y="829860"/>
                  <a:pt x="1203562" y="829860"/>
                </a:cubicBezTo>
                <a:cubicBezTo>
                  <a:pt x="1227691" y="829860"/>
                  <a:pt x="1237744" y="818800"/>
                  <a:pt x="1237744" y="807740"/>
                </a:cubicBezTo>
                <a:cubicBezTo>
                  <a:pt x="1237744" y="795675"/>
                  <a:pt x="1228696" y="790648"/>
                  <a:pt x="1208589" y="786626"/>
                </a:cubicBezTo>
                <a:cubicBezTo>
                  <a:pt x="1208589" y="786626"/>
                  <a:pt x="1208589" y="786626"/>
                  <a:pt x="1179433" y="781598"/>
                </a:cubicBezTo>
                <a:cubicBezTo>
                  <a:pt x="1144246" y="774560"/>
                  <a:pt x="1104031" y="766517"/>
                  <a:pt x="1104031" y="716244"/>
                </a:cubicBezTo>
                <a:cubicBezTo>
                  <a:pt x="1104031" y="676025"/>
                  <a:pt x="1138213" y="644856"/>
                  <a:pt x="1195519" y="644856"/>
                </a:cubicBezTo>
                <a:close/>
                <a:moveTo>
                  <a:pt x="959538" y="644856"/>
                </a:moveTo>
                <a:cubicBezTo>
                  <a:pt x="983657" y="644856"/>
                  <a:pt x="1006771" y="651894"/>
                  <a:pt x="1024861" y="664965"/>
                </a:cubicBezTo>
                <a:cubicBezTo>
                  <a:pt x="1024861" y="664965"/>
                  <a:pt x="1024861" y="664965"/>
                  <a:pt x="1024861" y="646867"/>
                </a:cubicBezTo>
                <a:cubicBezTo>
                  <a:pt x="1024861" y="646867"/>
                  <a:pt x="1024861" y="646867"/>
                  <a:pt x="1079129" y="646867"/>
                </a:cubicBezTo>
                <a:cubicBezTo>
                  <a:pt x="1079129" y="646867"/>
                  <a:pt x="1079129" y="646867"/>
                  <a:pt x="1079129" y="867062"/>
                </a:cubicBezTo>
                <a:cubicBezTo>
                  <a:pt x="1079129" y="867062"/>
                  <a:pt x="1079129" y="867062"/>
                  <a:pt x="1024861" y="867062"/>
                </a:cubicBezTo>
                <a:cubicBezTo>
                  <a:pt x="1024861" y="867062"/>
                  <a:pt x="1024861" y="867062"/>
                  <a:pt x="1024861" y="850975"/>
                </a:cubicBezTo>
                <a:cubicBezTo>
                  <a:pt x="1006771" y="864046"/>
                  <a:pt x="983657" y="871084"/>
                  <a:pt x="959538" y="871084"/>
                </a:cubicBezTo>
                <a:cubicBezTo>
                  <a:pt x="897230" y="871084"/>
                  <a:pt x="846981" y="820811"/>
                  <a:pt x="846981" y="757467"/>
                </a:cubicBezTo>
                <a:cubicBezTo>
                  <a:pt x="846981" y="695129"/>
                  <a:pt x="897230" y="644856"/>
                  <a:pt x="959538" y="644856"/>
                </a:cubicBezTo>
                <a:close/>
                <a:moveTo>
                  <a:pt x="113561" y="644856"/>
                </a:moveTo>
                <a:cubicBezTo>
                  <a:pt x="137681" y="644856"/>
                  <a:pt x="159790" y="651894"/>
                  <a:pt x="177880" y="664965"/>
                </a:cubicBezTo>
                <a:cubicBezTo>
                  <a:pt x="177880" y="664965"/>
                  <a:pt x="177880" y="664965"/>
                  <a:pt x="177880" y="646867"/>
                </a:cubicBezTo>
                <a:cubicBezTo>
                  <a:pt x="177880" y="646867"/>
                  <a:pt x="177880" y="646867"/>
                  <a:pt x="232148" y="646867"/>
                </a:cubicBezTo>
                <a:cubicBezTo>
                  <a:pt x="232148" y="646867"/>
                  <a:pt x="232148" y="646867"/>
                  <a:pt x="232148" y="867062"/>
                </a:cubicBezTo>
                <a:cubicBezTo>
                  <a:pt x="232148" y="867062"/>
                  <a:pt x="232148" y="867062"/>
                  <a:pt x="177880" y="867062"/>
                </a:cubicBezTo>
                <a:cubicBezTo>
                  <a:pt x="177880" y="867062"/>
                  <a:pt x="177880" y="867062"/>
                  <a:pt x="177880" y="850975"/>
                </a:cubicBezTo>
                <a:cubicBezTo>
                  <a:pt x="159790" y="864046"/>
                  <a:pt x="137681" y="871084"/>
                  <a:pt x="113561" y="871084"/>
                </a:cubicBezTo>
                <a:cubicBezTo>
                  <a:pt x="50248" y="871084"/>
                  <a:pt x="0" y="820811"/>
                  <a:pt x="0" y="757467"/>
                </a:cubicBezTo>
                <a:cubicBezTo>
                  <a:pt x="0" y="695129"/>
                  <a:pt x="50248" y="644856"/>
                  <a:pt x="113561" y="644856"/>
                </a:cubicBezTo>
                <a:close/>
                <a:moveTo>
                  <a:pt x="332788" y="397484"/>
                </a:moveTo>
                <a:lnTo>
                  <a:pt x="433005" y="572547"/>
                </a:lnTo>
                <a:lnTo>
                  <a:pt x="433807" y="572547"/>
                </a:lnTo>
                <a:cubicBezTo>
                  <a:pt x="436346" y="572547"/>
                  <a:pt x="446503" y="572547"/>
                  <a:pt x="487130" y="572547"/>
                </a:cubicBezTo>
                <a:cubicBezTo>
                  <a:pt x="487130" y="572547"/>
                  <a:pt x="487130" y="572547"/>
                  <a:pt x="487130" y="867063"/>
                </a:cubicBezTo>
                <a:cubicBezTo>
                  <a:pt x="487130" y="867063"/>
                  <a:pt x="487130" y="867063"/>
                  <a:pt x="432961" y="867063"/>
                </a:cubicBezTo>
                <a:cubicBezTo>
                  <a:pt x="432961" y="867063"/>
                  <a:pt x="432961" y="867063"/>
                  <a:pt x="432961" y="850981"/>
                </a:cubicBezTo>
                <a:cubicBezTo>
                  <a:pt x="414904" y="864048"/>
                  <a:pt x="392835" y="871084"/>
                  <a:pt x="368760" y="871084"/>
                </a:cubicBezTo>
                <a:cubicBezTo>
                  <a:pt x="305562" y="871084"/>
                  <a:pt x="255405" y="820825"/>
                  <a:pt x="255405" y="757499"/>
                </a:cubicBezTo>
                <a:cubicBezTo>
                  <a:pt x="255405" y="695178"/>
                  <a:pt x="305562" y="644920"/>
                  <a:pt x="368760" y="644920"/>
                </a:cubicBezTo>
                <a:cubicBezTo>
                  <a:pt x="392835" y="644920"/>
                  <a:pt x="414904" y="651956"/>
                  <a:pt x="432961" y="665023"/>
                </a:cubicBezTo>
                <a:cubicBezTo>
                  <a:pt x="432961" y="665023"/>
                  <a:pt x="432961" y="665023"/>
                  <a:pt x="432961" y="572547"/>
                </a:cubicBezTo>
                <a:lnTo>
                  <a:pt x="178868" y="572547"/>
                </a:lnTo>
                <a:lnTo>
                  <a:pt x="141657" y="507004"/>
                </a:lnTo>
                <a:close/>
                <a:moveTo>
                  <a:pt x="555633" y="200856"/>
                </a:moveTo>
                <a:lnTo>
                  <a:pt x="769599" y="572547"/>
                </a:lnTo>
                <a:lnTo>
                  <a:pt x="770304" y="572547"/>
                </a:lnTo>
                <a:cubicBezTo>
                  <a:pt x="772848" y="572547"/>
                  <a:pt x="783023" y="572547"/>
                  <a:pt x="823724" y="572547"/>
                </a:cubicBezTo>
                <a:cubicBezTo>
                  <a:pt x="823724" y="572547"/>
                  <a:pt x="823724" y="572547"/>
                  <a:pt x="823724" y="867063"/>
                </a:cubicBezTo>
                <a:cubicBezTo>
                  <a:pt x="823724" y="867063"/>
                  <a:pt x="823724" y="867063"/>
                  <a:pt x="769456" y="867063"/>
                </a:cubicBezTo>
                <a:cubicBezTo>
                  <a:pt x="769456" y="867063"/>
                  <a:pt x="769456" y="867063"/>
                  <a:pt x="769456" y="850981"/>
                </a:cubicBezTo>
                <a:cubicBezTo>
                  <a:pt x="751366" y="864048"/>
                  <a:pt x="728252" y="871084"/>
                  <a:pt x="704133" y="871084"/>
                </a:cubicBezTo>
                <a:cubicBezTo>
                  <a:pt x="641825" y="871084"/>
                  <a:pt x="591576" y="820825"/>
                  <a:pt x="591576" y="757499"/>
                </a:cubicBezTo>
                <a:cubicBezTo>
                  <a:pt x="591576" y="695178"/>
                  <a:pt x="641825" y="644920"/>
                  <a:pt x="704133" y="644920"/>
                </a:cubicBezTo>
                <a:cubicBezTo>
                  <a:pt x="728252" y="644920"/>
                  <a:pt x="751366" y="651956"/>
                  <a:pt x="769456" y="665023"/>
                </a:cubicBezTo>
                <a:cubicBezTo>
                  <a:pt x="769456" y="665023"/>
                  <a:pt x="769456" y="665023"/>
                  <a:pt x="769456" y="572547"/>
                </a:cubicBezTo>
                <a:lnTo>
                  <a:pt x="568742" y="572547"/>
                </a:lnTo>
                <a:lnTo>
                  <a:pt x="568742" y="626672"/>
                </a:lnTo>
                <a:lnTo>
                  <a:pt x="514616" y="626672"/>
                </a:lnTo>
                <a:lnTo>
                  <a:pt x="514616" y="572547"/>
                </a:lnTo>
                <a:lnTo>
                  <a:pt x="364925" y="310799"/>
                </a:lnTo>
                <a:close/>
                <a:moveTo>
                  <a:pt x="775519" y="0"/>
                </a:moveTo>
                <a:lnTo>
                  <a:pt x="1106192" y="572547"/>
                </a:lnTo>
                <a:lnTo>
                  <a:pt x="850787" y="572547"/>
                </a:lnTo>
                <a:lnTo>
                  <a:pt x="585656" y="110366"/>
                </a:lnTo>
                <a:close/>
              </a:path>
            </a:pathLst>
          </a:custGeom>
          <a:solidFill>
            <a:schemeClr val="bg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Tree>
    <p:extLst>
      <p:ext uri="{BB962C8B-B14F-4D97-AF65-F5344CB8AC3E}">
        <p14:creationId xmlns:p14="http://schemas.microsoft.com/office/powerpoint/2010/main" val="1232299791"/>
      </p:ext>
    </p:extLst>
  </p:cSld>
  <p:clrMapOvr>
    <a:masterClrMapping/>
  </p:clrMapOvr>
  <p:transition>
    <p:fade/>
  </p:transition>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F50423A5-26E1-44EC-A20A-3492C942C7D4}"/>
              </a:ext>
            </a:extLst>
          </p:cNvPr>
          <p:cNvSpPr>
            <a:spLocks noGrp="1"/>
          </p:cNvSpPr>
          <p:nvPr>
            <p:ph type="pic" sz="quarter" idx="15"/>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007FC5"/>
          </a:solidFill>
          <a:ln>
            <a:noFill/>
          </a:ln>
        </p:spPr>
        <p:txBody>
          <a:bodyPr tIns="0" anchor="ctr" anchorCtr="0"/>
          <a:lstStyle>
            <a:lvl1pPr algn="ctr">
              <a:lnSpc>
                <a:spcPct val="100000"/>
              </a:lnSpc>
              <a:spcAft>
                <a:spcPts val="0"/>
              </a:spcAft>
              <a:defRPr sz="1058">
                <a:solidFill>
                  <a:schemeClr val="bg1"/>
                </a:solidFill>
              </a:defRPr>
            </a:lvl1pPr>
          </a:lstStyle>
          <a:p>
            <a:pPr lvl="0"/>
            <a:r>
              <a:rPr lang="en-GB" noProof="0"/>
              <a:t>Click icon to add picture</a:t>
            </a:r>
            <a:endParaRPr lang="en-US" noProof="0"/>
          </a:p>
        </p:txBody>
      </p:sp>
      <p:sp>
        <p:nvSpPr>
          <p:cNvPr id="86" name="Text Placeholder 85">
            <a:extLst>
              <a:ext uri="{FF2B5EF4-FFF2-40B4-BE49-F238E27FC236}">
                <a16:creationId xmlns:a16="http://schemas.microsoft.com/office/drawing/2014/main" id="{66357334-A6F0-47AA-BEF2-8EAC464113D6}"/>
              </a:ext>
            </a:extLst>
          </p:cNvPr>
          <p:cNvSpPr>
            <a:spLocks noGrp="1" noChangeAspect="1"/>
          </p:cNvSpPr>
          <p:nvPr>
            <p:ph type="body" sz="quarter" idx="17" hasCustomPrompt="1"/>
          </p:nvPr>
        </p:nvSpPr>
        <p:spPr bwMode="gray">
          <a:xfrm>
            <a:off x="8953674" y="3667652"/>
            <a:ext cx="1714605" cy="1666062"/>
          </a:xfrm>
          <a:custGeom>
            <a:avLst/>
            <a:gdLst>
              <a:gd name="connsiteX0" fmla="*/ 955140 w 1289296"/>
              <a:gd name="connsiteY0" fmla="*/ 1076565 h 1253058"/>
              <a:gd name="connsiteX1" fmla="*/ 891054 w 1289296"/>
              <a:gd name="connsiteY1" fmla="*/ 1139771 h 1253058"/>
              <a:gd name="connsiteX2" fmla="*/ 955140 w 1289296"/>
              <a:gd name="connsiteY2" fmla="*/ 1201957 h 1253058"/>
              <a:gd name="connsiteX3" fmla="*/ 1015157 w 1289296"/>
              <a:gd name="connsiteY3" fmla="*/ 1139771 h 1253058"/>
              <a:gd name="connsiteX4" fmla="*/ 955140 w 1289296"/>
              <a:gd name="connsiteY4" fmla="*/ 1076565 h 1253058"/>
              <a:gd name="connsiteX5" fmla="*/ 703316 w 1289296"/>
              <a:gd name="connsiteY5" fmla="*/ 1076565 h 1253058"/>
              <a:gd name="connsiteX6" fmla="*/ 641129 w 1289296"/>
              <a:gd name="connsiteY6" fmla="*/ 1139771 h 1253058"/>
              <a:gd name="connsiteX7" fmla="*/ 703316 w 1289296"/>
              <a:gd name="connsiteY7" fmla="*/ 1201957 h 1253058"/>
              <a:gd name="connsiteX8" fmla="*/ 766521 w 1289296"/>
              <a:gd name="connsiteY8" fmla="*/ 1139771 h 1253058"/>
              <a:gd name="connsiteX9" fmla="*/ 703316 w 1289296"/>
              <a:gd name="connsiteY9" fmla="*/ 1076565 h 1253058"/>
              <a:gd name="connsiteX10" fmla="*/ 368473 w 1289296"/>
              <a:gd name="connsiteY10" fmla="*/ 1076565 h 1253058"/>
              <a:gd name="connsiteX11" fmla="*/ 303173 w 1289296"/>
              <a:gd name="connsiteY11" fmla="*/ 1139771 h 1253058"/>
              <a:gd name="connsiteX12" fmla="*/ 368473 w 1289296"/>
              <a:gd name="connsiteY12" fmla="*/ 1201957 h 1253058"/>
              <a:gd name="connsiteX13" fmla="*/ 430712 w 1289296"/>
              <a:gd name="connsiteY13" fmla="*/ 1139771 h 1253058"/>
              <a:gd name="connsiteX14" fmla="*/ 368473 w 1289296"/>
              <a:gd name="connsiteY14" fmla="*/ 1076565 h 1253058"/>
              <a:gd name="connsiteX15" fmla="*/ 115568 w 1289296"/>
              <a:gd name="connsiteY15" fmla="*/ 1076565 h 1253058"/>
              <a:gd name="connsiteX16" fmla="*/ 53249 w 1289296"/>
              <a:gd name="connsiteY16" fmla="*/ 1139771 h 1253058"/>
              <a:gd name="connsiteX17" fmla="*/ 115568 w 1289296"/>
              <a:gd name="connsiteY17" fmla="*/ 1201957 h 1253058"/>
              <a:gd name="connsiteX18" fmla="*/ 179929 w 1289296"/>
              <a:gd name="connsiteY18" fmla="*/ 1139771 h 1253058"/>
              <a:gd name="connsiteX19" fmla="*/ 115568 w 1289296"/>
              <a:gd name="connsiteY19" fmla="*/ 1076565 h 1253058"/>
              <a:gd name="connsiteX20" fmla="*/ 512302 w 1289296"/>
              <a:gd name="connsiteY20" fmla="*/ 1029328 h 1253058"/>
              <a:gd name="connsiteX21" fmla="*/ 565551 w 1289296"/>
              <a:gd name="connsiteY21" fmla="*/ 1029328 h 1253058"/>
              <a:gd name="connsiteX22" fmla="*/ 565551 w 1289296"/>
              <a:gd name="connsiteY22" fmla="*/ 1247905 h 1253058"/>
              <a:gd name="connsiteX23" fmla="*/ 512302 w 1289296"/>
              <a:gd name="connsiteY23" fmla="*/ 1247905 h 1253058"/>
              <a:gd name="connsiteX24" fmla="*/ 1186657 w 1289296"/>
              <a:gd name="connsiteY24" fmla="*/ 1026322 h 1253058"/>
              <a:gd name="connsiteX25" fmla="*/ 1279516 w 1289296"/>
              <a:gd name="connsiteY25" fmla="*/ 1097815 h 1253058"/>
              <a:gd name="connsiteX26" fmla="*/ 1224413 w 1289296"/>
              <a:gd name="connsiteY26" fmla="*/ 1097815 h 1253058"/>
              <a:gd name="connsiteX27" fmla="*/ 1188698 w 1289296"/>
              <a:gd name="connsiteY27" fmla="*/ 1068197 h 1253058"/>
              <a:gd name="connsiteX28" fmla="*/ 1150942 w 1289296"/>
              <a:gd name="connsiteY28" fmla="*/ 1087602 h 1253058"/>
              <a:gd name="connsiteX29" fmla="*/ 1232576 w 1289296"/>
              <a:gd name="connsiteY29" fmla="*/ 1118242 h 1253058"/>
              <a:gd name="connsiteX30" fmla="*/ 1288700 w 1289296"/>
              <a:gd name="connsiteY30" fmla="*/ 1177479 h 1253058"/>
              <a:gd name="connsiteX31" fmla="*/ 1189718 w 1289296"/>
              <a:gd name="connsiteY31" fmla="*/ 1253058 h 1253058"/>
              <a:gd name="connsiteX32" fmla="*/ 1090736 w 1289296"/>
              <a:gd name="connsiteY32" fmla="*/ 1177479 h 1253058"/>
              <a:gd name="connsiteX33" fmla="*/ 1147880 w 1289296"/>
              <a:gd name="connsiteY33" fmla="*/ 1177479 h 1253058"/>
              <a:gd name="connsiteX34" fmla="*/ 1192780 w 1289296"/>
              <a:gd name="connsiteY34" fmla="*/ 1212205 h 1253058"/>
              <a:gd name="connsiteX35" fmla="*/ 1229515 w 1289296"/>
              <a:gd name="connsiteY35" fmla="*/ 1186671 h 1253058"/>
              <a:gd name="connsiteX36" fmla="*/ 1182575 w 1289296"/>
              <a:gd name="connsiteY36" fmla="*/ 1165223 h 1253058"/>
              <a:gd name="connsiteX37" fmla="*/ 1126451 w 1289296"/>
              <a:gd name="connsiteY37" fmla="*/ 1149903 h 1253058"/>
              <a:gd name="connsiteX38" fmla="*/ 1095838 w 1289296"/>
              <a:gd name="connsiteY38" fmla="*/ 1096794 h 1253058"/>
              <a:gd name="connsiteX39" fmla="*/ 1186657 w 1289296"/>
              <a:gd name="connsiteY39" fmla="*/ 1026322 h 1253058"/>
              <a:gd name="connsiteX40" fmla="*/ 952138 w 1289296"/>
              <a:gd name="connsiteY40" fmla="*/ 1026322 h 1253058"/>
              <a:gd name="connsiteX41" fmla="*/ 1015429 w 1289296"/>
              <a:gd name="connsiteY41" fmla="*/ 1045727 h 1253058"/>
              <a:gd name="connsiteX42" fmla="*/ 1015429 w 1289296"/>
              <a:gd name="connsiteY42" fmla="*/ 1029386 h 1253058"/>
              <a:gd name="connsiteX43" fmla="*/ 1070553 w 1289296"/>
              <a:gd name="connsiteY43" fmla="*/ 1029386 h 1253058"/>
              <a:gd name="connsiteX44" fmla="*/ 1070553 w 1289296"/>
              <a:gd name="connsiteY44" fmla="*/ 1247951 h 1253058"/>
              <a:gd name="connsiteX45" fmla="*/ 1015429 w 1289296"/>
              <a:gd name="connsiteY45" fmla="*/ 1247951 h 1253058"/>
              <a:gd name="connsiteX46" fmla="*/ 1015429 w 1289296"/>
              <a:gd name="connsiteY46" fmla="*/ 1233653 h 1253058"/>
              <a:gd name="connsiteX47" fmla="*/ 952138 w 1289296"/>
              <a:gd name="connsiteY47" fmla="*/ 1253058 h 1253058"/>
              <a:gd name="connsiteX48" fmla="*/ 837805 w 1289296"/>
              <a:gd name="connsiteY48" fmla="*/ 1139690 h 1253058"/>
              <a:gd name="connsiteX49" fmla="*/ 952138 w 1289296"/>
              <a:gd name="connsiteY49" fmla="*/ 1026322 h 1253058"/>
              <a:gd name="connsiteX50" fmla="*/ 113441 w 1289296"/>
              <a:gd name="connsiteY50" fmla="*/ 1026322 h 1253058"/>
              <a:gd name="connsiteX51" fmla="*/ 179871 w 1289296"/>
              <a:gd name="connsiteY51" fmla="*/ 1045727 h 1253058"/>
              <a:gd name="connsiteX52" fmla="*/ 179871 w 1289296"/>
              <a:gd name="connsiteY52" fmla="*/ 1029386 h 1253058"/>
              <a:gd name="connsiteX53" fmla="*/ 234036 w 1289296"/>
              <a:gd name="connsiteY53" fmla="*/ 1029386 h 1253058"/>
              <a:gd name="connsiteX54" fmla="*/ 234036 w 1289296"/>
              <a:gd name="connsiteY54" fmla="*/ 1247951 h 1253058"/>
              <a:gd name="connsiteX55" fmla="*/ 179871 w 1289296"/>
              <a:gd name="connsiteY55" fmla="*/ 1247951 h 1253058"/>
              <a:gd name="connsiteX56" fmla="*/ 179871 w 1289296"/>
              <a:gd name="connsiteY56" fmla="*/ 1233653 h 1253058"/>
              <a:gd name="connsiteX57" fmla="*/ 113441 w 1289296"/>
              <a:gd name="connsiteY57" fmla="*/ 1253058 h 1253058"/>
              <a:gd name="connsiteX58" fmla="*/ 0 w 1289296"/>
              <a:gd name="connsiteY58" fmla="*/ 1139690 h 1253058"/>
              <a:gd name="connsiteX59" fmla="*/ 113441 w 1289296"/>
              <a:gd name="connsiteY59" fmla="*/ 1026322 h 1253058"/>
              <a:gd name="connsiteX60" fmla="*/ 766282 w 1289296"/>
              <a:gd name="connsiteY60" fmla="*/ 954179 h 1253058"/>
              <a:gd name="connsiteX61" fmla="*/ 819340 w 1289296"/>
              <a:gd name="connsiteY61" fmla="*/ 954179 h 1253058"/>
              <a:gd name="connsiteX62" fmla="*/ 819340 w 1289296"/>
              <a:gd name="connsiteY62" fmla="*/ 1247958 h 1253058"/>
              <a:gd name="connsiteX63" fmla="*/ 766282 w 1289296"/>
              <a:gd name="connsiteY63" fmla="*/ 1247958 h 1253058"/>
              <a:gd name="connsiteX64" fmla="*/ 766282 w 1289296"/>
              <a:gd name="connsiteY64" fmla="*/ 1233677 h 1253058"/>
              <a:gd name="connsiteX65" fmla="*/ 702000 w 1289296"/>
              <a:gd name="connsiteY65" fmla="*/ 1253058 h 1253058"/>
              <a:gd name="connsiteX66" fmla="*/ 588740 w 1289296"/>
              <a:gd name="connsiteY66" fmla="*/ 1139831 h 1253058"/>
              <a:gd name="connsiteX67" fmla="*/ 702000 w 1289296"/>
              <a:gd name="connsiteY67" fmla="*/ 1026604 h 1253058"/>
              <a:gd name="connsiteX68" fmla="*/ 766282 w 1289296"/>
              <a:gd name="connsiteY68" fmla="*/ 1045985 h 1253058"/>
              <a:gd name="connsiteX69" fmla="*/ 766282 w 1289296"/>
              <a:gd name="connsiteY69" fmla="*/ 954179 h 1253058"/>
              <a:gd name="connsiteX70" fmla="*/ 512302 w 1289296"/>
              <a:gd name="connsiteY70" fmla="*/ 954179 h 1253058"/>
              <a:gd name="connsiteX71" fmla="*/ 565551 w 1289296"/>
              <a:gd name="connsiteY71" fmla="*/ 954179 h 1253058"/>
              <a:gd name="connsiteX72" fmla="*/ 565551 w 1289296"/>
              <a:gd name="connsiteY72" fmla="*/ 1009145 h 1253058"/>
              <a:gd name="connsiteX73" fmla="*/ 512302 w 1289296"/>
              <a:gd name="connsiteY73" fmla="*/ 1009145 h 1253058"/>
              <a:gd name="connsiteX74" fmla="*/ 430753 w 1289296"/>
              <a:gd name="connsiteY74" fmla="*/ 954179 h 1253058"/>
              <a:gd name="connsiteX75" fmla="*/ 484819 w 1289296"/>
              <a:gd name="connsiteY75" fmla="*/ 954179 h 1253058"/>
              <a:gd name="connsiteX76" fmla="*/ 484819 w 1289296"/>
              <a:gd name="connsiteY76" fmla="*/ 1247958 h 1253058"/>
              <a:gd name="connsiteX77" fmla="*/ 430753 w 1289296"/>
              <a:gd name="connsiteY77" fmla="*/ 1247958 h 1253058"/>
              <a:gd name="connsiteX78" fmla="*/ 430753 w 1289296"/>
              <a:gd name="connsiteY78" fmla="*/ 1233677 h 1253058"/>
              <a:gd name="connsiteX79" fmla="*/ 365466 w 1289296"/>
              <a:gd name="connsiteY79" fmla="*/ 1253058 h 1253058"/>
              <a:gd name="connsiteX80" fmla="*/ 251213 w 1289296"/>
              <a:gd name="connsiteY80" fmla="*/ 1139831 h 1253058"/>
              <a:gd name="connsiteX81" fmla="*/ 365466 w 1289296"/>
              <a:gd name="connsiteY81" fmla="*/ 1026604 h 1253058"/>
              <a:gd name="connsiteX82" fmla="*/ 430753 w 1289296"/>
              <a:gd name="connsiteY82" fmla="*/ 1045985 h 1253058"/>
              <a:gd name="connsiteX83" fmla="*/ 430753 w 1289296"/>
              <a:gd name="connsiteY83" fmla="*/ 954179 h 1253058"/>
              <a:gd name="connsiteX84" fmla="*/ 743767 w 1289296"/>
              <a:gd name="connsiteY84" fmla="*/ 779403 h 1253058"/>
              <a:gd name="connsiteX85" fmla="*/ 1000985 w 1289296"/>
              <a:gd name="connsiteY85" fmla="*/ 779403 h 1253058"/>
              <a:gd name="connsiteX86" fmla="*/ 735601 w 1289296"/>
              <a:gd name="connsiteY86" fmla="*/ 886759 h 1253058"/>
              <a:gd name="connsiteX87" fmla="*/ 743767 w 1289296"/>
              <a:gd name="connsiteY87" fmla="*/ 779403 h 1253058"/>
              <a:gd name="connsiteX88" fmla="*/ 566409 w 1289296"/>
              <a:gd name="connsiteY88" fmla="*/ 779403 h 1253058"/>
              <a:gd name="connsiteX89" fmla="*/ 728731 w 1289296"/>
              <a:gd name="connsiteY89" fmla="*/ 779403 h 1253058"/>
              <a:gd name="connsiteX90" fmla="*/ 648081 w 1289296"/>
              <a:gd name="connsiteY90" fmla="*/ 893630 h 1253058"/>
              <a:gd name="connsiteX91" fmla="*/ 566409 w 1289296"/>
              <a:gd name="connsiteY91" fmla="*/ 779403 h 1253058"/>
              <a:gd name="connsiteX92" fmla="*/ 294154 w 1289296"/>
              <a:gd name="connsiteY92" fmla="*/ 779403 h 1253058"/>
              <a:gd name="connsiteX93" fmla="*/ 554013 w 1289296"/>
              <a:gd name="connsiteY93" fmla="*/ 779403 h 1253058"/>
              <a:gd name="connsiteX94" fmla="*/ 558089 w 1289296"/>
              <a:gd name="connsiteY94" fmla="*/ 886759 h 1253058"/>
              <a:gd name="connsiteX95" fmla="*/ 294154 w 1289296"/>
              <a:gd name="connsiteY95" fmla="*/ 779403 h 1253058"/>
              <a:gd name="connsiteX96" fmla="*/ 178639 w 1289296"/>
              <a:gd name="connsiteY96" fmla="*/ 685788 h 1253058"/>
              <a:gd name="connsiteX97" fmla="*/ 1116500 w 1289296"/>
              <a:gd name="connsiteY97" fmla="*/ 685788 h 1253058"/>
              <a:gd name="connsiteX98" fmla="*/ 1064454 w 1289296"/>
              <a:gd name="connsiteY98" fmla="*/ 731736 h 1253058"/>
              <a:gd name="connsiteX99" fmla="*/ 226603 w 1289296"/>
              <a:gd name="connsiteY99" fmla="*/ 731736 h 1253058"/>
              <a:gd name="connsiteX100" fmla="*/ 178639 w 1289296"/>
              <a:gd name="connsiteY100" fmla="*/ 685788 h 1253058"/>
              <a:gd name="connsiteX101" fmla="*/ 103061 w 1289296"/>
              <a:gd name="connsiteY101" fmla="*/ 583586 h 1253058"/>
              <a:gd name="connsiteX102" fmla="*/ 1192938 w 1289296"/>
              <a:gd name="connsiteY102" fmla="*/ 583586 h 1253058"/>
              <a:gd name="connsiteX103" fmla="*/ 1158242 w 1289296"/>
              <a:gd name="connsiteY103" fmla="*/ 633829 h 1253058"/>
              <a:gd name="connsiteX104" fmla="*/ 136737 w 1289296"/>
              <a:gd name="connsiteY104" fmla="*/ 633829 h 1253058"/>
              <a:gd name="connsiteX105" fmla="*/ 103061 w 1289296"/>
              <a:gd name="connsiteY105" fmla="*/ 583586 h 1253058"/>
              <a:gd name="connsiteX106" fmla="*/ 1287839 w 1289296"/>
              <a:gd name="connsiteY106" fmla="*/ 249924 h 1253058"/>
              <a:gd name="connsiteX107" fmla="*/ 1218479 w 1289296"/>
              <a:gd name="connsiteY107" fmla="*/ 535920 h 1253058"/>
              <a:gd name="connsiteX108" fmla="*/ 842098 w 1289296"/>
              <a:gd name="connsiteY108" fmla="*/ 535920 h 1253058"/>
              <a:gd name="connsiteX109" fmla="*/ 894118 w 1289296"/>
              <a:gd name="connsiteY109" fmla="*/ 465443 h 1253058"/>
              <a:gd name="connsiteX110" fmla="*/ 1287839 w 1289296"/>
              <a:gd name="connsiteY110" fmla="*/ 249924 h 1253058"/>
              <a:gd name="connsiteX111" fmla="*/ 9286 w 1289296"/>
              <a:gd name="connsiteY111" fmla="*/ 249924 h 1253058"/>
              <a:gd name="connsiteX112" fmla="*/ 404027 w 1289296"/>
              <a:gd name="connsiteY112" fmla="*/ 465443 h 1253058"/>
              <a:gd name="connsiteX113" fmla="*/ 456047 w 1289296"/>
              <a:gd name="connsiteY113" fmla="*/ 535920 h 1253058"/>
              <a:gd name="connsiteX114" fmla="*/ 77626 w 1289296"/>
              <a:gd name="connsiteY114" fmla="*/ 535920 h 1253058"/>
              <a:gd name="connsiteX115" fmla="*/ 9286 w 1289296"/>
              <a:gd name="connsiteY115" fmla="*/ 249924 h 1253058"/>
              <a:gd name="connsiteX116" fmla="*/ 647919 w 1289296"/>
              <a:gd name="connsiteY116" fmla="*/ 0 h 1253058"/>
              <a:gd name="connsiteX117" fmla="*/ 816334 w 1289296"/>
              <a:gd name="connsiteY117" fmla="*/ 445070 h 1253058"/>
              <a:gd name="connsiteX118" fmla="*/ 811231 w 1289296"/>
              <a:gd name="connsiteY118" fmla="*/ 535921 h 1253058"/>
              <a:gd name="connsiteX119" fmla="*/ 484608 w 1289296"/>
              <a:gd name="connsiteY119" fmla="*/ 535921 h 1253058"/>
              <a:gd name="connsiteX120" fmla="*/ 480525 w 1289296"/>
              <a:gd name="connsiteY120" fmla="*/ 445070 h 1253058"/>
              <a:gd name="connsiteX121" fmla="*/ 647919 w 1289296"/>
              <a:gd name="connsiteY121" fmla="*/ 0 h 125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89296" h="1253058">
                <a:moveTo>
                  <a:pt x="955140" y="1076565"/>
                </a:moveTo>
                <a:cubicBezTo>
                  <a:pt x="920554" y="1076565"/>
                  <a:pt x="891054" y="1105110"/>
                  <a:pt x="891054" y="1139771"/>
                </a:cubicBezTo>
                <a:cubicBezTo>
                  <a:pt x="891054" y="1173413"/>
                  <a:pt x="920554" y="1201957"/>
                  <a:pt x="955140" y="1201957"/>
                </a:cubicBezTo>
                <a:cubicBezTo>
                  <a:pt x="987692" y="1201957"/>
                  <a:pt x="1015157" y="1173413"/>
                  <a:pt x="1015157" y="1139771"/>
                </a:cubicBezTo>
                <a:cubicBezTo>
                  <a:pt x="1015157" y="1105110"/>
                  <a:pt x="987692" y="1076565"/>
                  <a:pt x="955140" y="1076565"/>
                </a:cubicBezTo>
                <a:close/>
                <a:moveTo>
                  <a:pt x="703316" y="1076565"/>
                </a:moveTo>
                <a:cubicBezTo>
                  <a:pt x="669674" y="1076565"/>
                  <a:pt x="641129" y="1105110"/>
                  <a:pt x="641129" y="1139771"/>
                </a:cubicBezTo>
                <a:cubicBezTo>
                  <a:pt x="641129" y="1173413"/>
                  <a:pt x="669674" y="1201957"/>
                  <a:pt x="703316" y="1201957"/>
                </a:cubicBezTo>
                <a:cubicBezTo>
                  <a:pt x="736957" y="1201957"/>
                  <a:pt x="766521" y="1173413"/>
                  <a:pt x="766521" y="1139771"/>
                </a:cubicBezTo>
                <a:cubicBezTo>
                  <a:pt x="766521" y="1105110"/>
                  <a:pt x="736957" y="1076565"/>
                  <a:pt x="703316" y="1076565"/>
                </a:cubicBezTo>
                <a:close/>
                <a:moveTo>
                  <a:pt x="368473" y="1076565"/>
                </a:moveTo>
                <a:cubicBezTo>
                  <a:pt x="332762" y="1076565"/>
                  <a:pt x="303173" y="1105110"/>
                  <a:pt x="303173" y="1139771"/>
                </a:cubicBezTo>
                <a:cubicBezTo>
                  <a:pt x="303173" y="1173413"/>
                  <a:pt x="332762" y="1201957"/>
                  <a:pt x="368473" y="1201957"/>
                </a:cubicBezTo>
                <a:cubicBezTo>
                  <a:pt x="401123" y="1201957"/>
                  <a:pt x="430712" y="1173413"/>
                  <a:pt x="430712" y="1139771"/>
                </a:cubicBezTo>
                <a:cubicBezTo>
                  <a:pt x="430712" y="1105110"/>
                  <a:pt x="401123" y="1076565"/>
                  <a:pt x="368473" y="1076565"/>
                </a:cubicBezTo>
                <a:close/>
                <a:moveTo>
                  <a:pt x="115568" y="1076565"/>
                </a:moveTo>
                <a:cubicBezTo>
                  <a:pt x="81854" y="1076565"/>
                  <a:pt x="53249" y="1105110"/>
                  <a:pt x="53249" y="1139771"/>
                </a:cubicBezTo>
                <a:cubicBezTo>
                  <a:pt x="53249" y="1173413"/>
                  <a:pt x="81854" y="1201957"/>
                  <a:pt x="115568" y="1201957"/>
                </a:cubicBezTo>
                <a:cubicBezTo>
                  <a:pt x="151324" y="1201957"/>
                  <a:pt x="179929" y="1173413"/>
                  <a:pt x="179929" y="1139771"/>
                </a:cubicBezTo>
                <a:cubicBezTo>
                  <a:pt x="179929" y="1105110"/>
                  <a:pt x="151324" y="1076565"/>
                  <a:pt x="115568" y="1076565"/>
                </a:cubicBezTo>
                <a:close/>
                <a:moveTo>
                  <a:pt x="512302" y="1029328"/>
                </a:moveTo>
                <a:lnTo>
                  <a:pt x="565551" y="1029328"/>
                </a:lnTo>
                <a:lnTo>
                  <a:pt x="565551" y="1247905"/>
                </a:lnTo>
                <a:lnTo>
                  <a:pt x="512302" y="1247905"/>
                </a:lnTo>
                <a:close/>
                <a:moveTo>
                  <a:pt x="1186657" y="1026322"/>
                </a:moveTo>
                <a:cubicBezTo>
                  <a:pt x="1240740" y="1026322"/>
                  <a:pt x="1275435" y="1055941"/>
                  <a:pt x="1279516" y="1097815"/>
                </a:cubicBezTo>
                <a:cubicBezTo>
                  <a:pt x="1279516" y="1097815"/>
                  <a:pt x="1279516" y="1097815"/>
                  <a:pt x="1224413" y="1097815"/>
                </a:cubicBezTo>
                <a:cubicBezTo>
                  <a:pt x="1223393" y="1086581"/>
                  <a:pt x="1222372" y="1068197"/>
                  <a:pt x="1188698" y="1068197"/>
                </a:cubicBezTo>
                <a:cubicBezTo>
                  <a:pt x="1167269" y="1068197"/>
                  <a:pt x="1152983" y="1072282"/>
                  <a:pt x="1150942" y="1087602"/>
                </a:cubicBezTo>
                <a:cubicBezTo>
                  <a:pt x="1150942" y="1110071"/>
                  <a:pt x="1196861" y="1109050"/>
                  <a:pt x="1232576" y="1118242"/>
                </a:cubicBezTo>
                <a:cubicBezTo>
                  <a:pt x="1266251" y="1127434"/>
                  <a:pt x="1288700" y="1147861"/>
                  <a:pt x="1288700" y="1177479"/>
                </a:cubicBezTo>
                <a:cubicBezTo>
                  <a:pt x="1288700" y="1231610"/>
                  <a:pt x="1243801" y="1253058"/>
                  <a:pt x="1189718" y="1253058"/>
                </a:cubicBezTo>
                <a:cubicBezTo>
                  <a:pt x="1129513" y="1253058"/>
                  <a:pt x="1091757" y="1222418"/>
                  <a:pt x="1090736" y="1177479"/>
                </a:cubicBezTo>
                <a:cubicBezTo>
                  <a:pt x="1090736" y="1177479"/>
                  <a:pt x="1090736" y="1177479"/>
                  <a:pt x="1147880" y="1177479"/>
                </a:cubicBezTo>
                <a:cubicBezTo>
                  <a:pt x="1147880" y="1191778"/>
                  <a:pt x="1156044" y="1212205"/>
                  <a:pt x="1192780" y="1212205"/>
                </a:cubicBezTo>
                <a:cubicBezTo>
                  <a:pt x="1218290" y="1212205"/>
                  <a:pt x="1229515" y="1197906"/>
                  <a:pt x="1229515" y="1186671"/>
                </a:cubicBezTo>
                <a:cubicBezTo>
                  <a:pt x="1228495" y="1170330"/>
                  <a:pt x="1207066" y="1167266"/>
                  <a:pt x="1182575" y="1165223"/>
                </a:cubicBezTo>
                <a:cubicBezTo>
                  <a:pt x="1160126" y="1161138"/>
                  <a:pt x="1140737" y="1156031"/>
                  <a:pt x="1126451" y="1149903"/>
                </a:cubicBezTo>
                <a:cubicBezTo>
                  <a:pt x="1107063" y="1139690"/>
                  <a:pt x="1095838" y="1119263"/>
                  <a:pt x="1095838" y="1096794"/>
                </a:cubicBezTo>
                <a:cubicBezTo>
                  <a:pt x="1095838" y="1056962"/>
                  <a:pt x="1129513" y="1026322"/>
                  <a:pt x="1186657" y="1026322"/>
                </a:cubicBezTo>
                <a:close/>
                <a:moveTo>
                  <a:pt x="952138" y="1026322"/>
                </a:moveTo>
                <a:cubicBezTo>
                  <a:pt x="976637" y="1026322"/>
                  <a:pt x="998075" y="1032450"/>
                  <a:pt x="1015429" y="1045727"/>
                </a:cubicBezTo>
                <a:cubicBezTo>
                  <a:pt x="1015429" y="1029386"/>
                  <a:pt x="1015429" y="1029386"/>
                  <a:pt x="1015429" y="1029386"/>
                </a:cubicBezTo>
                <a:cubicBezTo>
                  <a:pt x="1070553" y="1029386"/>
                  <a:pt x="1070553" y="1029386"/>
                  <a:pt x="1070553" y="1029386"/>
                </a:cubicBezTo>
                <a:cubicBezTo>
                  <a:pt x="1070553" y="1247951"/>
                  <a:pt x="1070553" y="1247951"/>
                  <a:pt x="1070553" y="1247951"/>
                </a:cubicBezTo>
                <a:cubicBezTo>
                  <a:pt x="1015429" y="1247951"/>
                  <a:pt x="1015429" y="1247951"/>
                  <a:pt x="1015429" y="1247951"/>
                </a:cubicBezTo>
                <a:cubicBezTo>
                  <a:pt x="1015429" y="1233653"/>
                  <a:pt x="1015429" y="1233653"/>
                  <a:pt x="1015429" y="1233653"/>
                </a:cubicBezTo>
                <a:cubicBezTo>
                  <a:pt x="998075" y="1245909"/>
                  <a:pt x="976637" y="1253058"/>
                  <a:pt x="952138" y="1253058"/>
                </a:cubicBezTo>
                <a:cubicBezTo>
                  <a:pt x="889867" y="1253058"/>
                  <a:pt x="837805" y="1201991"/>
                  <a:pt x="837805" y="1139690"/>
                </a:cubicBezTo>
                <a:cubicBezTo>
                  <a:pt x="837805" y="1076367"/>
                  <a:pt x="889867" y="1026322"/>
                  <a:pt x="952138" y="1026322"/>
                </a:cubicBezTo>
                <a:close/>
                <a:moveTo>
                  <a:pt x="113441" y="1026322"/>
                </a:moveTo>
                <a:cubicBezTo>
                  <a:pt x="137969" y="1026322"/>
                  <a:pt x="161475" y="1032450"/>
                  <a:pt x="179871" y="1045727"/>
                </a:cubicBezTo>
                <a:cubicBezTo>
                  <a:pt x="179871" y="1029386"/>
                  <a:pt x="179871" y="1029386"/>
                  <a:pt x="179871" y="1029386"/>
                </a:cubicBezTo>
                <a:cubicBezTo>
                  <a:pt x="234036" y="1029386"/>
                  <a:pt x="234036" y="1029386"/>
                  <a:pt x="234036" y="1029386"/>
                </a:cubicBezTo>
                <a:cubicBezTo>
                  <a:pt x="234036" y="1247951"/>
                  <a:pt x="234036" y="1247951"/>
                  <a:pt x="234036" y="1247951"/>
                </a:cubicBezTo>
                <a:cubicBezTo>
                  <a:pt x="179871" y="1247951"/>
                  <a:pt x="179871" y="1247951"/>
                  <a:pt x="179871" y="1247951"/>
                </a:cubicBezTo>
                <a:cubicBezTo>
                  <a:pt x="179871" y="1233653"/>
                  <a:pt x="179871" y="1233653"/>
                  <a:pt x="179871" y="1233653"/>
                </a:cubicBezTo>
                <a:cubicBezTo>
                  <a:pt x="161475" y="1245909"/>
                  <a:pt x="138991" y="1253058"/>
                  <a:pt x="113441" y="1253058"/>
                </a:cubicBezTo>
                <a:cubicBezTo>
                  <a:pt x="51100" y="1253058"/>
                  <a:pt x="0" y="1201991"/>
                  <a:pt x="0" y="1139690"/>
                </a:cubicBezTo>
                <a:cubicBezTo>
                  <a:pt x="0" y="1076367"/>
                  <a:pt x="51100" y="1026322"/>
                  <a:pt x="113441" y="1026322"/>
                </a:cubicBezTo>
                <a:close/>
                <a:moveTo>
                  <a:pt x="766282" y="954179"/>
                </a:moveTo>
                <a:cubicBezTo>
                  <a:pt x="819340" y="954179"/>
                  <a:pt x="819340" y="954179"/>
                  <a:pt x="819340" y="954179"/>
                </a:cubicBezTo>
                <a:cubicBezTo>
                  <a:pt x="819340" y="1247958"/>
                  <a:pt x="819340" y="1247958"/>
                  <a:pt x="819340" y="1247958"/>
                </a:cubicBezTo>
                <a:cubicBezTo>
                  <a:pt x="766282" y="1247958"/>
                  <a:pt x="766282" y="1247958"/>
                  <a:pt x="766282" y="1247958"/>
                </a:cubicBezTo>
                <a:cubicBezTo>
                  <a:pt x="766282" y="1233677"/>
                  <a:pt x="766282" y="1233677"/>
                  <a:pt x="766282" y="1233677"/>
                </a:cubicBezTo>
                <a:cubicBezTo>
                  <a:pt x="748936" y="1245918"/>
                  <a:pt x="725468" y="1253058"/>
                  <a:pt x="702000" y="1253058"/>
                </a:cubicBezTo>
                <a:cubicBezTo>
                  <a:pt x="638738" y="1253058"/>
                  <a:pt x="588740" y="1202055"/>
                  <a:pt x="588740" y="1139831"/>
                </a:cubicBezTo>
                <a:cubicBezTo>
                  <a:pt x="588740" y="1076587"/>
                  <a:pt x="638738" y="1026604"/>
                  <a:pt x="702000" y="1026604"/>
                </a:cubicBezTo>
                <a:cubicBezTo>
                  <a:pt x="725468" y="1026604"/>
                  <a:pt x="746895" y="1032724"/>
                  <a:pt x="766282" y="1045985"/>
                </a:cubicBezTo>
                <a:cubicBezTo>
                  <a:pt x="766282" y="954179"/>
                  <a:pt x="766282" y="954179"/>
                  <a:pt x="766282" y="954179"/>
                </a:cubicBezTo>
                <a:close/>
                <a:moveTo>
                  <a:pt x="512302" y="954179"/>
                </a:moveTo>
                <a:lnTo>
                  <a:pt x="565551" y="954179"/>
                </a:lnTo>
                <a:lnTo>
                  <a:pt x="565551" y="1009145"/>
                </a:lnTo>
                <a:lnTo>
                  <a:pt x="512302" y="1009145"/>
                </a:lnTo>
                <a:close/>
                <a:moveTo>
                  <a:pt x="430753" y="954179"/>
                </a:moveTo>
                <a:cubicBezTo>
                  <a:pt x="484819" y="954179"/>
                  <a:pt x="484819" y="954179"/>
                  <a:pt x="484819" y="954179"/>
                </a:cubicBezTo>
                <a:cubicBezTo>
                  <a:pt x="484819" y="1247958"/>
                  <a:pt x="484819" y="1247958"/>
                  <a:pt x="484819" y="1247958"/>
                </a:cubicBezTo>
                <a:cubicBezTo>
                  <a:pt x="430753" y="1247958"/>
                  <a:pt x="430753" y="1247958"/>
                  <a:pt x="430753" y="1247958"/>
                </a:cubicBezTo>
                <a:cubicBezTo>
                  <a:pt x="430753" y="1233677"/>
                  <a:pt x="430753" y="1233677"/>
                  <a:pt x="430753" y="1233677"/>
                </a:cubicBezTo>
                <a:cubicBezTo>
                  <a:pt x="411371" y="1245918"/>
                  <a:pt x="389949" y="1253058"/>
                  <a:pt x="365466" y="1253058"/>
                </a:cubicBezTo>
                <a:cubicBezTo>
                  <a:pt x="303239" y="1253058"/>
                  <a:pt x="251213" y="1202055"/>
                  <a:pt x="251213" y="1139831"/>
                </a:cubicBezTo>
                <a:cubicBezTo>
                  <a:pt x="251213" y="1076587"/>
                  <a:pt x="303239" y="1026604"/>
                  <a:pt x="365466" y="1026604"/>
                </a:cubicBezTo>
                <a:cubicBezTo>
                  <a:pt x="389949" y="1026604"/>
                  <a:pt x="411371" y="1032724"/>
                  <a:pt x="430753" y="1045985"/>
                </a:cubicBezTo>
                <a:cubicBezTo>
                  <a:pt x="430753" y="954179"/>
                  <a:pt x="430753" y="954179"/>
                  <a:pt x="430753" y="954179"/>
                </a:cubicBezTo>
                <a:close/>
                <a:moveTo>
                  <a:pt x="743767" y="779403"/>
                </a:moveTo>
                <a:cubicBezTo>
                  <a:pt x="743767" y="779403"/>
                  <a:pt x="743767" y="779403"/>
                  <a:pt x="1000985" y="779403"/>
                </a:cubicBezTo>
                <a:cubicBezTo>
                  <a:pt x="910142" y="846884"/>
                  <a:pt x="811134" y="881647"/>
                  <a:pt x="735601" y="886759"/>
                </a:cubicBezTo>
                <a:cubicBezTo>
                  <a:pt x="735601" y="859153"/>
                  <a:pt x="735601" y="820301"/>
                  <a:pt x="743767" y="779403"/>
                </a:cubicBezTo>
                <a:close/>
                <a:moveTo>
                  <a:pt x="566409" y="779403"/>
                </a:moveTo>
                <a:cubicBezTo>
                  <a:pt x="566409" y="779403"/>
                  <a:pt x="566409" y="779403"/>
                  <a:pt x="728731" y="779403"/>
                </a:cubicBezTo>
                <a:cubicBezTo>
                  <a:pt x="703209" y="828358"/>
                  <a:pt x="674624" y="866093"/>
                  <a:pt x="648081" y="893630"/>
                </a:cubicBezTo>
                <a:cubicBezTo>
                  <a:pt x="618475" y="866093"/>
                  <a:pt x="593973" y="828358"/>
                  <a:pt x="566409" y="779403"/>
                </a:cubicBezTo>
                <a:close/>
                <a:moveTo>
                  <a:pt x="294154" y="779403"/>
                </a:moveTo>
                <a:cubicBezTo>
                  <a:pt x="294154" y="779403"/>
                  <a:pt x="294154" y="779403"/>
                  <a:pt x="554013" y="779403"/>
                </a:cubicBezTo>
                <a:cubicBezTo>
                  <a:pt x="559108" y="820301"/>
                  <a:pt x="559108" y="859153"/>
                  <a:pt x="558089" y="886759"/>
                </a:cubicBezTo>
                <a:cubicBezTo>
                  <a:pt x="484717" y="881647"/>
                  <a:pt x="385869" y="846884"/>
                  <a:pt x="294154" y="779403"/>
                </a:cubicBezTo>
                <a:close/>
                <a:moveTo>
                  <a:pt x="178639" y="685788"/>
                </a:moveTo>
                <a:cubicBezTo>
                  <a:pt x="178639" y="685788"/>
                  <a:pt x="178639" y="685788"/>
                  <a:pt x="1116500" y="685788"/>
                </a:cubicBezTo>
                <a:cubicBezTo>
                  <a:pt x="1104254" y="703146"/>
                  <a:pt x="1084864" y="720504"/>
                  <a:pt x="1064454" y="731736"/>
                </a:cubicBezTo>
                <a:cubicBezTo>
                  <a:pt x="1064454" y="731736"/>
                  <a:pt x="1064454" y="731736"/>
                  <a:pt x="226603" y="731736"/>
                </a:cubicBezTo>
                <a:cubicBezTo>
                  <a:pt x="210275" y="720504"/>
                  <a:pt x="193947" y="703146"/>
                  <a:pt x="178639" y="685788"/>
                </a:cubicBezTo>
                <a:close/>
                <a:moveTo>
                  <a:pt x="103061" y="583586"/>
                </a:moveTo>
                <a:cubicBezTo>
                  <a:pt x="1192938" y="583586"/>
                  <a:pt x="1192938" y="583586"/>
                  <a:pt x="1192938" y="583586"/>
                </a:cubicBezTo>
                <a:cubicBezTo>
                  <a:pt x="1184774" y="598967"/>
                  <a:pt x="1171508" y="620499"/>
                  <a:pt x="1158242" y="633829"/>
                </a:cubicBezTo>
                <a:cubicBezTo>
                  <a:pt x="136737" y="633829"/>
                  <a:pt x="136737" y="633829"/>
                  <a:pt x="136737" y="633829"/>
                </a:cubicBezTo>
                <a:cubicBezTo>
                  <a:pt x="128573" y="623575"/>
                  <a:pt x="111225" y="599992"/>
                  <a:pt x="103061" y="583586"/>
                </a:cubicBezTo>
                <a:close/>
                <a:moveTo>
                  <a:pt x="1287839" y="249924"/>
                </a:moveTo>
                <a:cubicBezTo>
                  <a:pt x="1295999" y="333680"/>
                  <a:pt x="1269479" y="433779"/>
                  <a:pt x="1218479" y="535920"/>
                </a:cubicBezTo>
                <a:cubicBezTo>
                  <a:pt x="1218479" y="535920"/>
                  <a:pt x="1218479" y="535920"/>
                  <a:pt x="842098" y="535920"/>
                </a:cubicBezTo>
                <a:cubicBezTo>
                  <a:pt x="855358" y="511406"/>
                  <a:pt x="873718" y="488935"/>
                  <a:pt x="894118" y="465443"/>
                </a:cubicBezTo>
                <a:cubicBezTo>
                  <a:pt x="1003259" y="336744"/>
                  <a:pt x="1171559" y="258095"/>
                  <a:pt x="1287839" y="249924"/>
                </a:cubicBezTo>
                <a:close/>
                <a:moveTo>
                  <a:pt x="9286" y="249924"/>
                </a:moveTo>
                <a:cubicBezTo>
                  <a:pt x="125566" y="258095"/>
                  <a:pt x="293866" y="336744"/>
                  <a:pt x="404027" y="465443"/>
                </a:cubicBezTo>
                <a:cubicBezTo>
                  <a:pt x="422387" y="488935"/>
                  <a:pt x="441767" y="511406"/>
                  <a:pt x="456047" y="535920"/>
                </a:cubicBezTo>
                <a:cubicBezTo>
                  <a:pt x="456047" y="535920"/>
                  <a:pt x="456047" y="535920"/>
                  <a:pt x="77626" y="535920"/>
                </a:cubicBezTo>
                <a:cubicBezTo>
                  <a:pt x="27646" y="433779"/>
                  <a:pt x="2146" y="333680"/>
                  <a:pt x="9286" y="249924"/>
                </a:cubicBezTo>
                <a:close/>
                <a:moveTo>
                  <a:pt x="647919" y="0"/>
                </a:moveTo>
                <a:cubicBezTo>
                  <a:pt x="735699" y="82685"/>
                  <a:pt x="816334" y="267450"/>
                  <a:pt x="816334" y="445070"/>
                </a:cubicBezTo>
                <a:cubicBezTo>
                  <a:pt x="816334" y="478756"/>
                  <a:pt x="813272" y="506318"/>
                  <a:pt x="811231" y="535921"/>
                </a:cubicBezTo>
                <a:cubicBezTo>
                  <a:pt x="811231" y="535921"/>
                  <a:pt x="811231" y="535921"/>
                  <a:pt x="484608" y="535921"/>
                </a:cubicBezTo>
                <a:cubicBezTo>
                  <a:pt x="480525" y="506318"/>
                  <a:pt x="480525" y="478756"/>
                  <a:pt x="480525" y="445070"/>
                </a:cubicBezTo>
                <a:cubicBezTo>
                  <a:pt x="480525" y="267450"/>
                  <a:pt x="559119" y="82685"/>
                  <a:pt x="647919" y="0"/>
                </a:cubicBezTo>
                <a:close/>
              </a:path>
            </a:pathLst>
          </a:custGeom>
          <a:solidFill>
            <a:schemeClr val="bg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
        <p:nvSpPr>
          <p:cNvPr id="12" name="Title 1">
            <a:extLst>
              <a:ext uri="{FF2B5EF4-FFF2-40B4-BE49-F238E27FC236}">
                <a16:creationId xmlns:a16="http://schemas.microsoft.com/office/drawing/2014/main" id="{76EBA342-E150-45B4-A1B7-02B63FD1F605}"/>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latin typeface="+mj-lt"/>
              </a:defRPr>
            </a:lvl7pPr>
            <a:lvl8pPr>
              <a:lnSpc>
                <a:spcPct val="75000"/>
              </a:lnSpc>
              <a:defRPr sz="6349" b="1" spc="26" baseline="0">
                <a:solidFill>
                  <a:schemeClr val="bg1"/>
                </a:solidFill>
                <a:latin typeface="+mj-lt"/>
              </a:defRPr>
            </a:lvl8pPr>
            <a:lvl9pPr algn="l">
              <a:lnSpc>
                <a:spcPct val="75000"/>
              </a:lnSpc>
              <a:defRPr sz="6349" b="1" spc="26" baseline="0">
                <a:solidFill>
                  <a:schemeClr val="bg1"/>
                </a:solidFill>
                <a:latin typeface="+mj-lt"/>
              </a:defRPr>
            </a:lvl9pPr>
          </a:lstStyle>
          <a:p>
            <a:pPr lvl="0"/>
            <a:r>
              <a:rPr lang="en-US" noProof="0"/>
              <a:t>Title of your presentation</a:t>
            </a:r>
            <a:endParaRPr lang="en-US"/>
          </a:p>
        </p:txBody>
      </p:sp>
      <p:sp>
        <p:nvSpPr>
          <p:cNvPr id="13" name="Subtitle 2">
            <a:extLst>
              <a:ext uri="{FF2B5EF4-FFF2-40B4-BE49-F238E27FC236}">
                <a16:creationId xmlns:a16="http://schemas.microsoft.com/office/drawing/2014/main" id="{C94A67DA-B0E5-465A-9E54-5F95AD793832}"/>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bg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6pPr>
            <a:lvl7pPr marL="0" indent="0" algn="l">
              <a:lnSpc>
                <a:spcPct val="75000"/>
              </a:lnSpc>
              <a:spcBef>
                <a:spcPts val="0"/>
              </a:spcBef>
              <a:spcAft>
                <a:spcPts val="0"/>
              </a:spcAft>
              <a:buNone/>
              <a:defRPr sz="1852" b="0" cap="all" spc="26" baseline="0">
                <a:solidFill>
                  <a:schemeClr val="bg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8pPr>
            <a:lvl9pPr marL="0" indent="0" algn="l">
              <a:lnSpc>
                <a:spcPct val="75000"/>
              </a:lnSpc>
              <a:spcBef>
                <a:spcPts val="0"/>
              </a:spcBef>
              <a:spcAft>
                <a:spcPts val="0"/>
              </a:spcAft>
              <a:buNone/>
              <a:defRPr sz="1852" b="0" cap="all" spc="26" baseline="0">
                <a:solidFill>
                  <a:schemeClr val="bg1"/>
                </a:solidFill>
                <a:latin typeface="+mj-lt"/>
              </a:defRPr>
            </a:lvl9pPr>
          </a:lstStyle>
          <a:p>
            <a:pPr lvl="0"/>
            <a:r>
              <a:rPr lang="en-GB" noProof="0"/>
              <a:t>Click to edit Master subtitle style</a:t>
            </a:r>
            <a:endParaRPr lang="en-US" noProof="0"/>
          </a:p>
        </p:txBody>
      </p:sp>
    </p:spTree>
    <p:extLst>
      <p:ext uri="{BB962C8B-B14F-4D97-AF65-F5344CB8AC3E}">
        <p14:creationId xmlns:p14="http://schemas.microsoft.com/office/powerpoint/2010/main" val="285191935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142699" y="1143341"/>
            <a:ext cx="1524114" cy="761886"/>
          </a:xfrm>
        </p:spPr>
        <p:txBody>
          <a:bodyPr lIns="0" anchor="t"/>
          <a:lstStyle>
            <a:lvl1pPr algn="l">
              <a:lnSpc>
                <a:spcPct val="75000"/>
              </a:lnSpc>
              <a:defRPr sz="2381" b="1" i="0" cap="all" spc="26" baseline="0">
                <a:solidFill>
                  <a:schemeClr val="tx1"/>
                </a:solidFill>
                <a:latin typeface="+mj-lt"/>
              </a:defRPr>
            </a:lvl1pPr>
            <a:lvl2pPr>
              <a:lnSpc>
                <a:spcPct val="75000"/>
              </a:lnSpc>
              <a:defRPr b="1" spc="26" baseline="0">
                <a:latin typeface="+mj-lt"/>
              </a:defRPr>
            </a:lvl2pPr>
            <a:lvl3pPr>
              <a:lnSpc>
                <a:spcPct val="75000"/>
              </a:lnSpc>
              <a:defRPr b="1" spc="26" baseline="0">
                <a:latin typeface="+mj-lt"/>
              </a:defRPr>
            </a:lvl3pPr>
            <a:lvl4pPr>
              <a:lnSpc>
                <a:spcPct val="75000"/>
              </a:lnSpc>
              <a:defRPr b="1" spc="26" baseline="0">
                <a:latin typeface="+mj-lt"/>
              </a:defRPr>
            </a:lvl4pPr>
            <a:lvl5pPr>
              <a:lnSpc>
                <a:spcPct val="75000"/>
              </a:lnSpc>
              <a:defRPr b="1" spc="26" baseline="0">
                <a:latin typeface="+mj-lt"/>
              </a:defRPr>
            </a:lvl5pPr>
            <a:lvl6pPr>
              <a:lnSpc>
                <a:spcPct val="75000"/>
              </a:lnSpc>
              <a:defRPr b="1" spc="26" baseline="0"/>
            </a:lvl6pPr>
            <a:lvl7pPr>
              <a:lnSpc>
                <a:spcPct val="75000"/>
              </a:lnSpc>
              <a:defRPr b="1" spc="26" baseline="0"/>
            </a:lvl7pPr>
            <a:lvl8pPr>
              <a:lnSpc>
                <a:spcPct val="75000"/>
              </a:lnSpc>
              <a:defRPr b="1" spc="26" baseline="0"/>
            </a:lvl8pPr>
            <a:lvl9pPr algn="l">
              <a:lnSpc>
                <a:spcPct val="75000"/>
              </a:lnSpc>
              <a:defRPr b="1" spc="26" baseline="0"/>
            </a:lvl9pPr>
          </a:lstStyle>
          <a:p>
            <a:pPr lvl="0"/>
            <a:r>
              <a:rPr lang="en-US" noProof="0"/>
              <a:t>Content</a:t>
            </a:r>
            <a:endParaRPr lang="en-US"/>
          </a:p>
        </p:txBody>
      </p:sp>
      <p:sp>
        <p:nvSpPr>
          <p:cNvPr id="6" name="Text Placeholder 5"/>
          <p:cNvSpPr>
            <a:spLocks noGrp="1"/>
          </p:cNvSpPr>
          <p:nvPr>
            <p:ph type="body" sz="quarter" idx="10" hasCustomPrompt="1"/>
          </p:nvPr>
        </p:nvSpPr>
        <p:spPr bwMode="gray">
          <a:xfrm>
            <a:off x="3047835" y="1143342"/>
            <a:ext cx="8001468" cy="4571317"/>
          </a:xfrm>
        </p:spPr>
        <p:txBody>
          <a:bodyPr anchor="t" anchorCtr="0">
            <a:normAutofit/>
          </a:bodyPr>
          <a:lstStyle>
            <a:lvl1pPr marL="380938" indent="-380938" algn="l">
              <a:lnSpc>
                <a:spcPct val="75000"/>
              </a:lnSpc>
              <a:spcBef>
                <a:spcPts val="1587"/>
              </a:spcBef>
              <a:spcAft>
                <a:spcPts val="0"/>
              </a:spcAft>
              <a:buClrTx/>
              <a:buSzPct val="100000"/>
              <a:buFont typeface="+mj-lt"/>
              <a:buAutoNum type="arabicPeriod"/>
              <a:defRPr sz="3704" b="1" i="0" cap="all" spc="26" baseline="0">
                <a:solidFill>
                  <a:schemeClr val="tx1"/>
                </a:solidFill>
                <a:latin typeface="+mj-lt"/>
              </a:defRPr>
            </a:lvl1pPr>
            <a:lvl2pPr marL="380938" indent="0" algn="l">
              <a:lnSpc>
                <a:spcPct val="90000"/>
              </a:lnSpc>
              <a:spcBef>
                <a:spcPts val="0"/>
              </a:spcBef>
              <a:spcAft>
                <a:spcPts val="0"/>
              </a:spcAft>
              <a:buClrTx/>
              <a:buSzPct val="90000"/>
              <a:buFont typeface="+mj-lt"/>
              <a:buNone/>
              <a:defRPr sz="1587" b="0" i="0" cap="none" spc="0" normalizeH="0" baseline="0">
                <a:solidFill>
                  <a:schemeClr val="tx1"/>
                </a:solidFill>
                <a:latin typeface="+mn-lt"/>
                <a:cs typeface="AdihausDIN" panose="020B0504020101020102" pitchFamily="34" charset="0"/>
              </a:defRPr>
            </a:lvl2pPr>
            <a:lvl3pPr marL="380938" indent="0" algn="l">
              <a:lnSpc>
                <a:spcPct val="90000"/>
              </a:lnSpc>
              <a:spcBef>
                <a:spcPts val="0"/>
              </a:spcBef>
              <a:spcAft>
                <a:spcPts val="0"/>
              </a:spcAft>
              <a:buClrTx/>
              <a:buSzPct val="90000"/>
              <a:buFont typeface="+mj-lt"/>
              <a:buNone/>
              <a:defRPr sz="1587" b="0" i="0" cap="none" spc="0" baseline="0">
                <a:solidFill>
                  <a:schemeClr val="tx1"/>
                </a:solidFill>
                <a:latin typeface="+mn-lt"/>
                <a:cs typeface="AdihausDIN" panose="020B0504020101020102" pitchFamily="34" charset="0"/>
              </a:defRPr>
            </a:lvl3pPr>
            <a:lvl4pPr marL="380938" indent="0" algn="l">
              <a:lnSpc>
                <a:spcPct val="90000"/>
              </a:lnSpc>
              <a:spcBef>
                <a:spcPts val="0"/>
              </a:spcBef>
              <a:spcAft>
                <a:spcPts val="0"/>
              </a:spcAft>
              <a:buClrTx/>
              <a:buSzPct val="90000"/>
              <a:buFont typeface="+mj-lt"/>
              <a:buNone/>
              <a:defRPr sz="1587" b="0" i="0" cap="none" spc="0" baseline="0">
                <a:solidFill>
                  <a:schemeClr val="tx1"/>
                </a:solidFill>
                <a:latin typeface="+mn-lt"/>
                <a:cs typeface="AdihausDIN" panose="020B0504020101020102" pitchFamily="34" charset="0"/>
              </a:defRPr>
            </a:lvl4pPr>
            <a:lvl5pPr marL="380938" indent="0" algn="l">
              <a:lnSpc>
                <a:spcPct val="90000"/>
              </a:lnSpc>
              <a:spcBef>
                <a:spcPts val="0"/>
              </a:spcBef>
              <a:spcAft>
                <a:spcPts val="0"/>
              </a:spcAft>
              <a:buClrTx/>
              <a:buSzPct val="90000"/>
              <a:buFont typeface="+mj-lt"/>
              <a:buNone/>
              <a:defRPr sz="1587" b="0" i="0" cap="none" spc="0" baseline="0">
                <a:solidFill>
                  <a:schemeClr val="tx1"/>
                </a:solidFill>
                <a:latin typeface="+mn-lt"/>
                <a:cs typeface="AdihausDIN" panose="020B0504020101020102" pitchFamily="34" charset="0"/>
              </a:defRPr>
            </a:lvl5pPr>
            <a:lvl6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6pPr>
            <a:lvl7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7pPr>
            <a:lvl8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8pPr>
            <a:lvl9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9pPr>
          </a:lstStyle>
          <a:p>
            <a:pPr lvl="0"/>
            <a:r>
              <a:rPr lang="en-US" noProof="0"/>
              <a:t>ADD an AGENDA POINT HERE</a:t>
            </a:r>
            <a:endParaRPr lang="en-US"/>
          </a:p>
          <a:p>
            <a:pPr lvl="1"/>
            <a:r>
              <a:rPr lang="en-US" noProof="0"/>
              <a:t>Speaker, time or additional information</a:t>
            </a:r>
            <a:endParaRPr lang="en-US"/>
          </a:p>
        </p:txBody>
      </p:sp>
      <p:sp>
        <p:nvSpPr>
          <p:cNvPr id="7" name="Date Placeholder 6">
            <a:extLst>
              <a:ext uri="{FF2B5EF4-FFF2-40B4-BE49-F238E27FC236}">
                <a16:creationId xmlns:a16="http://schemas.microsoft.com/office/drawing/2014/main" id="{06DAEFB2-DCCD-4136-9272-588838BFA055}"/>
              </a:ext>
            </a:extLst>
          </p:cNvPr>
          <p:cNvSpPr>
            <a:spLocks noGrp="1"/>
          </p:cNvSpPr>
          <p:nvPr>
            <p:ph type="dt" sz="half" idx="11"/>
          </p:nvPr>
        </p:nvSpPr>
        <p:spPr/>
        <p:txBody>
          <a:bodyPr/>
          <a:lstStyle/>
          <a:p>
            <a:fld id="{435FE548-94D8-4EA2-AFE3-BC95DAE33073}" type="datetime5">
              <a:rPr lang="en-US" smtClean="0"/>
              <a:t>6-Oct-21</a:t>
            </a:fld>
            <a:endParaRPr lang="en-US"/>
          </a:p>
        </p:txBody>
      </p:sp>
      <p:sp>
        <p:nvSpPr>
          <p:cNvPr id="8" name="Footer Placeholder 7">
            <a:extLst>
              <a:ext uri="{FF2B5EF4-FFF2-40B4-BE49-F238E27FC236}">
                <a16:creationId xmlns:a16="http://schemas.microsoft.com/office/drawing/2014/main" id="{8B0AD181-9CB9-45A2-AEC3-7708B57344D1}"/>
              </a:ext>
            </a:extLst>
          </p:cNvPr>
          <p:cNvSpPr>
            <a:spLocks noGrp="1"/>
          </p:cNvSpPr>
          <p:nvPr>
            <p:ph type="ftr" sz="quarter" idx="12"/>
          </p:nvPr>
        </p:nvSpPr>
        <p:spPr/>
        <p:txBody>
          <a:bodyPr/>
          <a:lstStyle/>
          <a:p>
            <a:pPr defTabSz="1218764">
              <a:lnSpc>
                <a:spcPct val="80000"/>
              </a:lnSpc>
            </a:pPr>
            <a:r>
              <a:rPr lang="en-GB"/>
              <a:t>FOOTER / PRESENTATION NAME</a:t>
            </a:r>
          </a:p>
        </p:txBody>
      </p:sp>
      <p:sp>
        <p:nvSpPr>
          <p:cNvPr id="9" name="Slide Number Placeholder 8">
            <a:extLst>
              <a:ext uri="{FF2B5EF4-FFF2-40B4-BE49-F238E27FC236}">
                <a16:creationId xmlns:a16="http://schemas.microsoft.com/office/drawing/2014/main" id="{0065CC93-1CF1-471C-BB01-D88B01D4309C}"/>
              </a:ext>
            </a:extLst>
          </p:cNvPr>
          <p:cNvSpPr>
            <a:spLocks noGrp="1"/>
          </p:cNvSpPr>
          <p:nvPr>
            <p:ph type="sldNum" sz="quarter" idx="13"/>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181713870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3C6BED9-745A-4437-B862-97F8C930B302}"/>
              </a:ext>
            </a:extLst>
          </p:cNvPr>
          <p:cNvSpPr>
            <a:spLocks noGrp="1"/>
          </p:cNvSpPr>
          <p:nvPr>
            <p:ph type="pic" sz="quarter" idx="15"/>
          </p:nvPr>
        </p:nvSpPr>
        <p:spPr bwMode="gray">
          <a:xfrm>
            <a:off x="94218" y="95379"/>
            <a:ext cx="12003565" cy="6667244"/>
          </a:xfrm>
          <a:custGeom>
            <a:avLst/>
            <a:gdLst/>
            <a:ahLst/>
            <a:cxnLst/>
            <a:rect l="l" t="t" r="r" b="b"/>
            <a:pathLst>
              <a:path w="2953414" h="4932102">
                <a:moveTo>
                  <a:pt x="0" y="0"/>
                </a:moveTo>
                <a:lnTo>
                  <a:pt x="2953414" y="0"/>
                </a:lnTo>
                <a:lnTo>
                  <a:pt x="2953414" y="4932102"/>
                </a:lnTo>
                <a:lnTo>
                  <a:pt x="0" y="4932102"/>
                </a:lnTo>
                <a:close/>
              </a:path>
            </a:pathLst>
          </a:custGeom>
          <a:solidFill>
            <a:schemeClr val="accent3"/>
          </a:solidFill>
          <a:ln>
            <a:noFill/>
          </a:ln>
        </p:spPr>
        <p:txBody>
          <a:bodyPr tIns="0" anchor="ctr" anchorCtr="0"/>
          <a:lstStyle>
            <a:lvl1pPr algn="ctr">
              <a:lnSpc>
                <a:spcPct val="100000"/>
              </a:lnSpc>
              <a:spcAft>
                <a:spcPts val="0"/>
              </a:spcAft>
              <a:defRPr sz="1058">
                <a:solidFill>
                  <a:schemeClr val="bg1"/>
                </a:solidFill>
              </a:defRPr>
            </a:lvl1pPr>
          </a:lstStyle>
          <a:p>
            <a:pPr lvl="0"/>
            <a:r>
              <a:rPr lang="en-GB" noProof="0"/>
              <a:t>Click icon to add picture</a:t>
            </a:r>
            <a:endParaRPr lang="en-US" noProof="0"/>
          </a:p>
        </p:txBody>
      </p:sp>
      <p:sp>
        <p:nvSpPr>
          <p:cNvPr id="3" name="Titel 2"/>
          <p:cNvSpPr>
            <a:spLocks noGrp="1"/>
          </p:cNvSpPr>
          <p:nvPr>
            <p:ph type="title" hasCustomPrompt="1"/>
          </p:nvPr>
        </p:nvSpPr>
        <p:spPr bwMode="gray">
          <a:xfrm>
            <a:off x="1142148" y="1523498"/>
            <a:ext cx="6478082" cy="3048457"/>
          </a:xfrm>
        </p:spPr>
        <p:txBody>
          <a:bodyPr/>
          <a:lstStyle>
            <a:lvl1pPr algn="l">
              <a:lnSpc>
                <a:spcPct val="75000"/>
              </a:lnSpc>
              <a:defRPr sz="6349" b="1" i="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defRPr>
            </a:lvl7pPr>
            <a:lvl8pPr algn="l">
              <a:lnSpc>
                <a:spcPct val="75000"/>
              </a:lnSpc>
              <a:defRPr sz="6349" b="1" spc="26" baseline="0">
                <a:solidFill>
                  <a:schemeClr val="bg1"/>
                </a:solidFill>
              </a:defRPr>
            </a:lvl8pPr>
            <a:lvl9pPr algn="l">
              <a:lnSpc>
                <a:spcPct val="75000"/>
              </a:lnSpc>
              <a:defRPr sz="6349" b="1" spc="26" baseline="0">
                <a:solidFill>
                  <a:schemeClr val="bg1"/>
                </a:solidFill>
              </a:defRPr>
            </a:lvl9pPr>
          </a:lstStyle>
          <a:p>
            <a:pPr lvl="0"/>
            <a:r>
              <a:rPr lang="en-US"/>
              <a:t>This is a divider page. Fill this textbox </a:t>
            </a:r>
            <a:br>
              <a:rPr lang="en-US"/>
            </a:br>
            <a:r>
              <a:rPr lang="en-US"/>
              <a:t>with the name of the chapter.</a:t>
            </a:r>
          </a:p>
        </p:txBody>
      </p:sp>
      <p:sp>
        <p:nvSpPr>
          <p:cNvPr id="8" name="Text Placeholder 3"/>
          <p:cNvSpPr>
            <a:spLocks noGrp="1"/>
          </p:cNvSpPr>
          <p:nvPr>
            <p:ph type="body" sz="quarter" idx="18" hasCustomPrompt="1"/>
          </p:nvPr>
        </p:nvSpPr>
        <p:spPr bwMode="gray">
          <a:xfrm>
            <a:off x="1142849" y="1143087"/>
            <a:ext cx="3429196" cy="380065"/>
          </a:xfrm>
        </p:spPr>
        <p:txBody>
          <a:bodyPr anchor="t"/>
          <a:lstStyle>
            <a:lvl1pPr marL="0" indent="0" algn="l">
              <a:lnSpc>
                <a:spcPct val="75000"/>
              </a:lnSpc>
              <a:spcAft>
                <a:spcPts val="0"/>
              </a:spcAft>
              <a:buFont typeface="Arial" panose="020B0604020202020204" pitchFamily="34" charset="0"/>
              <a:buNone/>
              <a:defRPr sz="2381" b="0" cap="all" spc="26" baseline="0">
                <a:solidFill>
                  <a:schemeClr val="bg1"/>
                </a:solidFill>
                <a:latin typeface="+mj-lt"/>
              </a:defRPr>
            </a:lvl1pPr>
            <a:lvl2pPr marL="0" indent="0" algn="l">
              <a:lnSpc>
                <a:spcPct val="75000"/>
              </a:lnSpc>
              <a:spcBef>
                <a:spcPts val="0"/>
              </a:spcBef>
              <a:spcAft>
                <a:spcPts val="0"/>
              </a:spcAft>
              <a:buNone/>
              <a:defRPr sz="2381" b="0" cap="all" spc="26" baseline="0">
                <a:solidFill>
                  <a:schemeClr val="bg1"/>
                </a:solidFill>
                <a:latin typeface="+mj-lt"/>
              </a:defRPr>
            </a:lvl2pPr>
            <a:lvl3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3pPr>
            <a:lvl4pPr marL="0" indent="0" algn="l">
              <a:lnSpc>
                <a:spcPct val="75000"/>
              </a:lnSpc>
              <a:spcBef>
                <a:spcPts val="0"/>
              </a:spcBef>
              <a:spcAft>
                <a:spcPts val="0"/>
              </a:spcAft>
              <a:buNone/>
              <a:defRPr sz="2381" b="0" cap="all" spc="26" baseline="0">
                <a:solidFill>
                  <a:schemeClr val="bg1"/>
                </a:solidFill>
                <a:latin typeface="+mj-lt"/>
              </a:defRPr>
            </a:lvl4pPr>
            <a:lvl5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5pPr>
            <a:lvl6pPr marL="0" indent="0" algn="l">
              <a:lnSpc>
                <a:spcPct val="75000"/>
              </a:lnSpc>
              <a:spcBef>
                <a:spcPts val="0"/>
              </a:spcBef>
              <a:spcAft>
                <a:spcPts val="0"/>
              </a:spcAft>
              <a:buFont typeface="Arial" panose="020B0604020202020204" pitchFamily="34" charset="0"/>
              <a:buNone/>
              <a:defRPr sz="2381" b="0" cap="all" baseline="0">
                <a:solidFill>
                  <a:schemeClr val="bg1"/>
                </a:solidFill>
                <a:latin typeface="+mj-lt"/>
              </a:defRPr>
            </a:lvl6pPr>
            <a:lvl7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7pPr>
            <a:lvl8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8pPr>
            <a:lvl9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9pPr>
          </a:lstStyle>
          <a:p>
            <a:pPr lvl="0"/>
            <a:r>
              <a:rPr lang="en-US"/>
              <a:t>Chapter ##</a:t>
            </a:r>
          </a:p>
        </p:txBody>
      </p:sp>
    </p:spTree>
    <p:extLst>
      <p:ext uri="{BB962C8B-B14F-4D97-AF65-F5344CB8AC3E}">
        <p14:creationId xmlns:p14="http://schemas.microsoft.com/office/powerpoint/2010/main" val="13149693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148" y="382168"/>
            <a:ext cx="6477896" cy="760132"/>
          </a:xfrm>
        </p:spPr>
        <p:txBody>
          <a:bodyPr/>
          <a:lstStyle>
            <a:lvl1pPr>
              <a:defRPr b="0"/>
            </a:lvl1pPr>
          </a:lstStyle>
          <a:p>
            <a:r>
              <a:rPr lang="en-US" noProof="0"/>
              <a:t>Click to edit Master title style</a:t>
            </a:r>
            <a:endParaRPr lang="en-US" noProof="0" dirty="0"/>
          </a:p>
        </p:txBody>
      </p:sp>
      <p:sp>
        <p:nvSpPr>
          <p:cNvPr id="10" name="Date Placeholder 9"/>
          <p:cNvSpPr>
            <a:spLocks noGrp="1"/>
          </p:cNvSpPr>
          <p:nvPr>
            <p:ph type="dt" sz="half" idx="15"/>
          </p:nvPr>
        </p:nvSpPr>
        <p:spPr/>
        <p:txBody>
          <a:bodyPr/>
          <a:lstStyle/>
          <a:p>
            <a:pPr>
              <a:defRPr/>
            </a:pPr>
            <a:fld id="{474525D6-7437-4030-9FCC-D6422EC87A8D}" type="datetime5">
              <a:rPr lang="en-US" smtClean="0"/>
              <a:t>6-Oct-21</a:t>
            </a:fld>
            <a:endParaRPr lang="en-US" dirty="0"/>
          </a:p>
        </p:txBody>
      </p:sp>
      <p:sp>
        <p:nvSpPr>
          <p:cNvPr id="11" name="Footer Placeholder 10"/>
          <p:cNvSpPr>
            <a:spLocks noGrp="1"/>
          </p:cNvSpPr>
          <p:nvPr>
            <p:ph type="ftr" sz="quarter" idx="16"/>
          </p:nvPr>
        </p:nvSpPr>
        <p:spPr/>
        <p:txBody>
          <a:bodyPr/>
          <a:lstStyle/>
          <a:p>
            <a:pPr>
              <a:defRPr/>
            </a:pPr>
            <a:r>
              <a:rPr lang="en-US"/>
              <a:t>FOOTER / PRESENTATION NAME</a:t>
            </a:r>
            <a:endParaRPr lang="en-US" dirty="0"/>
          </a:p>
        </p:txBody>
      </p:sp>
      <p:sp>
        <p:nvSpPr>
          <p:cNvPr id="12" name="Slide Number Placeholder 11"/>
          <p:cNvSpPr>
            <a:spLocks noGrp="1"/>
          </p:cNvSpPr>
          <p:nvPr>
            <p:ph type="sldNum" sz="quarter" idx="17"/>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4255940586"/>
      </p:ext>
    </p:extLst>
  </p:cSld>
  <p:clrMapOvr>
    <a:masterClrMapping/>
  </p:clrMapOvr>
  <p:transition spd="med">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CCCEE-BB18-471D-B0A7-7E46E3084CD1}"/>
              </a:ext>
            </a:extLst>
          </p:cNvPr>
          <p:cNvSpPr>
            <a:spLocks noGrp="1"/>
          </p:cNvSpPr>
          <p:nvPr>
            <p:ph type="title"/>
          </p:nvPr>
        </p:nvSpPr>
        <p:spPr bwMode="gray"/>
        <p:txBody>
          <a:bodyPr/>
          <a:lstStyle>
            <a:lvl1pPr>
              <a:defRPr/>
            </a:lvl1pPr>
          </a:lstStyle>
          <a:p>
            <a:r>
              <a:rPr lang="en-GB"/>
              <a:t>Click to edit Master title style</a:t>
            </a:r>
            <a:endParaRPr lang="en-US"/>
          </a:p>
        </p:txBody>
      </p:sp>
      <p:sp>
        <p:nvSpPr>
          <p:cNvPr id="5" name="Slide Number Placeholder 4">
            <a:extLst>
              <a:ext uri="{FF2B5EF4-FFF2-40B4-BE49-F238E27FC236}">
                <a16:creationId xmlns:a16="http://schemas.microsoft.com/office/drawing/2014/main" id="{48BE99E7-3046-4107-A593-19BA37D0AE65}"/>
              </a:ext>
            </a:extLst>
          </p:cNvPr>
          <p:cNvSpPr>
            <a:spLocks noGrp="1"/>
          </p:cNvSpPr>
          <p:nvPr>
            <p:ph type="sldNum" sz="quarter" idx="12"/>
          </p:nvPr>
        </p:nvSpPr>
        <p:spPr bwMode="gray"/>
        <p:txBody>
          <a:bodyPr/>
          <a:lstStyle/>
          <a:p>
            <a:pPr>
              <a:defRPr/>
            </a:pPr>
            <a:fld id="{66C8B3C2-955F-42B1-8DED-EE47D723596C}" type="slidenum">
              <a:rPr lang="en-US" noProof="0" smtClean="0"/>
              <a:pPr>
                <a:defRPr/>
              </a:pPr>
              <a:t>‹#›</a:t>
            </a:fld>
            <a:endParaRPr lang="en-US" noProof="0"/>
          </a:p>
        </p:txBody>
      </p:sp>
      <p:sp>
        <p:nvSpPr>
          <p:cNvPr id="3" name="Date Placeholder 2">
            <a:extLst>
              <a:ext uri="{FF2B5EF4-FFF2-40B4-BE49-F238E27FC236}">
                <a16:creationId xmlns:a16="http://schemas.microsoft.com/office/drawing/2014/main" id="{84CAE2D6-B5EF-4F25-B3BE-F859CCD73E50}"/>
              </a:ext>
            </a:extLst>
          </p:cNvPr>
          <p:cNvSpPr>
            <a:spLocks noGrp="1"/>
          </p:cNvSpPr>
          <p:nvPr>
            <p:ph type="dt" sz="half" idx="13"/>
          </p:nvPr>
        </p:nvSpPr>
        <p:spPr/>
        <p:txBody>
          <a:bodyPr/>
          <a:lstStyle/>
          <a:p>
            <a:fld id="{E5FAB133-C50D-4EA0-B444-2D49612E19BB}" type="datetime5">
              <a:rPr lang="en-US" smtClean="0"/>
              <a:t>6-Oct-21</a:t>
            </a:fld>
            <a:endParaRPr lang="en-US"/>
          </a:p>
        </p:txBody>
      </p:sp>
      <p:sp>
        <p:nvSpPr>
          <p:cNvPr id="4" name="Footer Placeholder 3">
            <a:extLst>
              <a:ext uri="{FF2B5EF4-FFF2-40B4-BE49-F238E27FC236}">
                <a16:creationId xmlns:a16="http://schemas.microsoft.com/office/drawing/2014/main" id="{6E6FB8C4-B84D-4414-ABD9-4D96C25B8B7A}"/>
              </a:ext>
            </a:extLst>
          </p:cNvPr>
          <p:cNvSpPr>
            <a:spLocks noGrp="1"/>
          </p:cNvSpPr>
          <p:nvPr>
            <p:ph type="ftr" sz="quarter" idx="14"/>
          </p:nvPr>
        </p:nvSpPr>
        <p:spPr/>
        <p:txBody>
          <a:bodyPr/>
          <a:lstStyle/>
          <a:p>
            <a:pPr defTabSz="1218764">
              <a:lnSpc>
                <a:spcPct val="80000"/>
              </a:lnSpc>
            </a:pPr>
            <a:r>
              <a:rPr lang="en-GB"/>
              <a:t>FOOTER / PRESENTATION NAME</a:t>
            </a:r>
          </a:p>
        </p:txBody>
      </p:sp>
      <p:sp>
        <p:nvSpPr>
          <p:cNvPr id="6" name="Text Placeholder 15">
            <a:extLst>
              <a:ext uri="{FF2B5EF4-FFF2-40B4-BE49-F238E27FC236}">
                <a16:creationId xmlns:a16="http://schemas.microsoft.com/office/drawing/2014/main" id="{E837DF00-6E86-498E-B339-662636A39711}"/>
              </a:ext>
            </a:extLst>
          </p:cNvPr>
          <p:cNvSpPr>
            <a:spLocks noGrp="1"/>
          </p:cNvSpPr>
          <p:nvPr>
            <p:ph type="body" sz="quarter" idx="29"/>
          </p:nvPr>
        </p:nvSpPr>
        <p:spPr bwMode="gray">
          <a:xfrm>
            <a:off x="380670" y="784272"/>
            <a:ext cx="10286542"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387305779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16" name="Text Placeholder 15"/>
          <p:cNvSpPr>
            <a:spLocks noGrp="1"/>
          </p:cNvSpPr>
          <p:nvPr>
            <p:ph type="body" sz="quarter" idx="25"/>
          </p:nvPr>
        </p:nvSpPr>
        <p:spPr bwMode="gray">
          <a:xfrm>
            <a:off x="380670" y="1524284"/>
            <a:ext cx="8001469" cy="4571483"/>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25F191EB-D249-41BF-9D6B-80504B2736D8}"/>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BAB6CD1F-3B5B-4B59-A9F6-256DD84CEE60}"/>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C52B199-2206-4D3D-BC84-D1FA2CCF450E}"/>
              </a:ext>
            </a:extLst>
          </p:cNvPr>
          <p:cNvSpPr>
            <a:spLocks noGrp="1"/>
          </p:cNvSpPr>
          <p:nvPr>
            <p:ph type="dt" sz="half" idx="30"/>
          </p:nvPr>
        </p:nvSpPr>
        <p:spPr/>
        <p:txBody>
          <a:bodyPr/>
          <a:lstStyle/>
          <a:p>
            <a:fld id="{3EAEEFD0-BA9E-48E6-85C7-B0FBABA799E4}" type="datetime5">
              <a:rPr lang="en-US" smtClean="0"/>
              <a:t>6-Oct-21</a:t>
            </a:fld>
            <a:endParaRPr lang="en-US"/>
          </a:p>
        </p:txBody>
      </p:sp>
      <p:sp>
        <p:nvSpPr>
          <p:cNvPr id="4" name="Footer Placeholder 3">
            <a:extLst>
              <a:ext uri="{FF2B5EF4-FFF2-40B4-BE49-F238E27FC236}">
                <a16:creationId xmlns:a16="http://schemas.microsoft.com/office/drawing/2014/main" id="{54F2F4FF-1657-47A8-8899-25727D9E9201}"/>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9" name="Text Placeholder 15">
            <a:extLst>
              <a:ext uri="{FF2B5EF4-FFF2-40B4-BE49-F238E27FC236}">
                <a16:creationId xmlns:a16="http://schemas.microsoft.com/office/drawing/2014/main" id="{4623F181-7AAA-40D1-941D-32DC32669AF1}"/>
              </a:ext>
            </a:extLst>
          </p:cNvPr>
          <p:cNvSpPr>
            <a:spLocks noGrp="1"/>
          </p:cNvSpPr>
          <p:nvPr>
            <p:ph type="body" sz="quarter" idx="29"/>
          </p:nvPr>
        </p:nvSpPr>
        <p:spPr bwMode="gray">
          <a:xfrm>
            <a:off x="380670" y="784272"/>
            <a:ext cx="10286542"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38901588"/>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Title + Text">
    <p:spTree>
      <p:nvGrpSpPr>
        <p:cNvPr id="1" name=""/>
        <p:cNvGrpSpPr/>
        <p:nvPr/>
      </p:nvGrpSpPr>
      <p:grpSpPr>
        <a:xfrm>
          <a:off x="0" y="0"/>
          <a:ext cx="0" cy="0"/>
          <a:chOff x="0" y="0"/>
          <a:chExt cx="0" cy="0"/>
        </a:xfrm>
      </p:grpSpPr>
      <p:sp>
        <p:nvSpPr>
          <p:cNvPr id="16" name="Text Placeholder 15"/>
          <p:cNvSpPr>
            <a:spLocks noGrp="1"/>
          </p:cNvSpPr>
          <p:nvPr>
            <p:ph type="body" sz="quarter" idx="25"/>
          </p:nvPr>
        </p:nvSpPr>
        <p:spPr bwMode="gray">
          <a:xfrm>
            <a:off x="8001328" y="2667029"/>
            <a:ext cx="2664177" cy="3048671"/>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3">
            <a:extLst>
              <a:ext uri="{FF2B5EF4-FFF2-40B4-BE49-F238E27FC236}">
                <a16:creationId xmlns:a16="http://schemas.microsoft.com/office/drawing/2014/main" id="{8CE06E7D-B6FA-45B6-BAC5-48D084D08246}"/>
              </a:ext>
            </a:extLst>
          </p:cNvPr>
          <p:cNvSpPr>
            <a:spLocks noGrp="1"/>
          </p:cNvSpPr>
          <p:nvPr>
            <p:ph type="title" hasCustomPrompt="1"/>
          </p:nvPr>
        </p:nvSpPr>
        <p:spPr bwMode="gray">
          <a:xfrm>
            <a:off x="380672" y="381456"/>
            <a:ext cx="6477195" cy="5333532"/>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This is a slide for typo only. You can use it for a big long key message or for a quote. Increase font size </a:t>
            </a:r>
            <a:br>
              <a:rPr lang="en-US"/>
            </a:br>
            <a:r>
              <a:rPr lang="en-US"/>
              <a:t>if necessary, </a:t>
            </a:r>
            <a:br>
              <a:rPr lang="en-US"/>
            </a:br>
            <a:r>
              <a:rPr lang="en-US"/>
              <a:t>don’t decrease it.</a:t>
            </a:r>
          </a:p>
        </p:txBody>
      </p:sp>
      <p:sp>
        <p:nvSpPr>
          <p:cNvPr id="7" name="Slide Number Placeholder 6">
            <a:extLst>
              <a:ext uri="{FF2B5EF4-FFF2-40B4-BE49-F238E27FC236}">
                <a16:creationId xmlns:a16="http://schemas.microsoft.com/office/drawing/2014/main" id="{25F191EB-D249-41BF-9D6B-80504B2736D8}"/>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Date Placeholder 1">
            <a:extLst>
              <a:ext uri="{FF2B5EF4-FFF2-40B4-BE49-F238E27FC236}">
                <a16:creationId xmlns:a16="http://schemas.microsoft.com/office/drawing/2014/main" id="{99FB6C60-CD6F-4CF8-A760-16499423B78F}"/>
              </a:ext>
            </a:extLst>
          </p:cNvPr>
          <p:cNvSpPr>
            <a:spLocks noGrp="1"/>
          </p:cNvSpPr>
          <p:nvPr>
            <p:ph type="dt" sz="half" idx="29"/>
          </p:nvPr>
        </p:nvSpPr>
        <p:spPr/>
        <p:txBody>
          <a:bodyPr/>
          <a:lstStyle/>
          <a:p>
            <a:fld id="{43CCBD8D-E96C-4D33-A6BF-1AEA472B35BD}" type="datetime5">
              <a:rPr lang="en-US" smtClean="0"/>
              <a:t>6-Oct-21</a:t>
            </a:fld>
            <a:endParaRPr lang="en-US"/>
          </a:p>
        </p:txBody>
      </p:sp>
      <p:sp>
        <p:nvSpPr>
          <p:cNvPr id="3" name="Footer Placeholder 2">
            <a:extLst>
              <a:ext uri="{FF2B5EF4-FFF2-40B4-BE49-F238E27FC236}">
                <a16:creationId xmlns:a16="http://schemas.microsoft.com/office/drawing/2014/main" id="{9970DF54-8C2C-40EF-B81E-43566D7FF439}"/>
              </a:ext>
            </a:extLst>
          </p:cNvPr>
          <p:cNvSpPr>
            <a:spLocks noGrp="1"/>
          </p:cNvSpPr>
          <p:nvPr>
            <p:ph type="ftr" sz="quarter" idx="30"/>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234025112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239591" y="381455"/>
            <a:ext cx="4571758" cy="609548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4" name="Text Placeholder 3"/>
          <p:cNvSpPr>
            <a:spLocks noGrp="1"/>
          </p:cNvSpPr>
          <p:nvPr>
            <p:ph type="body" sz="quarter" idx="18"/>
          </p:nvPr>
        </p:nvSpPr>
        <p:spPr bwMode="gray">
          <a:xfrm>
            <a:off x="380672" y="1524284"/>
            <a:ext cx="6096394" cy="4571658"/>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Slide Number Placeholder 8">
            <a:extLst>
              <a:ext uri="{FF2B5EF4-FFF2-40B4-BE49-F238E27FC236}">
                <a16:creationId xmlns:a16="http://schemas.microsoft.com/office/drawing/2014/main" id="{44BAF595-D6B0-4115-BF0C-7AB35F6E2A3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3421B617-5265-4D13-89ED-EF79F42F8929}"/>
              </a:ext>
            </a:extLst>
          </p:cNvPr>
          <p:cNvSpPr>
            <a:spLocks noGrp="1"/>
          </p:cNvSpPr>
          <p:nvPr>
            <p:ph type="title"/>
          </p:nvPr>
        </p:nvSpPr>
        <p:spPr>
          <a:xfrm>
            <a:off x="380672" y="381455"/>
            <a:ext cx="6096394" cy="380943"/>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E1CFE3F8-3917-4ACF-87DB-524464255882}"/>
              </a:ext>
            </a:extLst>
          </p:cNvPr>
          <p:cNvSpPr>
            <a:spLocks noGrp="1"/>
          </p:cNvSpPr>
          <p:nvPr>
            <p:ph type="dt" sz="half" idx="30"/>
          </p:nvPr>
        </p:nvSpPr>
        <p:spPr/>
        <p:txBody>
          <a:bodyPr/>
          <a:lstStyle/>
          <a:p>
            <a:fld id="{9A2386E3-3F66-456A-B3F7-787D0E849BAA}" type="datetime5">
              <a:rPr lang="en-US" smtClean="0"/>
              <a:t>6-Oct-21</a:t>
            </a:fld>
            <a:endParaRPr lang="en-US"/>
          </a:p>
        </p:txBody>
      </p:sp>
      <p:sp>
        <p:nvSpPr>
          <p:cNvPr id="3" name="Footer Placeholder 2">
            <a:extLst>
              <a:ext uri="{FF2B5EF4-FFF2-40B4-BE49-F238E27FC236}">
                <a16:creationId xmlns:a16="http://schemas.microsoft.com/office/drawing/2014/main" id="{C7956A2A-A273-4213-956D-A82C498BE45E}"/>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2" name="Text Placeholder 15">
            <a:extLst>
              <a:ext uri="{FF2B5EF4-FFF2-40B4-BE49-F238E27FC236}">
                <a16:creationId xmlns:a16="http://schemas.microsoft.com/office/drawing/2014/main" id="{B22B632F-0E6C-41B5-A2ED-619CB5FC9183}"/>
              </a:ext>
            </a:extLst>
          </p:cNvPr>
          <p:cNvSpPr>
            <a:spLocks noGrp="1"/>
          </p:cNvSpPr>
          <p:nvPr>
            <p:ph type="body" sz="quarter" idx="29"/>
          </p:nvPr>
        </p:nvSpPr>
        <p:spPr bwMode="gray">
          <a:xfrm>
            <a:off x="380670" y="784272"/>
            <a:ext cx="6096527"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155801800"/>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 2 Images (S)">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7238942" y="381455"/>
            <a:ext cx="4572407" cy="3047547"/>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2" name="Text Placeholder 11"/>
          <p:cNvSpPr>
            <a:spLocks noGrp="1"/>
          </p:cNvSpPr>
          <p:nvPr>
            <p:ph type="body" sz="quarter" idx="19"/>
          </p:nvPr>
        </p:nvSpPr>
        <p:spPr bwMode="gray">
          <a:xfrm>
            <a:off x="380672" y="1524284"/>
            <a:ext cx="6096394" cy="4571317"/>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1" name="Picture Placeholder 3"/>
          <p:cNvSpPr>
            <a:spLocks noGrp="1"/>
          </p:cNvSpPr>
          <p:nvPr>
            <p:ph type="pic" sz="quarter" idx="23"/>
          </p:nvPr>
        </p:nvSpPr>
        <p:spPr bwMode="gray">
          <a:xfrm>
            <a:off x="7239592" y="3429002"/>
            <a:ext cx="4571758" cy="304793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D766EDC9-03D1-4091-B158-5A202037D7A7}"/>
              </a:ext>
            </a:extLst>
          </p:cNvPr>
          <p:cNvSpPr>
            <a:spLocks noGrp="1"/>
          </p:cNvSpPr>
          <p:nvPr>
            <p:ph type="title"/>
          </p:nvPr>
        </p:nvSpPr>
        <p:spPr>
          <a:xfrm>
            <a:off x="380673" y="381455"/>
            <a:ext cx="6096525" cy="380943"/>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C0556352-B1B7-4996-95C4-C8CC0BAE3329}"/>
              </a:ext>
            </a:extLst>
          </p:cNvPr>
          <p:cNvSpPr>
            <a:spLocks noGrp="1"/>
          </p:cNvSpPr>
          <p:nvPr>
            <p:ph type="dt" sz="half" idx="30"/>
          </p:nvPr>
        </p:nvSpPr>
        <p:spPr/>
        <p:txBody>
          <a:bodyPr/>
          <a:lstStyle/>
          <a:p>
            <a:fld id="{9B8F4946-8F0C-4061-A3C4-A34DC72053C2}" type="datetime5">
              <a:rPr lang="en-US" smtClean="0"/>
              <a:t>6-Oct-21</a:t>
            </a:fld>
            <a:endParaRPr lang="en-US"/>
          </a:p>
        </p:txBody>
      </p:sp>
      <p:sp>
        <p:nvSpPr>
          <p:cNvPr id="3" name="Footer Placeholder 2">
            <a:extLst>
              <a:ext uri="{FF2B5EF4-FFF2-40B4-BE49-F238E27FC236}">
                <a16:creationId xmlns:a16="http://schemas.microsoft.com/office/drawing/2014/main" id="{6AA4A238-EB94-4695-B096-A261F0D88447}"/>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3" name="Text Placeholder 15">
            <a:extLst>
              <a:ext uri="{FF2B5EF4-FFF2-40B4-BE49-F238E27FC236}">
                <a16:creationId xmlns:a16="http://schemas.microsoft.com/office/drawing/2014/main" id="{3C94E3D7-F386-4B34-AB31-0E8D9F4ABF43}"/>
              </a:ext>
            </a:extLst>
          </p:cNvPr>
          <p:cNvSpPr>
            <a:spLocks noGrp="1"/>
          </p:cNvSpPr>
          <p:nvPr>
            <p:ph type="body" sz="quarter" idx="29"/>
          </p:nvPr>
        </p:nvSpPr>
        <p:spPr bwMode="gray">
          <a:xfrm>
            <a:off x="380670" y="784272"/>
            <a:ext cx="6096527"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107651782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 4 Images (S)">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7239196" y="381455"/>
            <a:ext cx="2286395" cy="3048420"/>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1" name="Picture Placeholder 3"/>
          <p:cNvSpPr>
            <a:spLocks noGrp="1"/>
          </p:cNvSpPr>
          <p:nvPr>
            <p:ph type="pic" sz="quarter" idx="23"/>
          </p:nvPr>
        </p:nvSpPr>
        <p:spPr bwMode="gray">
          <a:xfrm>
            <a:off x="9525590" y="381455"/>
            <a:ext cx="2285758" cy="3047547"/>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7" name="Picture Placeholder 3"/>
          <p:cNvSpPr>
            <a:spLocks noGrp="1"/>
          </p:cNvSpPr>
          <p:nvPr>
            <p:ph type="pic" sz="quarter" idx="24"/>
          </p:nvPr>
        </p:nvSpPr>
        <p:spPr bwMode="gray">
          <a:xfrm>
            <a:off x="7239196" y="3429002"/>
            <a:ext cx="2286395" cy="3047933"/>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8" name="Picture Placeholder 3"/>
          <p:cNvSpPr>
            <a:spLocks noGrp="1"/>
          </p:cNvSpPr>
          <p:nvPr>
            <p:ph type="pic" sz="quarter" idx="25"/>
          </p:nvPr>
        </p:nvSpPr>
        <p:spPr bwMode="gray">
          <a:xfrm>
            <a:off x="9525590" y="3429001"/>
            <a:ext cx="2285758" cy="3048933"/>
          </a:xfrm>
          <a:solidFill>
            <a:schemeClr val="bg2"/>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2" name="Text Placeholder 11"/>
          <p:cNvSpPr>
            <a:spLocks noGrp="1"/>
          </p:cNvSpPr>
          <p:nvPr>
            <p:ph type="body" sz="quarter" idx="19"/>
          </p:nvPr>
        </p:nvSpPr>
        <p:spPr bwMode="gray">
          <a:xfrm>
            <a:off x="380672" y="1524284"/>
            <a:ext cx="6096394" cy="4571317"/>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A35A2365-FCDD-467A-88B6-124DF709D9B1}"/>
              </a:ext>
            </a:extLst>
          </p:cNvPr>
          <p:cNvSpPr>
            <a:spLocks noGrp="1"/>
          </p:cNvSpPr>
          <p:nvPr>
            <p:ph type="title"/>
          </p:nvPr>
        </p:nvSpPr>
        <p:spPr>
          <a:xfrm>
            <a:off x="380673" y="381455"/>
            <a:ext cx="6096525" cy="380943"/>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2DCB82FC-8D1A-4104-9C4E-A21C40F9C5B0}"/>
              </a:ext>
            </a:extLst>
          </p:cNvPr>
          <p:cNvSpPr>
            <a:spLocks noGrp="1"/>
          </p:cNvSpPr>
          <p:nvPr>
            <p:ph type="dt" sz="half" idx="30"/>
          </p:nvPr>
        </p:nvSpPr>
        <p:spPr/>
        <p:txBody>
          <a:bodyPr/>
          <a:lstStyle/>
          <a:p>
            <a:fld id="{49988B40-2A57-43A9-A631-8D13EA54885C}" type="datetime5">
              <a:rPr lang="en-US" smtClean="0"/>
              <a:t>6-Oct-21</a:t>
            </a:fld>
            <a:endParaRPr lang="en-US"/>
          </a:p>
        </p:txBody>
      </p:sp>
      <p:sp>
        <p:nvSpPr>
          <p:cNvPr id="3" name="Footer Placeholder 2">
            <a:extLst>
              <a:ext uri="{FF2B5EF4-FFF2-40B4-BE49-F238E27FC236}">
                <a16:creationId xmlns:a16="http://schemas.microsoft.com/office/drawing/2014/main" id="{69C5D8D5-3D06-4B24-AF6B-60DE54052214}"/>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4" name="Text Placeholder 15">
            <a:extLst>
              <a:ext uri="{FF2B5EF4-FFF2-40B4-BE49-F238E27FC236}">
                <a16:creationId xmlns:a16="http://schemas.microsoft.com/office/drawing/2014/main" id="{B444F0F1-83F3-46A2-B21B-6FAD549A6EDC}"/>
              </a:ext>
            </a:extLst>
          </p:cNvPr>
          <p:cNvSpPr>
            <a:spLocks noGrp="1"/>
          </p:cNvSpPr>
          <p:nvPr>
            <p:ph type="body" sz="quarter" idx="29"/>
          </p:nvPr>
        </p:nvSpPr>
        <p:spPr bwMode="gray">
          <a:xfrm>
            <a:off x="380670" y="784272"/>
            <a:ext cx="6096527"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46176939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714804" y="381455"/>
            <a:ext cx="6096545" cy="6095091"/>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4" name="Text Placeholder 3"/>
          <p:cNvSpPr>
            <a:spLocks noGrp="1"/>
          </p:cNvSpPr>
          <p:nvPr>
            <p:ph type="body" sz="quarter" idx="18"/>
          </p:nvPr>
        </p:nvSpPr>
        <p:spPr bwMode="gray">
          <a:xfrm>
            <a:off x="380672" y="1524284"/>
            <a:ext cx="4572132" cy="4571483"/>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Slide Number Placeholder 8">
            <a:extLst>
              <a:ext uri="{FF2B5EF4-FFF2-40B4-BE49-F238E27FC236}">
                <a16:creationId xmlns:a16="http://schemas.microsoft.com/office/drawing/2014/main" id="{95237B40-96CE-407E-9B62-DBF5BCDCA0B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ACE61CAB-1CD3-40DC-9357-7B9E256CA5B2}"/>
              </a:ext>
            </a:extLst>
          </p:cNvPr>
          <p:cNvSpPr>
            <a:spLocks noGrp="1"/>
          </p:cNvSpPr>
          <p:nvPr>
            <p:ph type="title"/>
          </p:nvPr>
        </p:nvSpPr>
        <p:spPr>
          <a:xfrm>
            <a:off x="380672" y="381455"/>
            <a:ext cx="4572132" cy="380943"/>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02F49623-D6E8-4FD8-AAA6-48512F1833AF}"/>
              </a:ext>
            </a:extLst>
          </p:cNvPr>
          <p:cNvSpPr>
            <a:spLocks noGrp="1"/>
          </p:cNvSpPr>
          <p:nvPr>
            <p:ph type="dt" sz="half" idx="30"/>
          </p:nvPr>
        </p:nvSpPr>
        <p:spPr/>
        <p:txBody>
          <a:bodyPr/>
          <a:lstStyle/>
          <a:p>
            <a:fld id="{26E43DCD-6BD4-4267-8509-462E384C7565}" type="datetime5">
              <a:rPr lang="en-US" smtClean="0"/>
              <a:t>6-Oct-21</a:t>
            </a:fld>
            <a:endParaRPr lang="en-US"/>
          </a:p>
        </p:txBody>
      </p:sp>
      <p:sp>
        <p:nvSpPr>
          <p:cNvPr id="3" name="Footer Placeholder 2">
            <a:extLst>
              <a:ext uri="{FF2B5EF4-FFF2-40B4-BE49-F238E27FC236}">
                <a16:creationId xmlns:a16="http://schemas.microsoft.com/office/drawing/2014/main" id="{2AEE9A4F-6859-49C5-BEE3-A08CC29FCE26}"/>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2" name="Text Placeholder 15">
            <a:extLst>
              <a:ext uri="{FF2B5EF4-FFF2-40B4-BE49-F238E27FC236}">
                <a16:creationId xmlns:a16="http://schemas.microsoft.com/office/drawing/2014/main" id="{9C3F0764-86DD-4CAC-8532-ABAA551BB6DA}"/>
              </a:ext>
            </a:extLst>
          </p:cNvPr>
          <p:cNvSpPr>
            <a:spLocks noGrp="1"/>
          </p:cNvSpPr>
          <p:nvPr>
            <p:ph type="body" sz="quarter" idx="29"/>
          </p:nvPr>
        </p:nvSpPr>
        <p:spPr bwMode="gray">
          <a:xfrm>
            <a:off x="380671" y="784272"/>
            <a:ext cx="4572133"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02080215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ext + 2 Images (M)">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5714068" y="381455"/>
            <a:ext cx="6097282" cy="3047547"/>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2" name="Text Placeholder 11"/>
          <p:cNvSpPr>
            <a:spLocks noGrp="1"/>
          </p:cNvSpPr>
          <p:nvPr>
            <p:ph type="body" sz="quarter" idx="19"/>
          </p:nvPr>
        </p:nvSpPr>
        <p:spPr bwMode="gray">
          <a:xfrm>
            <a:off x="380672" y="1524284"/>
            <a:ext cx="4572132" cy="4571317"/>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1" name="Picture Placeholder 3"/>
          <p:cNvSpPr>
            <a:spLocks noGrp="1"/>
          </p:cNvSpPr>
          <p:nvPr>
            <p:ph type="pic" sz="quarter" idx="23"/>
          </p:nvPr>
        </p:nvSpPr>
        <p:spPr bwMode="gray">
          <a:xfrm>
            <a:off x="5714935" y="3429002"/>
            <a:ext cx="6096415" cy="304793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53C7E6E0-F836-4EAB-8A75-37AAF7FDD02F}"/>
              </a:ext>
            </a:extLst>
          </p:cNvPr>
          <p:cNvSpPr>
            <a:spLocks noGrp="1"/>
          </p:cNvSpPr>
          <p:nvPr>
            <p:ph type="title"/>
          </p:nvPr>
        </p:nvSpPr>
        <p:spPr>
          <a:xfrm>
            <a:off x="380672" y="381455"/>
            <a:ext cx="4572132" cy="380943"/>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AD360260-EB3C-4A05-874E-6BB4FE9A35AA}"/>
              </a:ext>
            </a:extLst>
          </p:cNvPr>
          <p:cNvSpPr>
            <a:spLocks noGrp="1"/>
          </p:cNvSpPr>
          <p:nvPr>
            <p:ph type="dt" sz="half" idx="30"/>
          </p:nvPr>
        </p:nvSpPr>
        <p:spPr/>
        <p:txBody>
          <a:bodyPr/>
          <a:lstStyle/>
          <a:p>
            <a:fld id="{269622FE-4C97-4F26-9473-A18E06F09F48}" type="datetime5">
              <a:rPr lang="en-US" smtClean="0"/>
              <a:t>6-Oct-21</a:t>
            </a:fld>
            <a:endParaRPr lang="en-US"/>
          </a:p>
        </p:txBody>
      </p:sp>
      <p:sp>
        <p:nvSpPr>
          <p:cNvPr id="3" name="Footer Placeholder 2">
            <a:extLst>
              <a:ext uri="{FF2B5EF4-FFF2-40B4-BE49-F238E27FC236}">
                <a16:creationId xmlns:a16="http://schemas.microsoft.com/office/drawing/2014/main" id="{EE3356E6-58B4-4E8A-992C-DA8DBA4537F0}"/>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3" name="Text Placeholder 15">
            <a:extLst>
              <a:ext uri="{FF2B5EF4-FFF2-40B4-BE49-F238E27FC236}">
                <a16:creationId xmlns:a16="http://schemas.microsoft.com/office/drawing/2014/main" id="{C377903C-2A71-494B-BCBB-A6A16110065E}"/>
              </a:ext>
            </a:extLst>
          </p:cNvPr>
          <p:cNvSpPr>
            <a:spLocks noGrp="1"/>
          </p:cNvSpPr>
          <p:nvPr>
            <p:ph type="body" sz="quarter" idx="29"/>
          </p:nvPr>
        </p:nvSpPr>
        <p:spPr bwMode="gray">
          <a:xfrm>
            <a:off x="380671" y="784272"/>
            <a:ext cx="4572133"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169443083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ext + 4 Images (M)">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5714936" y="381455"/>
            <a:ext cx="3048525" cy="3048420"/>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1" name="Picture Placeholder 3"/>
          <p:cNvSpPr>
            <a:spLocks noGrp="1"/>
          </p:cNvSpPr>
          <p:nvPr>
            <p:ph type="pic" sz="quarter" idx="23"/>
          </p:nvPr>
        </p:nvSpPr>
        <p:spPr bwMode="gray">
          <a:xfrm>
            <a:off x="8763461" y="381455"/>
            <a:ext cx="3047888" cy="3047547"/>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7" name="Picture Placeholder 3"/>
          <p:cNvSpPr>
            <a:spLocks noGrp="1"/>
          </p:cNvSpPr>
          <p:nvPr>
            <p:ph type="pic" sz="quarter" idx="24"/>
          </p:nvPr>
        </p:nvSpPr>
        <p:spPr bwMode="gray">
          <a:xfrm>
            <a:off x="5714934" y="3429002"/>
            <a:ext cx="3048525" cy="3047933"/>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8" name="Picture Placeholder 3"/>
          <p:cNvSpPr>
            <a:spLocks noGrp="1"/>
          </p:cNvSpPr>
          <p:nvPr>
            <p:ph type="pic" sz="quarter" idx="25"/>
          </p:nvPr>
        </p:nvSpPr>
        <p:spPr bwMode="gray">
          <a:xfrm>
            <a:off x="8763459" y="3429001"/>
            <a:ext cx="3047890" cy="3048933"/>
          </a:xfrm>
          <a:solidFill>
            <a:schemeClr val="bg2"/>
          </a:solidFill>
        </p:spPr>
        <p:txBody>
          <a:bodyPr anchor="ctr"/>
          <a:lstStyle>
            <a:lvl1pPr algn="ctr">
              <a:defRPr sz="1058" b="0">
                <a:solidFill>
                  <a:schemeClr val="bg1"/>
                </a:solidFill>
              </a:defRPr>
            </a:lvl1pPr>
          </a:lstStyle>
          <a:p>
            <a:r>
              <a:rPr lang="en-GB" noProof="0"/>
              <a:t>Click icon to add picture</a:t>
            </a:r>
            <a:endParaRPr lang="en-US" noProof="0"/>
          </a:p>
        </p:txBody>
      </p:sp>
      <p:sp>
        <p:nvSpPr>
          <p:cNvPr id="12" name="Text Placeholder 11"/>
          <p:cNvSpPr>
            <a:spLocks noGrp="1"/>
          </p:cNvSpPr>
          <p:nvPr>
            <p:ph type="body" sz="quarter" idx="19"/>
          </p:nvPr>
        </p:nvSpPr>
        <p:spPr bwMode="gray">
          <a:xfrm>
            <a:off x="380672" y="1524284"/>
            <a:ext cx="4572131" cy="4571317"/>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19FDA791-2B53-4DAE-A578-997573735556}"/>
              </a:ext>
            </a:extLst>
          </p:cNvPr>
          <p:cNvSpPr>
            <a:spLocks noGrp="1"/>
          </p:cNvSpPr>
          <p:nvPr>
            <p:ph type="title"/>
          </p:nvPr>
        </p:nvSpPr>
        <p:spPr>
          <a:xfrm>
            <a:off x="380672" y="381455"/>
            <a:ext cx="4572132" cy="380943"/>
          </a:xfr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8585D6F7-F27C-4FF5-BB32-CFA80B2B0750}"/>
              </a:ext>
            </a:extLst>
          </p:cNvPr>
          <p:cNvSpPr>
            <a:spLocks noGrp="1"/>
          </p:cNvSpPr>
          <p:nvPr>
            <p:ph type="dt" sz="half" idx="30"/>
          </p:nvPr>
        </p:nvSpPr>
        <p:spPr/>
        <p:txBody>
          <a:bodyPr/>
          <a:lstStyle/>
          <a:p>
            <a:fld id="{869AB75F-5F3E-443C-A4C2-B223E74C8B1E}" type="datetime5">
              <a:rPr lang="en-US" smtClean="0"/>
              <a:t>6-Oct-21</a:t>
            </a:fld>
            <a:endParaRPr lang="en-US"/>
          </a:p>
        </p:txBody>
      </p:sp>
      <p:sp>
        <p:nvSpPr>
          <p:cNvPr id="5" name="Footer Placeholder 4">
            <a:extLst>
              <a:ext uri="{FF2B5EF4-FFF2-40B4-BE49-F238E27FC236}">
                <a16:creationId xmlns:a16="http://schemas.microsoft.com/office/drawing/2014/main" id="{7DACAD67-F557-4ADE-81FD-4289E26802E5}"/>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4" name="Text Placeholder 15">
            <a:extLst>
              <a:ext uri="{FF2B5EF4-FFF2-40B4-BE49-F238E27FC236}">
                <a16:creationId xmlns:a16="http://schemas.microsoft.com/office/drawing/2014/main" id="{3612D3A3-A05C-41B1-B6A6-4FBFCC892119}"/>
              </a:ext>
            </a:extLst>
          </p:cNvPr>
          <p:cNvSpPr>
            <a:spLocks noGrp="1"/>
          </p:cNvSpPr>
          <p:nvPr>
            <p:ph type="body" sz="quarter" idx="29"/>
          </p:nvPr>
        </p:nvSpPr>
        <p:spPr bwMode="gray">
          <a:xfrm>
            <a:off x="380671" y="784272"/>
            <a:ext cx="4572133"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9199718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 Image (L)">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4190904" y="381455"/>
            <a:ext cx="7620445" cy="6095091"/>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4" name="Text Placeholder 3"/>
          <p:cNvSpPr>
            <a:spLocks noGrp="1"/>
          </p:cNvSpPr>
          <p:nvPr>
            <p:ph type="body" sz="quarter" idx="18"/>
          </p:nvPr>
        </p:nvSpPr>
        <p:spPr bwMode="gray">
          <a:xfrm>
            <a:off x="380672" y="1524284"/>
            <a:ext cx="3047870" cy="4571483"/>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Slide Number Placeholder 8">
            <a:extLst>
              <a:ext uri="{FF2B5EF4-FFF2-40B4-BE49-F238E27FC236}">
                <a16:creationId xmlns:a16="http://schemas.microsoft.com/office/drawing/2014/main" id="{95237B40-96CE-407E-9B62-DBF5BCDCA0B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C6B79386-AA9E-4FAF-845D-D89611646265}"/>
              </a:ext>
            </a:extLst>
          </p:cNvPr>
          <p:cNvSpPr>
            <a:spLocks noGrp="1"/>
          </p:cNvSpPr>
          <p:nvPr>
            <p:ph type="title"/>
          </p:nvPr>
        </p:nvSpPr>
        <p:spPr>
          <a:xfrm>
            <a:off x="380672" y="381455"/>
            <a:ext cx="3047870" cy="380943"/>
          </a:xfr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7249BBC-123A-4F76-94A8-07D94D51A1F6}"/>
              </a:ext>
            </a:extLst>
          </p:cNvPr>
          <p:cNvSpPr>
            <a:spLocks noGrp="1"/>
          </p:cNvSpPr>
          <p:nvPr>
            <p:ph type="dt" sz="half" idx="30"/>
          </p:nvPr>
        </p:nvSpPr>
        <p:spPr/>
        <p:txBody>
          <a:bodyPr/>
          <a:lstStyle/>
          <a:p>
            <a:fld id="{D75C2CAA-826B-41E0-95E8-3AC0EBD7B53F}" type="datetime5">
              <a:rPr lang="en-US" smtClean="0"/>
              <a:t>6-Oct-21</a:t>
            </a:fld>
            <a:endParaRPr lang="en-US"/>
          </a:p>
        </p:txBody>
      </p:sp>
      <p:sp>
        <p:nvSpPr>
          <p:cNvPr id="5" name="Footer Placeholder 4">
            <a:extLst>
              <a:ext uri="{FF2B5EF4-FFF2-40B4-BE49-F238E27FC236}">
                <a16:creationId xmlns:a16="http://schemas.microsoft.com/office/drawing/2014/main" id="{E385FF3D-D193-4372-9A64-46D5247451DD}"/>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1" name="Text Placeholder 15">
            <a:extLst>
              <a:ext uri="{FF2B5EF4-FFF2-40B4-BE49-F238E27FC236}">
                <a16:creationId xmlns:a16="http://schemas.microsoft.com/office/drawing/2014/main" id="{DD649011-4EDF-4409-BCC4-CB4C98BD5DFE}"/>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31985286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b="0">
                <a:solidFill>
                  <a:schemeClr val="tx1"/>
                </a:solidFill>
              </a:defRPr>
            </a:lvl1pPr>
          </a:lstStyle>
          <a:p>
            <a:r>
              <a:rPr lang="en-US" noProof="0"/>
              <a:t>Click to edit Master title style</a:t>
            </a:r>
            <a:endParaRPr lang="en-US" noProof="0" dirty="0"/>
          </a:p>
        </p:txBody>
      </p:sp>
      <p:sp>
        <p:nvSpPr>
          <p:cNvPr id="3" name="Date Placeholder 2"/>
          <p:cNvSpPr>
            <a:spLocks noGrp="1"/>
          </p:cNvSpPr>
          <p:nvPr>
            <p:ph type="dt" sz="half" idx="22"/>
          </p:nvPr>
        </p:nvSpPr>
        <p:spPr/>
        <p:txBody>
          <a:bodyPr/>
          <a:lstStyle/>
          <a:p>
            <a:pPr>
              <a:defRPr/>
            </a:pPr>
            <a:fld id="{54612C27-FB3E-49B5-976C-41DC08BA4D99}" type="datetime5">
              <a:rPr lang="en-US" smtClean="0"/>
              <a:t>6-Oct-21</a:t>
            </a:fld>
            <a:endParaRPr lang="en-US" dirty="0"/>
          </a:p>
        </p:txBody>
      </p:sp>
      <p:sp>
        <p:nvSpPr>
          <p:cNvPr id="13" name="Footer Placeholder 12"/>
          <p:cNvSpPr>
            <a:spLocks noGrp="1"/>
          </p:cNvSpPr>
          <p:nvPr>
            <p:ph type="ftr" sz="quarter" idx="23"/>
          </p:nvPr>
        </p:nvSpPr>
        <p:spPr/>
        <p:txBody>
          <a:bodyPr/>
          <a:lstStyle/>
          <a:p>
            <a:pPr>
              <a:defRPr/>
            </a:pPr>
            <a:r>
              <a:rPr lang="en-US"/>
              <a:t>FOOTER / PRESENTATION NAME</a:t>
            </a:r>
            <a:endParaRPr lang="en-US" dirty="0"/>
          </a:p>
        </p:txBody>
      </p:sp>
      <p:sp>
        <p:nvSpPr>
          <p:cNvPr id="14" name="Slide Number Placeholder 13"/>
          <p:cNvSpPr>
            <a:spLocks noGrp="1"/>
          </p:cNvSpPr>
          <p:nvPr>
            <p:ph type="sldNum" sz="quarter" idx="24"/>
          </p:nvPr>
        </p:nvSpPr>
        <p:spPr/>
        <p:txBody>
          <a:bodyPr/>
          <a:lstStyle/>
          <a:p>
            <a:pPr>
              <a:defRPr/>
            </a:pPr>
            <a:fld id="{66C8B3C2-955F-42B1-8DED-EE47D723596C}" type="slidenum">
              <a:rPr lang="en-US" smtClean="0"/>
              <a:pPr>
                <a:defRPr/>
              </a:pPr>
              <a:t>‹#›</a:t>
            </a:fld>
            <a:endParaRPr lang="en-US" dirty="0"/>
          </a:p>
        </p:txBody>
      </p:sp>
      <p:sp>
        <p:nvSpPr>
          <p:cNvPr id="16" name="Text Placeholder 15"/>
          <p:cNvSpPr>
            <a:spLocks noGrp="1"/>
          </p:cNvSpPr>
          <p:nvPr>
            <p:ph type="body" sz="quarter" idx="25"/>
          </p:nvPr>
        </p:nvSpPr>
        <p:spPr>
          <a:xfrm>
            <a:off x="760293" y="1524466"/>
            <a:ext cx="9906919" cy="4571301"/>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2870910"/>
      </p:ext>
    </p:extLst>
  </p:cSld>
  <p:clrMapOvr>
    <a:masterClrMapping/>
  </p:clrMapOvr>
  <p:transition spd="med">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 2 Images (L)">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4190673" y="381455"/>
            <a:ext cx="7620678" cy="3047547"/>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2" name="Text Placeholder 11"/>
          <p:cNvSpPr>
            <a:spLocks noGrp="1"/>
          </p:cNvSpPr>
          <p:nvPr>
            <p:ph type="body" sz="quarter" idx="19"/>
          </p:nvPr>
        </p:nvSpPr>
        <p:spPr bwMode="gray">
          <a:xfrm>
            <a:off x="380672" y="1524284"/>
            <a:ext cx="3047870" cy="4571317"/>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1" name="Picture Placeholder 3"/>
          <p:cNvSpPr>
            <a:spLocks noGrp="1"/>
          </p:cNvSpPr>
          <p:nvPr>
            <p:ph type="pic" sz="quarter" idx="23"/>
          </p:nvPr>
        </p:nvSpPr>
        <p:spPr bwMode="gray">
          <a:xfrm>
            <a:off x="4191757" y="3429002"/>
            <a:ext cx="7619594" cy="304793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2942EB9E-80E4-4C1F-8DBE-3215D10AEE4D}"/>
              </a:ext>
            </a:extLst>
          </p:cNvPr>
          <p:cNvSpPr>
            <a:spLocks noGrp="1"/>
          </p:cNvSpPr>
          <p:nvPr>
            <p:ph type="title"/>
          </p:nvPr>
        </p:nvSpPr>
        <p:spPr>
          <a:xfrm>
            <a:off x="380672" y="381455"/>
            <a:ext cx="3047870" cy="380943"/>
          </a:xfr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29D6AFD-0772-4D1D-B3F6-1F9614A552EB}"/>
              </a:ext>
            </a:extLst>
          </p:cNvPr>
          <p:cNvSpPr>
            <a:spLocks noGrp="1"/>
          </p:cNvSpPr>
          <p:nvPr>
            <p:ph type="dt" sz="half" idx="30"/>
          </p:nvPr>
        </p:nvSpPr>
        <p:spPr/>
        <p:txBody>
          <a:bodyPr/>
          <a:lstStyle/>
          <a:p>
            <a:fld id="{174675C2-6F16-407B-A033-488AC84852FB}" type="datetime5">
              <a:rPr lang="en-US" smtClean="0"/>
              <a:t>6-Oct-21</a:t>
            </a:fld>
            <a:endParaRPr lang="en-US"/>
          </a:p>
        </p:txBody>
      </p:sp>
      <p:sp>
        <p:nvSpPr>
          <p:cNvPr id="5" name="Footer Placeholder 4">
            <a:extLst>
              <a:ext uri="{FF2B5EF4-FFF2-40B4-BE49-F238E27FC236}">
                <a16:creationId xmlns:a16="http://schemas.microsoft.com/office/drawing/2014/main" id="{ED66306D-D554-4D9E-8050-628205AE9E2A}"/>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3" name="Text Placeholder 15">
            <a:extLst>
              <a:ext uri="{FF2B5EF4-FFF2-40B4-BE49-F238E27FC236}">
                <a16:creationId xmlns:a16="http://schemas.microsoft.com/office/drawing/2014/main" id="{A7DC90D1-2D2C-43CB-8BF0-3291E40E36AD}"/>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027310535"/>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 4 Images (L)">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4190672" y="381455"/>
            <a:ext cx="3810656" cy="3048420"/>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1" name="Picture Placeholder 3"/>
          <p:cNvSpPr>
            <a:spLocks noGrp="1"/>
          </p:cNvSpPr>
          <p:nvPr>
            <p:ph type="pic" sz="quarter" idx="23"/>
          </p:nvPr>
        </p:nvSpPr>
        <p:spPr bwMode="gray">
          <a:xfrm>
            <a:off x="8001327" y="381455"/>
            <a:ext cx="3810022" cy="3047547"/>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7" name="Picture Placeholder 3"/>
          <p:cNvSpPr>
            <a:spLocks noGrp="1"/>
          </p:cNvSpPr>
          <p:nvPr>
            <p:ph type="pic" sz="quarter" idx="24"/>
          </p:nvPr>
        </p:nvSpPr>
        <p:spPr bwMode="gray">
          <a:xfrm>
            <a:off x="4190671" y="3429002"/>
            <a:ext cx="3810656" cy="3047933"/>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8" name="Picture Placeholder 3"/>
          <p:cNvSpPr>
            <a:spLocks noGrp="1"/>
          </p:cNvSpPr>
          <p:nvPr>
            <p:ph type="pic" sz="quarter" idx="25"/>
          </p:nvPr>
        </p:nvSpPr>
        <p:spPr bwMode="gray">
          <a:xfrm>
            <a:off x="8001327" y="3429001"/>
            <a:ext cx="3810022" cy="3048933"/>
          </a:xfrm>
          <a:solidFill>
            <a:schemeClr val="bg2"/>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2" name="Text Placeholder 11"/>
          <p:cNvSpPr>
            <a:spLocks noGrp="1"/>
          </p:cNvSpPr>
          <p:nvPr>
            <p:ph type="body" sz="quarter" idx="19"/>
          </p:nvPr>
        </p:nvSpPr>
        <p:spPr bwMode="gray">
          <a:xfrm>
            <a:off x="380673" y="1524284"/>
            <a:ext cx="3047868" cy="4571317"/>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81A3DC29-C5DC-451B-84B7-2EE0A9733133}"/>
              </a:ext>
            </a:extLst>
          </p:cNvPr>
          <p:cNvSpPr>
            <a:spLocks noGrp="1"/>
          </p:cNvSpPr>
          <p:nvPr>
            <p:ph type="title"/>
          </p:nvPr>
        </p:nvSpPr>
        <p:spPr>
          <a:xfrm>
            <a:off x="380672" y="381455"/>
            <a:ext cx="3047870" cy="380943"/>
          </a:xfr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F5F9361-1CB1-42F1-BF5E-EDD74DDB25F9}"/>
              </a:ext>
            </a:extLst>
          </p:cNvPr>
          <p:cNvSpPr>
            <a:spLocks noGrp="1"/>
          </p:cNvSpPr>
          <p:nvPr>
            <p:ph type="dt" sz="half" idx="30"/>
          </p:nvPr>
        </p:nvSpPr>
        <p:spPr/>
        <p:txBody>
          <a:bodyPr/>
          <a:lstStyle/>
          <a:p>
            <a:fld id="{6087D7E5-DA2B-46CE-9C8D-0FEBFD41C89F}" type="datetime5">
              <a:rPr lang="en-US" smtClean="0"/>
              <a:t>6-Oct-21</a:t>
            </a:fld>
            <a:endParaRPr lang="en-US"/>
          </a:p>
        </p:txBody>
      </p:sp>
      <p:sp>
        <p:nvSpPr>
          <p:cNvPr id="5" name="Footer Placeholder 4">
            <a:extLst>
              <a:ext uri="{FF2B5EF4-FFF2-40B4-BE49-F238E27FC236}">
                <a16:creationId xmlns:a16="http://schemas.microsoft.com/office/drawing/2014/main" id="{1ED9E945-C7AF-4078-A5FE-8AB8568F4B78}"/>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4" name="Text Placeholder 15">
            <a:extLst>
              <a:ext uri="{FF2B5EF4-FFF2-40B4-BE49-F238E27FC236}">
                <a16:creationId xmlns:a16="http://schemas.microsoft.com/office/drawing/2014/main" id="{CDCA51DB-5EE5-40E5-8EEA-61691FDE0EB5}"/>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27046281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5714978" y="1"/>
            <a:ext cx="647702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4" name="Picture Placeholder 3"/>
          <p:cNvSpPr>
            <a:spLocks noGrp="1"/>
          </p:cNvSpPr>
          <p:nvPr>
            <p:ph type="pic" sz="quarter" idx="18"/>
          </p:nvPr>
        </p:nvSpPr>
        <p:spPr bwMode="gray">
          <a:xfrm>
            <a:off x="6477066" y="762235"/>
            <a:ext cx="3429722" cy="419123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2" name="Text Placeholder 11"/>
          <p:cNvSpPr>
            <a:spLocks noGrp="1"/>
          </p:cNvSpPr>
          <p:nvPr>
            <p:ph type="body" sz="quarter" idx="19"/>
          </p:nvPr>
        </p:nvSpPr>
        <p:spPr bwMode="gray">
          <a:xfrm>
            <a:off x="380672" y="1524284"/>
            <a:ext cx="4572259" cy="4571317"/>
          </a:xfrm>
        </p:spPr>
        <p:txBody>
          <a:bodyPr/>
          <a:lstStyle>
            <a:lvl1pPr>
              <a:defRPr b="0"/>
            </a:lvl1pPr>
            <a:lvl2pPr>
              <a:defRPr b="0"/>
            </a:lvl2pPr>
            <a:lvl3pPr>
              <a:defRPr b="0"/>
            </a:lvl3pPr>
            <a:lvl4pPr>
              <a:defRPr b="0"/>
            </a:lvl4pPr>
            <a:lvl5pPr>
              <a:defRPr b="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Slide Number Placeholder 8">
            <a:extLst>
              <a:ext uri="{FF2B5EF4-FFF2-40B4-BE49-F238E27FC236}">
                <a16:creationId xmlns:a16="http://schemas.microsoft.com/office/drawing/2014/main" id="{B150DB46-6ADF-4AAA-AFF3-89A68F3489E8}"/>
              </a:ext>
            </a:extLst>
          </p:cNvPr>
          <p:cNvSpPr>
            <a:spLocks noGrp="1"/>
          </p:cNvSpPr>
          <p:nvPr>
            <p:ph type="sldNum" sz="quarter" idx="22"/>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3FA64B29-D9BD-4073-A9D2-216484A7CE42}"/>
              </a:ext>
            </a:extLst>
          </p:cNvPr>
          <p:cNvSpPr>
            <a:spLocks noGrp="1"/>
          </p:cNvSpPr>
          <p:nvPr>
            <p:ph type="title"/>
          </p:nvPr>
        </p:nvSpPr>
        <p:spPr>
          <a:xfrm>
            <a:off x="380672" y="381455"/>
            <a:ext cx="4572259" cy="380943"/>
          </a:xfrm>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42653277-2878-4A38-A7F9-B5CCD381941B}"/>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1" name="Text Placeholder 15">
            <a:extLst>
              <a:ext uri="{FF2B5EF4-FFF2-40B4-BE49-F238E27FC236}">
                <a16:creationId xmlns:a16="http://schemas.microsoft.com/office/drawing/2014/main" id="{1D2BEBD5-F51C-4688-88AC-FFAF7BC818F7}"/>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327520677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477066" y="381455"/>
            <a:ext cx="5334787" cy="5334245"/>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9" name="Slide Number Placeholder 8">
            <a:extLst>
              <a:ext uri="{FF2B5EF4-FFF2-40B4-BE49-F238E27FC236}">
                <a16:creationId xmlns:a16="http://schemas.microsoft.com/office/drawing/2014/main" id="{C24B1C9A-788D-4CFC-8317-79E132313D1E}"/>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5E2AB8A2-7F4C-4516-94E4-39422487270F}"/>
              </a:ext>
            </a:extLst>
          </p:cNvPr>
          <p:cNvSpPr>
            <a:spLocks noGrp="1"/>
          </p:cNvSpPr>
          <p:nvPr>
            <p:ph type="body" sz="quarter" idx="18"/>
          </p:nvPr>
        </p:nvSpPr>
        <p:spPr bwMode="gray">
          <a:xfrm>
            <a:off x="1142148" y="3809067"/>
            <a:ext cx="3048394" cy="190663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Title 19">
            <a:extLst>
              <a:ext uri="{FF2B5EF4-FFF2-40B4-BE49-F238E27FC236}">
                <a16:creationId xmlns:a16="http://schemas.microsoft.com/office/drawing/2014/main" id="{BC338D8D-474C-4D54-9AD6-37E614127D97}"/>
              </a:ext>
            </a:extLst>
          </p:cNvPr>
          <p:cNvSpPr>
            <a:spLocks noGrp="1"/>
          </p:cNvSpPr>
          <p:nvPr>
            <p:ph type="title" hasCustomPrompt="1"/>
          </p:nvPr>
        </p:nvSpPr>
        <p:spPr bwMode="gray">
          <a:xfrm>
            <a:off x="1142149" y="381455"/>
            <a:ext cx="4572786" cy="3427612"/>
          </a:xfrm>
        </p:spPr>
        <p:txBody>
          <a:bodyPr bIns="144000" anchor="b"/>
          <a:lstStyle>
            <a:lvl1pPr>
              <a:lnSpc>
                <a:spcPct val="75000"/>
              </a:lnSpc>
              <a:defRPr sz="6349" baseline="0"/>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four lines </a:t>
            </a:r>
            <a:br>
              <a:rPr lang="en-US"/>
            </a:br>
            <a:r>
              <a:rPr lang="en-US"/>
              <a:t>or less.</a:t>
            </a:r>
          </a:p>
        </p:txBody>
      </p:sp>
      <p:sp>
        <p:nvSpPr>
          <p:cNvPr id="2" name="Date Placeholder 1">
            <a:extLst>
              <a:ext uri="{FF2B5EF4-FFF2-40B4-BE49-F238E27FC236}">
                <a16:creationId xmlns:a16="http://schemas.microsoft.com/office/drawing/2014/main" id="{0DC3981A-8D56-4030-B542-A89800A108E4}"/>
              </a:ext>
            </a:extLst>
          </p:cNvPr>
          <p:cNvSpPr>
            <a:spLocks noGrp="1"/>
          </p:cNvSpPr>
          <p:nvPr>
            <p:ph type="dt" sz="half" idx="19"/>
          </p:nvPr>
        </p:nvSpPr>
        <p:spPr/>
        <p:txBody>
          <a:bodyPr/>
          <a:lstStyle/>
          <a:p>
            <a:fld id="{CE2C1504-4D1F-466D-91D1-BFAE5D2D62E5}" type="datetime5">
              <a:rPr lang="en-US" smtClean="0"/>
              <a:t>6-Oct-21</a:t>
            </a:fld>
            <a:endParaRPr lang="en-US"/>
          </a:p>
        </p:txBody>
      </p:sp>
      <p:sp>
        <p:nvSpPr>
          <p:cNvPr id="3" name="Footer Placeholder 2">
            <a:extLst>
              <a:ext uri="{FF2B5EF4-FFF2-40B4-BE49-F238E27FC236}">
                <a16:creationId xmlns:a16="http://schemas.microsoft.com/office/drawing/2014/main" id="{731C44BC-0E99-4375-A74B-9998BD9CD45B}"/>
              </a:ext>
            </a:extLst>
          </p:cNvPr>
          <p:cNvSpPr>
            <a:spLocks noGrp="1"/>
          </p:cNvSpPr>
          <p:nvPr>
            <p:ph type="ftr" sz="quarter" idx="20"/>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211273342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80017" y="381455"/>
            <a:ext cx="5332554" cy="5334245"/>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9" name="Slide Number Placeholder 8">
            <a:extLst>
              <a:ext uri="{FF2B5EF4-FFF2-40B4-BE49-F238E27FC236}">
                <a16:creationId xmlns:a16="http://schemas.microsoft.com/office/drawing/2014/main" id="{509F7262-9874-419F-BE73-49CBA2C232EB}"/>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6" name="Text Placeholder 17">
            <a:extLst>
              <a:ext uri="{FF2B5EF4-FFF2-40B4-BE49-F238E27FC236}">
                <a16:creationId xmlns:a16="http://schemas.microsoft.com/office/drawing/2014/main" id="{2C29CA4E-694A-489A-87E6-41246D4F2FB6}"/>
              </a:ext>
            </a:extLst>
          </p:cNvPr>
          <p:cNvSpPr>
            <a:spLocks noGrp="1"/>
          </p:cNvSpPr>
          <p:nvPr>
            <p:ph type="body" sz="quarter" idx="18"/>
          </p:nvPr>
        </p:nvSpPr>
        <p:spPr bwMode="gray">
          <a:xfrm>
            <a:off x="6477065" y="3809067"/>
            <a:ext cx="3047956" cy="190663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itle 19">
            <a:extLst>
              <a:ext uri="{FF2B5EF4-FFF2-40B4-BE49-F238E27FC236}">
                <a16:creationId xmlns:a16="http://schemas.microsoft.com/office/drawing/2014/main" id="{CDED2062-D0C2-4D1A-903A-A6327F90DD22}"/>
              </a:ext>
            </a:extLst>
          </p:cNvPr>
          <p:cNvSpPr>
            <a:spLocks noGrp="1"/>
          </p:cNvSpPr>
          <p:nvPr>
            <p:ph type="title" hasCustomPrompt="1"/>
          </p:nvPr>
        </p:nvSpPr>
        <p:spPr bwMode="gray">
          <a:xfrm>
            <a:off x="6477066" y="381455"/>
            <a:ext cx="4953945" cy="3427612"/>
          </a:xfrm>
        </p:spPr>
        <p:txBody>
          <a:bodyPr bIns="144000" anchor="b"/>
          <a:lstStyle>
            <a:lvl1pPr>
              <a:lnSpc>
                <a:spcPct val="75000"/>
              </a:lnSpc>
              <a:defRPr sz="6349" baseline="0"/>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four lines </a:t>
            </a:r>
            <a:br>
              <a:rPr lang="en-US"/>
            </a:br>
            <a:r>
              <a:rPr lang="en-US"/>
              <a:t>or less.</a:t>
            </a:r>
          </a:p>
        </p:txBody>
      </p:sp>
      <p:sp>
        <p:nvSpPr>
          <p:cNvPr id="2" name="Date Placeholder 1">
            <a:extLst>
              <a:ext uri="{FF2B5EF4-FFF2-40B4-BE49-F238E27FC236}">
                <a16:creationId xmlns:a16="http://schemas.microsoft.com/office/drawing/2014/main" id="{4EDEC021-D508-4D59-B963-16B119DB9C65}"/>
              </a:ext>
            </a:extLst>
          </p:cNvPr>
          <p:cNvSpPr>
            <a:spLocks noGrp="1"/>
          </p:cNvSpPr>
          <p:nvPr>
            <p:ph type="dt" sz="half" idx="19"/>
          </p:nvPr>
        </p:nvSpPr>
        <p:spPr/>
        <p:txBody>
          <a:bodyPr/>
          <a:lstStyle/>
          <a:p>
            <a:fld id="{9BE86BAF-EC9D-415B-A934-7E69BDFC994D}" type="datetime5">
              <a:rPr lang="en-US" smtClean="0"/>
              <a:t>6-Oct-21</a:t>
            </a:fld>
            <a:endParaRPr lang="en-US"/>
          </a:p>
        </p:txBody>
      </p:sp>
      <p:sp>
        <p:nvSpPr>
          <p:cNvPr id="3" name="Footer Placeholder 2">
            <a:extLst>
              <a:ext uri="{FF2B5EF4-FFF2-40B4-BE49-F238E27FC236}">
                <a16:creationId xmlns:a16="http://schemas.microsoft.com/office/drawing/2014/main" id="{A7BCB0AF-6118-424F-9D62-0AA8A3CF2319}"/>
              </a:ext>
            </a:extLst>
          </p:cNvPr>
          <p:cNvSpPr>
            <a:spLocks noGrp="1"/>
          </p:cNvSpPr>
          <p:nvPr>
            <p:ph type="ftr" sz="quarter" idx="20"/>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177946703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6" name="Picture Placeholder 5"/>
          <p:cNvSpPr>
            <a:spLocks noGrp="1"/>
          </p:cNvSpPr>
          <p:nvPr>
            <p:ph type="pic" sz="quarter" idx="22"/>
          </p:nvPr>
        </p:nvSpPr>
        <p:spPr bwMode="gray">
          <a:xfrm>
            <a:off x="380016" y="762234"/>
            <a:ext cx="5334918" cy="4190707"/>
          </a:xfrm>
          <a:solidFill>
            <a:schemeClr val="bg2">
              <a:lumMod val="20000"/>
              <a:lumOff val="80000"/>
            </a:schemeClr>
          </a:solidFill>
        </p:spPr>
        <p:txBody>
          <a:bodyPr tIns="0" anchor="ctr"/>
          <a:lstStyle>
            <a:lvl1pPr algn="ctr">
              <a:defRPr sz="1058" b="0">
                <a:solidFill>
                  <a:schemeClr val="tx1"/>
                </a:solidFill>
              </a:defRPr>
            </a:lvl1pPr>
          </a:lstStyle>
          <a:p>
            <a:r>
              <a:rPr lang="en-GB" noProof="0"/>
              <a:t>Click icon to add picture</a:t>
            </a:r>
            <a:endParaRPr lang="en-US" noProof="0"/>
          </a:p>
        </p:txBody>
      </p:sp>
      <p:sp>
        <p:nvSpPr>
          <p:cNvPr id="11" name="Slide Number Placeholder 10">
            <a:extLst>
              <a:ext uri="{FF2B5EF4-FFF2-40B4-BE49-F238E27FC236}">
                <a16:creationId xmlns:a16="http://schemas.microsoft.com/office/drawing/2014/main" id="{3EE2FF6B-3040-4FCE-B748-5610D5FA500B}"/>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AB6537AA-A6B5-4595-AD40-B6605C22E2AE}"/>
              </a:ext>
            </a:extLst>
          </p:cNvPr>
          <p:cNvSpPr>
            <a:spLocks noGrp="1"/>
          </p:cNvSpPr>
          <p:nvPr>
            <p:ph type="body" sz="quarter" idx="18"/>
          </p:nvPr>
        </p:nvSpPr>
        <p:spPr bwMode="gray">
          <a:xfrm>
            <a:off x="8763459" y="4190970"/>
            <a:ext cx="2666824" cy="190492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itle 4">
            <a:extLst>
              <a:ext uri="{FF2B5EF4-FFF2-40B4-BE49-F238E27FC236}">
                <a16:creationId xmlns:a16="http://schemas.microsoft.com/office/drawing/2014/main" id="{DDE36620-5EF8-4F63-A9D6-C979933452FB}"/>
              </a:ext>
            </a:extLst>
          </p:cNvPr>
          <p:cNvSpPr>
            <a:spLocks noGrp="1"/>
          </p:cNvSpPr>
          <p:nvPr>
            <p:ph type="title" hasCustomPrompt="1"/>
          </p:nvPr>
        </p:nvSpPr>
        <p:spPr bwMode="gray">
          <a:xfrm>
            <a:off x="4952804" y="1524073"/>
            <a:ext cx="5714408" cy="2285912"/>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three lines or less.</a:t>
            </a:r>
          </a:p>
        </p:txBody>
      </p:sp>
      <p:sp>
        <p:nvSpPr>
          <p:cNvPr id="2" name="Date Placeholder 1">
            <a:extLst>
              <a:ext uri="{FF2B5EF4-FFF2-40B4-BE49-F238E27FC236}">
                <a16:creationId xmlns:a16="http://schemas.microsoft.com/office/drawing/2014/main" id="{4B307CB1-9C07-4C76-BE41-9A5C60C3739A}"/>
              </a:ext>
            </a:extLst>
          </p:cNvPr>
          <p:cNvSpPr>
            <a:spLocks noGrp="1"/>
          </p:cNvSpPr>
          <p:nvPr>
            <p:ph type="dt" sz="half" idx="26"/>
          </p:nvPr>
        </p:nvSpPr>
        <p:spPr/>
        <p:txBody>
          <a:bodyPr/>
          <a:lstStyle/>
          <a:p>
            <a:fld id="{923C98BA-F92F-42FA-BB25-7E50E74DAF46}" type="datetime5">
              <a:rPr lang="en-US" smtClean="0"/>
              <a:t>6-Oct-21</a:t>
            </a:fld>
            <a:endParaRPr lang="en-US"/>
          </a:p>
        </p:txBody>
      </p:sp>
      <p:sp>
        <p:nvSpPr>
          <p:cNvPr id="3" name="Footer Placeholder 2">
            <a:extLst>
              <a:ext uri="{FF2B5EF4-FFF2-40B4-BE49-F238E27FC236}">
                <a16:creationId xmlns:a16="http://schemas.microsoft.com/office/drawing/2014/main" id="{9EBBFFDC-17E1-44A8-9284-A1A6702799E1}"/>
              </a:ext>
            </a:extLst>
          </p:cNvPr>
          <p:cNvSpPr>
            <a:spLocks noGrp="1"/>
          </p:cNvSpPr>
          <p:nvPr>
            <p:ph type="ftr" sz="quarter" idx="27"/>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233225709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6" name="Picture Placeholder 5"/>
          <p:cNvSpPr>
            <a:spLocks noGrp="1"/>
          </p:cNvSpPr>
          <p:nvPr>
            <p:ph type="pic" sz="quarter" idx="22"/>
          </p:nvPr>
        </p:nvSpPr>
        <p:spPr bwMode="gray">
          <a:xfrm>
            <a:off x="380016" y="762234"/>
            <a:ext cx="3810656" cy="4190707"/>
          </a:xfrm>
          <a:solidFill>
            <a:schemeClr val="bg2">
              <a:lumMod val="20000"/>
              <a:lumOff val="80000"/>
            </a:schemeClr>
          </a:solidFill>
        </p:spPr>
        <p:txBody>
          <a:bodyPr tIns="0" anchor="ctr"/>
          <a:lstStyle>
            <a:lvl1pPr algn="ctr">
              <a:defRPr sz="1058" b="0">
                <a:solidFill>
                  <a:schemeClr val="tx1"/>
                </a:solidFill>
              </a:defRPr>
            </a:lvl1pPr>
          </a:lstStyle>
          <a:p>
            <a:r>
              <a:rPr lang="en-GB" noProof="0"/>
              <a:t>Click icon to add picture</a:t>
            </a:r>
            <a:endParaRPr lang="en-US" noProof="0"/>
          </a:p>
        </p:txBody>
      </p:sp>
      <p:sp>
        <p:nvSpPr>
          <p:cNvPr id="11" name="Slide Number Placeholder 10">
            <a:extLst>
              <a:ext uri="{FF2B5EF4-FFF2-40B4-BE49-F238E27FC236}">
                <a16:creationId xmlns:a16="http://schemas.microsoft.com/office/drawing/2014/main" id="{3EE2FF6B-3040-4FCE-B748-5610D5FA500B}"/>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AB6537AA-A6B5-4595-AD40-B6605C22E2AE}"/>
              </a:ext>
            </a:extLst>
          </p:cNvPr>
          <p:cNvSpPr>
            <a:spLocks noGrp="1"/>
          </p:cNvSpPr>
          <p:nvPr>
            <p:ph type="body" sz="quarter" idx="18"/>
          </p:nvPr>
        </p:nvSpPr>
        <p:spPr bwMode="gray">
          <a:xfrm>
            <a:off x="8763459" y="4190970"/>
            <a:ext cx="2666824" cy="190492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itle 4">
            <a:extLst>
              <a:ext uri="{FF2B5EF4-FFF2-40B4-BE49-F238E27FC236}">
                <a16:creationId xmlns:a16="http://schemas.microsoft.com/office/drawing/2014/main" id="{03E54861-3EA4-4688-A090-54FC7F40A6BA}"/>
              </a:ext>
            </a:extLst>
          </p:cNvPr>
          <p:cNvSpPr>
            <a:spLocks noGrp="1"/>
          </p:cNvSpPr>
          <p:nvPr>
            <p:ph type="title" hasCustomPrompt="1"/>
          </p:nvPr>
        </p:nvSpPr>
        <p:spPr bwMode="gray">
          <a:xfrm>
            <a:off x="3428541" y="1524073"/>
            <a:ext cx="4572217" cy="4190839"/>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several lines. Even fill </a:t>
            </a:r>
            <a:br>
              <a:rPr lang="en-US"/>
            </a:br>
            <a:r>
              <a:rPr lang="en-US"/>
              <a:t>this textbox completely</a:t>
            </a:r>
          </a:p>
        </p:txBody>
      </p:sp>
      <p:sp>
        <p:nvSpPr>
          <p:cNvPr id="2" name="Date Placeholder 1">
            <a:extLst>
              <a:ext uri="{FF2B5EF4-FFF2-40B4-BE49-F238E27FC236}">
                <a16:creationId xmlns:a16="http://schemas.microsoft.com/office/drawing/2014/main" id="{FB520207-8A9B-41BF-957C-99C2F143F76A}"/>
              </a:ext>
            </a:extLst>
          </p:cNvPr>
          <p:cNvSpPr>
            <a:spLocks noGrp="1"/>
          </p:cNvSpPr>
          <p:nvPr>
            <p:ph type="dt" sz="half" idx="26"/>
          </p:nvPr>
        </p:nvSpPr>
        <p:spPr/>
        <p:txBody>
          <a:bodyPr/>
          <a:lstStyle/>
          <a:p>
            <a:fld id="{1A0FD1FD-F2E2-4CA6-A36E-3BCCD031E004}" type="datetime5">
              <a:rPr lang="en-US" smtClean="0"/>
              <a:t>6-Oct-21</a:t>
            </a:fld>
            <a:endParaRPr lang="en-US"/>
          </a:p>
        </p:txBody>
      </p:sp>
      <p:sp>
        <p:nvSpPr>
          <p:cNvPr id="3" name="Footer Placeholder 2">
            <a:extLst>
              <a:ext uri="{FF2B5EF4-FFF2-40B4-BE49-F238E27FC236}">
                <a16:creationId xmlns:a16="http://schemas.microsoft.com/office/drawing/2014/main" id="{D5D113E5-602B-4D67-A76A-4D55A14DE09E}"/>
              </a:ext>
            </a:extLst>
          </p:cNvPr>
          <p:cNvSpPr>
            <a:spLocks noGrp="1"/>
          </p:cNvSpPr>
          <p:nvPr>
            <p:ph type="ftr" sz="quarter" idx="27"/>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399845835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GB" noProof="0"/>
              <a:t>Click icon to add picture</a:t>
            </a:r>
            <a:endParaRPr lang="en-US" noProof="0"/>
          </a:p>
        </p:txBody>
      </p:sp>
      <p:sp>
        <p:nvSpPr>
          <p:cNvPr id="8" name="Slide Number Placeholder 7">
            <a:extLst>
              <a:ext uri="{FF2B5EF4-FFF2-40B4-BE49-F238E27FC236}">
                <a16:creationId xmlns:a16="http://schemas.microsoft.com/office/drawing/2014/main" id="{AEDCCE28-19A7-435F-8D59-90A8A4024C83}"/>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4" name="Text Placeholder 17">
            <a:extLst>
              <a:ext uri="{FF2B5EF4-FFF2-40B4-BE49-F238E27FC236}">
                <a16:creationId xmlns:a16="http://schemas.microsoft.com/office/drawing/2014/main" id="{60158A3D-6DBE-4CAA-A5BB-CC6CB67064FE}"/>
              </a:ext>
            </a:extLst>
          </p:cNvPr>
          <p:cNvSpPr>
            <a:spLocks noGrp="1"/>
          </p:cNvSpPr>
          <p:nvPr>
            <p:ph type="body" sz="quarter" idx="18"/>
          </p:nvPr>
        </p:nvSpPr>
        <p:spPr bwMode="gray">
          <a:xfrm>
            <a:off x="1142716" y="4189264"/>
            <a:ext cx="3047956" cy="190663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itle 4">
            <a:extLst>
              <a:ext uri="{FF2B5EF4-FFF2-40B4-BE49-F238E27FC236}">
                <a16:creationId xmlns:a16="http://schemas.microsoft.com/office/drawing/2014/main" id="{4A1DF06B-D9DA-44AA-B35B-6C3917A718B0}"/>
              </a:ext>
            </a:extLst>
          </p:cNvPr>
          <p:cNvSpPr>
            <a:spLocks noGrp="1"/>
          </p:cNvSpPr>
          <p:nvPr>
            <p:ph type="title" hasCustomPrompt="1"/>
          </p:nvPr>
        </p:nvSpPr>
        <p:spPr bwMode="gray">
          <a:xfrm>
            <a:off x="1142717" y="761653"/>
            <a:ext cx="4953282" cy="3427610"/>
          </a:xfrm>
        </p:spPr>
        <p:txBody>
          <a:bodyPr bIns="144000" anchor="b"/>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four lines </a:t>
            </a:r>
            <a:br>
              <a:rPr lang="en-US"/>
            </a:br>
            <a:r>
              <a:rPr lang="en-US"/>
              <a:t>or less.</a:t>
            </a:r>
          </a:p>
        </p:txBody>
      </p:sp>
      <p:sp>
        <p:nvSpPr>
          <p:cNvPr id="2" name="Date Placeholder 1">
            <a:extLst>
              <a:ext uri="{FF2B5EF4-FFF2-40B4-BE49-F238E27FC236}">
                <a16:creationId xmlns:a16="http://schemas.microsoft.com/office/drawing/2014/main" id="{DF8DCDA5-2056-4D83-AF51-01B29A23DBF9}"/>
              </a:ext>
            </a:extLst>
          </p:cNvPr>
          <p:cNvSpPr>
            <a:spLocks noGrp="1"/>
          </p:cNvSpPr>
          <p:nvPr>
            <p:ph type="dt" sz="half" idx="19"/>
          </p:nvPr>
        </p:nvSpPr>
        <p:spPr/>
        <p:txBody>
          <a:bodyPr/>
          <a:lstStyle/>
          <a:p>
            <a:fld id="{E5A616D5-7C57-4E78-BF18-72515D8F6C9F}" type="datetime5">
              <a:rPr lang="en-US" smtClean="0"/>
              <a:t>6-Oct-21</a:t>
            </a:fld>
            <a:endParaRPr lang="en-US"/>
          </a:p>
        </p:txBody>
      </p:sp>
      <p:sp>
        <p:nvSpPr>
          <p:cNvPr id="3" name="Footer Placeholder 2">
            <a:extLst>
              <a:ext uri="{FF2B5EF4-FFF2-40B4-BE49-F238E27FC236}">
                <a16:creationId xmlns:a16="http://schemas.microsoft.com/office/drawing/2014/main" id="{9263C27A-EFC2-42D3-AAF0-98850DEB6775}"/>
              </a:ext>
            </a:extLst>
          </p:cNvPr>
          <p:cNvSpPr>
            <a:spLocks noGrp="1"/>
          </p:cNvSpPr>
          <p:nvPr>
            <p:ph type="ftr" sz="quarter" idx="20"/>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1645782211"/>
      </p:ext>
    </p:extLst>
  </p:cSld>
  <p:clrMapOvr>
    <a:masterClrMapping/>
  </p:clrMapOvr>
  <p:transition>
    <p:fade/>
  </p:transition>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380671" y="381455"/>
            <a:ext cx="3047871" cy="6095427"/>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9" name="Picture Placeholder 3"/>
          <p:cNvSpPr>
            <a:spLocks noGrp="1"/>
          </p:cNvSpPr>
          <p:nvPr>
            <p:ph type="pic" sz="quarter" idx="24"/>
          </p:nvPr>
        </p:nvSpPr>
        <p:spPr bwMode="gray">
          <a:xfrm>
            <a:off x="3428543" y="381455"/>
            <a:ext cx="3047650" cy="3047544"/>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20" name="Picture Placeholder 3"/>
          <p:cNvSpPr>
            <a:spLocks noGrp="1"/>
          </p:cNvSpPr>
          <p:nvPr>
            <p:ph type="pic" sz="quarter" idx="25"/>
          </p:nvPr>
        </p:nvSpPr>
        <p:spPr bwMode="gray">
          <a:xfrm>
            <a:off x="3428543" y="3429000"/>
            <a:ext cx="3047650" cy="3047544"/>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24" name="Picture Placeholder 3"/>
          <p:cNvSpPr>
            <a:spLocks noGrp="1"/>
          </p:cNvSpPr>
          <p:nvPr>
            <p:ph type="pic" sz="quarter" idx="28"/>
          </p:nvPr>
        </p:nvSpPr>
        <p:spPr bwMode="gray">
          <a:xfrm>
            <a:off x="6476192" y="381455"/>
            <a:ext cx="5335157" cy="6095089"/>
          </a:xfrm>
          <a:solidFill>
            <a:schemeClr val="bg2"/>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9" name="Slide Number Placeholder 8">
            <a:extLst>
              <a:ext uri="{FF2B5EF4-FFF2-40B4-BE49-F238E27FC236}">
                <a16:creationId xmlns:a16="http://schemas.microsoft.com/office/drawing/2014/main" id="{FD8E4796-355D-4859-A742-D960938E2D35}"/>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7D786E24-DC02-43AF-9B6A-E8D3FB81FE70}"/>
              </a:ext>
            </a:extLst>
          </p:cNvPr>
          <p:cNvSpPr>
            <a:spLocks noGrp="1"/>
          </p:cNvSpPr>
          <p:nvPr>
            <p:ph type="title" hasCustomPrompt="1"/>
          </p:nvPr>
        </p:nvSpPr>
        <p:spPr bwMode="gray">
          <a:xfrm>
            <a:off x="1142147" y="1143088"/>
            <a:ext cx="6477589" cy="3048146"/>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change the size of this textbox to ensure readability.</a:t>
            </a:r>
          </a:p>
        </p:txBody>
      </p:sp>
      <p:sp>
        <p:nvSpPr>
          <p:cNvPr id="2" name="Date Placeholder 1">
            <a:extLst>
              <a:ext uri="{FF2B5EF4-FFF2-40B4-BE49-F238E27FC236}">
                <a16:creationId xmlns:a16="http://schemas.microsoft.com/office/drawing/2014/main" id="{89BECA0C-1902-458E-9672-5E613F5A710E}"/>
              </a:ext>
            </a:extLst>
          </p:cNvPr>
          <p:cNvSpPr>
            <a:spLocks noGrp="1"/>
          </p:cNvSpPr>
          <p:nvPr>
            <p:ph type="dt" sz="half" idx="32"/>
          </p:nvPr>
        </p:nvSpPr>
        <p:spPr/>
        <p:txBody>
          <a:bodyPr/>
          <a:lstStyle/>
          <a:p>
            <a:fld id="{EC82DBA4-8F1E-423A-A056-8A76853B25E0}" type="datetime5">
              <a:rPr lang="en-US" smtClean="0"/>
              <a:t>6-Oct-21</a:t>
            </a:fld>
            <a:endParaRPr lang="en-US"/>
          </a:p>
        </p:txBody>
      </p:sp>
      <p:sp>
        <p:nvSpPr>
          <p:cNvPr id="3" name="Footer Placeholder 2">
            <a:extLst>
              <a:ext uri="{FF2B5EF4-FFF2-40B4-BE49-F238E27FC236}">
                <a16:creationId xmlns:a16="http://schemas.microsoft.com/office/drawing/2014/main" id="{91F8F6D5-D894-4693-A285-F2E33CFFBC47}"/>
              </a:ext>
            </a:extLst>
          </p:cNvPr>
          <p:cNvSpPr>
            <a:spLocks noGrp="1"/>
          </p:cNvSpPr>
          <p:nvPr>
            <p:ph type="ftr" sz="quarter" idx="33"/>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1428686139"/>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1" y="0"/>
            <a:ext cx="3047475" cy="6857927"/>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8" name="Picture Placeholder 3"/>
          <p:cNvSpPr>
            <a:spLocks noGrp="1"/>
          </p:cNvSpPr>
          <p:nvPr>
            <p:ph type="pic" sz="quarter" idx="23"/>
          </p:nvPr>
        </p:nvSpPr>
        <p:spPr bwMode="gray">
          <a:xfrm>
            <a:off x="3047476" y="1"/>
            <a:ext cx="3047475" cy="228604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9" name="Picture Placeholder 3"/>
          <p:cNvSpPr>
            <a:spLocks noGrp="1"/>
          </p:cNvSpPr>
          <p:nvPr>
            <p:ph type="pic" sz="quarter" idx="24"/>
          </p:nvPr>
        </p:nvSpPr>
        <p:spPr bwMode="gray">
          <a:xfrm>
            <a:off x="3047476" y="2286044"/>
            <a:ext cx="3047475" cy="2286043"/>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20" name="Picture Placeholder 3"/>
          <p:cNvSpPr>
            <a:spLocks noGrp="1"/>
          </p:cNvSpPr>
          <p:nvPr>
            <p:ph type="pic" sz="quarter" idx="25"/>
          </p:nvPr>
        </p:nvSpPr>
        <p:spPr bwMode="gray">
          <a:xfrm>
            <a:off x="3047476" y="4572087"/>
            <a:ext cx="3047475" cy="228604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21" name="Picture Placeholder 3"/>
          <p:cNvSpPr>
            <a:spLocks noGrp="1"/>
          </p:cNvSpPr>
          <p:nvPr>
            <p:ph type="pic" sz="quarter" idx="26"/>
          </p:nvPr>
        </p:nvSpPr>
        <p:spPr bwMode="gray">
          <a:xfrm>
            <a:off x="6094951" y="0"/>
            <a:ext cx="2668203" cy="3428999"/>
          </a:xfrm>
          <a:solidFill>
            <a:schemeClr val="bg2"/>
          </a:solidFill>
        </p:spPr>
        <p:txBody>
          <a:bodyPr anchor="ctr"/>
          <a:lstStyle>
            <a:lvl1pPr algn="ctr">
              <a:defRPr sz="1058" b="0">
                <a:solidFill>
                  <a:schemeClr val="bg1"/>
                </a:solidFill>
              </a:defRPr>
            </a:lvl1pPr>
          </a:lstStyle>
          <a:p>
            <a:r>
              <a:rPr lang="en-GB" noProof="0"/>
              <a:t>Click icon to add picture</a:t>
            </a:r>
            <a:endParaRPr lang="en-US" noProof="0"/>
          </a:p>
        </p:txBody>
      </p:sp>
      <p:sp>
        <p:nvSpPr>
          <p:cNvPr id="23" name="Picture Placeholder 3"/>
          <p:cNvSpPr>
            <a:spLocks noGrp="1"/>
          </p:cNvSpPr>
          <p:nvPr>
            <p:ph type="pic" sz="quarter" idx="27"/>
          </p:nvPr>
        </p:nvSpPr>
        <p:spPr bwMode="gray">
          <a:xfrm>
            <a:off x="6094951" y="3429000"/>
            <a:ext cx="2668203" cy="3428999"/>
          </a:xfrm>
          <a:solidFill>
            <a:schemeClr val="bg2">
              <a:lumMod val="75000"/>
            </a:schemeClr>
          </a:solidFill>
        </p:spPr>
        <p:txBody>
          <a:bodyPr anchor="ctr"/>
          <a:lstStyle>
            <a:lvl1pPr algn="ctr">
              <a:defRPr sz="1058" b="0">
                <a:solidFill>
                  <a:schemeClr val="bg1"/>
                </a:solidFill>
              </a:defRPr>
            </a:lvl1pPr>
          </a:lstStyle>
          <a:p>
            <a:r>
              <a:rPr lang="en-GB" noProof="0"/>
              <a:t>Click icon to add picture</a:t>
            </a:r>
            <a:endParaRPr lang="en-US" noProof="0"/>
          </a:p>
        </p:txBody>
      </p:sp>
      <p:sp>
        <p:nvSpPr>
          <p:cNvPr id="24" name="Picture Placeholder 3"/>
          <p:cNvSpPr>
            <a:spLocks noGrp="1"/>
          </p:cNvSpPr>
          <p:nvPr>
            <p:ph type="pic" sz="quarter" idx="28"/>
          </p:nvPr>
        </p:nvSpPr>
        <p:spPr bwMode="gray">
          <a:xfrm>
            <a:off x="8763153" y="0"/>
            <a:ext cx="3428847" cy="6857927"/>
          </a:xfrm>
          <a:solidFill>
            <a:schemeClr val="bg2">
              <a:lumMod val="50000"/>
            </a:schemeClr>
          </a:solidFill>
        </p:spPr>
        <p:txBody>
          <a:bodyPr anchor="ctr"/>
          <a:lstStyle>
            <a:lvl1pPr algn="ctr">
              <a:defRPr sz="1058" b="0">
                <a:solidFill>
                  <a:schemeClr val="bg1"/>
                </a:solidFill>
              </a:defRPr>
            </a:lvl1pPr>
          </a:lstStyle>
          <a:p>
            <a:r>
              <a:rPr lang="en-GB" noProof="0"/>
              <a:t>Click icon to add picture</a:t>
            </a:r>
            <a:endParaRPr lang="en-US" noProof="0"/>
          </a:p>
        </p:txBody>
      </p:sp>
      <p:sp>
        <p:nvSpPr>
          <p:cNvPr id="9" name="Slide Number Placeholder 8">
            <a:extLst>
              <a:ext uri="{FF2B5EF4-FFF2-40B4-BE49-F238E27FC236}">
                <a16:creationId xmlns:a16="http://schemas.microsoft.com/office/drawing/2014/main" id="{DDBBE06D-E1F0-45B0-A4B9-F2F79936B1B8}"/>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7" name="Title 6">
            <a:extLst>
              <a:ext uri="{FF2B5EF4-FFF2-40B4-BE49-F238E27FC236}">
                <a16:creationId xmlns:a16="http://schemas.microsoft.com/office/drawing/2014/main" id="{9F2CEF07-6748-4A1B-91B8-0FF107ED6470}"/>
              </a:ext>
            </a:extLst>
          </p:cNvPr>
          <p:cNvSpPr>
            <a:spLocks noGrp="1"/>
          </p:cNvSpPr>
          <p:nvPr>
            <p:ph type="title"/>
          </p:nvPr>
        </p:nvSpPr>
        <p:spPr bwMode="gray"/>
        <p:txBody>
          <a:bodyPr/>
          <a:lstStyle/>
          <a:p>
            <a:r>
              <a:rPr lang="en-GB"/>
              <a:t>Click to edit Master title style</a:t>
            </a:r>
            <a:endParaRPr lang="en-US"/>
          </a:p>
        </p:txBody>
      </p:sp>
    </p:spTree>
    <p:extLst>
      <p:ext uri="{BB962C8B-B14F-4D97-AF65-F5344CB8AC3E}">
        <p14:creationId xmlns:p14="http://schemas.microsoft.com/office/powerpoint/2010/main" val="21208509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19738" y="1"/>
            <a:ext cx="4572263"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el 1"/>
          <p:cNvSpPr>
            <a:spLocks noGrp="1"/>
          </p:cNvSpPr>
          <p:nvPr>
            <p:ph type="title"/>
          </p:nvPr>
        </p:nvSpPr>
        <p:spPr bwMode="gray">
          <a:xfrm>
            <a:off x="380672" y="382168"/>
            <a:ext cx="6477373" cy="761182"/>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Text Placeholder 3"/>
          <p:cNvSpPr>
            <a:spLocks noGrp="1"/>
          </p:cNvSpPr>
          <p:nvPr>
            <p:ph type="body" sz="quarter" idx="18"/>
          </p:nvPr>
        </p:nvSpPr>
        <p:spPr>
          <a:xfrm>
            <a:off x="760293" y="1524466"/>
            <a:ext cx="6097050" cy="4571477"/>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3"/>
          </p:nvPr>
        </p:nvSpPr>
        <p:spPr/>
        <p:txBody>
          <a:bodyPr/>
          <a:lstStyle/>
          <a:p>
            <a:pPr>
              <a:defRPr/>
            </a:pPr>
            <a:fld id="{122BCC3E-0EC1-49DB-8614-D0B420FA75D8}" type="datetime5">
              <a:rPr lang="en-US" smtClean="0"/>
              <a:t>6-Oct-21</a:t>
            </a:fld>
            <a:endParaRPr lang="en-US" dirty="0"/>
          </a:p>
        </p:txBody>
      </p:sp>
      <p:sp>
        <p:nvSpPr>
          <p:cNvPr id="6" name="Footer Placeholder 5"/>
          <p:cNvSpPr>
            <a:spLocks noGrp="1"/>
          </p:cNvSpPr>
          <p:nvPr>
            <p:ph type="ftr" sz="quarter" idx="24"/>
          </p:nvPr>
        </p:nvSpPr>
        <p:spPr/>
        <p:txBody>
          <a:bodyPr/>
          <a:lstStyle/>
          <a:p>
            <a:pPr>
              <a:defRPr/>
            </a:pPr>
            <a:r>
              <a:rPr lang="en-US"/>
              <a:t>FOOTER / PRESENTATION NAME</a:t>
            </a:r>
            <a:endParaRPr lang="en-US" dirty="0"/>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4061448500"/>
      </p:ext>
    </p:extLst>
  </p:cSld>
  <p:clrMapOvr>
    <a:masterClrMapping/>
  </p:clrMapOvr>
  <p:transition spd="med">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bwMode="gray">
          <a:xfrm>
            <a:off x="1" y="0"/>
            <a:ext cx="5714934" cy="6857474"/>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9" name="Picture Placeholder 5"/>
          <p:cNvSpPr>
            <a:spLocks noGrp="1"/>
          </p:cNvSpPr>
          <p:nvPr>
            <p:ph type="pic" sz="quarter" idx="28"/>
          </p:nvPr>
        </p:nvSpPr>
        <p:spPr bwMode="gray">
          <a:xfrm>
            <a:off x="5714935" y="525"/>
            <a:ext cx="6477416" cy="6857476"/>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6" name="Picture Placeholder 5"/>
          <p:cNvSpPr>
            <a:spLocks noGrp="1"/>
          </p:cNvSpPr>
          <p:nvPr>
            <p:ph type="pic" sz="quarter" idx="27"/>
          </p:nvPr>
        </p:nvSpPr>
        <p:spPr bwMode="gray">
          <a:xfrm>
            <a:off x="6477067" y="761652"/>
            <a:ext cx="4190144" cy="4191815"/>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1" name="Slide Number Placeholder 10">
            <a:extLst>
              <a:ext uri="{FF2B5EF4-FFF2-40B4-BE49-F238E27FC236}">
                <a16:creationId xmlns:a16="http://schemas.microsoft.com/office/drawing/2014/main" id="{7185475C-96D3-413F-A5B9-4489AB46BD6C}"/>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13" name="Text Placeholder 17">
            <a:extLst>
              <a:ext uri="{FF2B5EF4-FFF2-40B4-BE49-F238E27FC236}">
                <a16:creationId xmlns:a16="http://schemas.microsoft.com/office/drawing/2014/main" id="{E4334508-DEE9-4B79-92DC-0D4614578EA2}"/>
              </a:ext>
            </a:extLst>
          </p:cNvPr>
          <p:cNvSpPr>
            <a:spLocks noGrp="1"/>
          </p:cNvSpPr>
          <p:nvPr>
            <p:ph type="body" sz="quarter" idx="18"/>
          </p:nvPr>
        </p:nvSpPr>
        <p:spPr bwMode="gray">
          <a:xfrm>
            <a:off x="1142716" y="4189264"/>
            <a:ext cx="3047956" cy="190663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itle 4">
            <a:extLst>
              <a:ext uri="{FF2B5EF4-FFF2-40B4-BE49-F238E27FC236}">
                <a16:creationId xmlns:a16="http://schemas.microsoft.com/office/drawing/2014/main" id="{EB66B50D-5955-4E99-B69D-AAD52162D646}"/>
              </a:ext>
            </a:extLst>
          </p:cNvPr>
          <p:cNvSpPr>
            <a:spLocks noGrp="1"/>
          </p:cNvSpPr>
          <p:nvPr>
            <p:ph type="title" hasCustomPrompt="1"/>
          </p:nvPr>
        </p:nvSpPr>
        <p:spPr bwMode="gray">
          <a:xfrm>
            <a:off x="1142718" y="761653"/>
            <a:ext cx="3810087" cy="3427610"/>
          </a:xfrm>
        </p:spPr>
        <p:txBody>
          <a:bodyPr bIns="144000" anchor="b"/>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a:t>
            </a:r>
            <a:br>
              <a:rPr lang="en-US"/>
            </a:br>
            <a:r>
              <a:rPr lang="en-US"/>
              <a:t>over four lines or less.</a:t>
            </a:r>
          </a:p>
        </p:txBody>
      </p:sp>
    </p:spTree>
    <p:extLst>
      <p:ext uri="{BB962C8B-B14F-4D97-AF65-F5344CB8AC3E}">
        <p14:creationId xmlns:p14="http://schemas.microsoft.com/office/powerpoint/2010/main" val="392393457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149" y="1524072"/>
            <a:ext cx="3810523" cy="3047883"/>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3" name="Picture Placeholder 3"/>
          <p:cNvSpPr>
            <a:spLocks noGrp="1"/>
          </p:cNvSpPr>
          <p:nvPr>
            <p:ph type="pic" sz="quarter" idx="23"/>
          </p:nvPr>
        </p:nvSpPr>
        <p:spPr bwMode="gray">
          <a:xfrm>
            <a:off x="4190672" y="1524072"/>
            <a:ext cx="3810523" cy="304788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4" name="Picture Placeholder 3"/>
          <p:cNvSpPr>
            <a:spLocks noGrp="1"/>
          </p:cNvSpPr>
          <p:nvPr>
            <p:ph type="pic" sz="quarter" idx="24"/>
          </p:nvPr>
        </p:nvSpPr>
        <p:spPr bwMode="gray">
          <a:xfrm>
            <a:off x="8001196" y="1524072"/>
            <a:ext cx="3810523" cy="3047883"/>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3" name="Title 2">
            <a:extLst>
              <a:ext uri="{FF2B5EF4-FFF2-40B4-BE49-F238E27FC236}">
                <a16:creationId xmlns:a16="http://schemas.microsoft.com/office/drawing/2014/main" id="{4EA0DF66-95E0-46A6-8652-7C278A22A88D}"/>
              </a:ext>
            </a:extLst>
          </p:cNvPr>
          <p:cNvSpPr>
            <a:spLocks noGrp="1"/>
          </p:cNvSpPr>
          <p:nvPr>
            <p:ph type="title"/>
          </p:nvPr>
        </p:nvSpPr>
        <p:spPr bwMode="gray"/>
        <p:txBody>
          <a:bodyPr/>
          <a:lstStyle/>
          <a:p>
            <a:r>
              <a:rPr lang="en-GB"/>
              <a:t>Click to edit Master title style</a:t>
            </a:r>
            <a:endParaRPr lang="en-US"/>
          </a:p>
        </p:txBody>
      </p:sp>
      <p:sp>
        <p:nvSpPr>
          <p:cNvPr id="8" name="Slide Number Placeholder 7">
            <a:extLst>
              <a:ext uri="{FF2B5EF4-FFF2-40B4-BE49-F238E27FC236}">
                <a16:creationId xmlns:a16="http://schemas.microsoft.com/office/drawing/2014/main" id="{D1F55AED-4045-47E6-9355-4E70B8AC2FD7}"/>
              </a:ext>
            </a:extLst>
          </p:cNvPr>
          <p:cNvSpPr>
            <a:spLocks noGrp="1"/>
          </p:cNvSpPr>
          <p:nvPr>
            <p:ph type="sldNum" sz="quarter" idx="30"/>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8">
            <a:extLst>
              <a:ext uri="{FF2B5EF4-FFF2-40B4-BE49-F238E27FC236}">
                <a16:creationId xmlns:a16="http://schemas.microsoft.com/office/drawing/2014/main" id="{3F7655D8-F9A5-4788-B9AC-A86FA37BED8A}"/>
              </a:ext>
            </a:extLst>
          </p:cNvPr>
          <p:cNvSpPr>
            <a:spLocks noGrp="1"/>
          </p:cNvSpPr>
          <p:nvPr>
            <p:ph type="body" sz="quarter" idx="31"/>
          </p:nvPr>
        </p:nvSpPr>
        <p:spPr bwMode="gray">
          <a:xfrm>
            <a:off x="380016"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4" name="Text Placeholder 18">
            <a:extLst>
              <a:ext uri="{FF2B5EF4-FFF2-40B4-BE49-F238E27FC236}">
                <a16:creationId xmlns:a16="http://schemas.microsoft.com/office/drawing/2014/main" id="{202D6161-BB99-4257-AF9F-EBC735CB191A}"/>
              </a:ext>
            </a:extLst>
          </p:cNvPr>
          <p:cNvSpPr>
            <a:spLocks noGrp="1"/>
          </p:cNvSpPr>
          <p:nvPr>
            <p:ph type="body" sz="quarter" idx="32"/>
          </p:nvPr>
        </p:nvSpPr>
        <p:spPr bwMode="gray">
          <a:xfrm>
            <a:off x="4190673"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6" name="Text Placeholder 18">
            <a:extLst>
              <a:ext uri="{FF2B5EF4-FFF2-40B4-BE49-F238E27FC236}">
                <a16:creationId xmlns:a16="http://schemas.microsoft.com/office/drawing/2014/main" id="{86408CCB-0074-4487-ADC2-FEB6BC4BB3D0}"/>
              </a:ext>
            </a:extLst>
          </p:cNvPr>
          <p:cNvSpPr>
            <a:spLocks noGrp="1"/>
          </p:cNvSpPr>
          <p:nvPr>
            <p:ph type="body" sz="quarter" idx="33"/>
          </p:nvPr>
        </p:nvSpPr>
        <p:spPr bwMode="gray">
          <a:xfrm>
            <a:off x="8001329"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 name="Date Placeholder 1">
            <a:extLst>
              <a:ext uri="{FF2B5EF4-FFF2-40B4-BE49-F238E27FC236}">
                <a16:creationId xmlns:a16="http://schemas.microsoft.com/office/drawing/2014/main" id="{326184CE-FDFC-4B28-B408-A9D0F126EE34}"/>
              </a:ext>
            </a:extLst>
          </p:cNvPr>
          <p:cNvSpPr>
            <a:spLocks noGrp="1"/>
          </p:cNvSpPr>
          <p:nvPr>
            <p:ph type="dt" sz="half" idx="34"/>
          </p:nvPr>
        </p:nvSpPr>
        <p:spPr/>
        <p:txBody>
          <a:bodyPr/>
          <a:lstStyle/>
          <a:p>
            <a:fld id="{35CFB15A-F4F8-4FB8-BB46-5B8F1BB19B12}" type="datetime5">
              <a:rPr lang="en-US" smtClean="0"/>
              <a:t>6-Oct-21</a:t>
            </a:fld>
            <a:endParaRPr lang="en-US"/>
          </a:p>
        </p:txBody>
      </p:sp>
      <p:sp>
        <p:nvSpPr>
          <p:cNvPr id="4" name="Footer Placeholder 3">
            <a:extLst>
              <a:ext uri="{FF2B5EF4-FFF2-40B4-BE49-F238E27FC236}">
                <a16:creationId xmlns:a16="http://schemas.microsoft.com/office/drawing/2014/main" id="{B73F402E-95C8-4388-BBE1-C5169DD6473B}"/>
              </a:ext>
            </a:extLst>
          </p:cNvPr>
          <p:cNvSpPr>
            <a:spLocks noGrp="1"/>
          </p:cNvSpPr>
          <p:nvPr>
            <p:ph type="ftr" sz="quarter" idx="35"/>
          </p:nvPr>
        </p:nvSpPr>
        <p:spPr/>
        <p:txBody>
          <a:bodyPr/>
          <a:lstStyle/>
          <a:p>
            <a:pPr defTabSz="1218764">
              <a:lnSpc>
                <a:spcPct val="80000"/>
              </a:lnSpc>
            </a:pPr>
            <a:r>
              <a:rPr lang="en-GB"/>
              <a:t>FOOTER / PRESENTATION NAME</a:t>
            </a:r>
          </a:p>
        </p:txBody>
      </p:sp>
      <p:sp>
        <p:nvSpPr>
          <p:cNvPr id="16" name="Text Placeholder 15">
            <a:extLst>
              <a:ext uri="{FF2B5EF4-FFF2-40B4-BE49-F238E27FC236}">
                <a16:creationId xmlns:a16="http://schemas.microsoft.com/office/drawing/2014/main" id="{1838A765-2229-41F5-B5BA-E7D3F42B7242}"/>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126661115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 Images + Descriptions (2)">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9606" y="381116"/>
            <a:ext cx="2667724" cy="3809854"/>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3" name="Picture Placeholder 3"/>
          <p:cNvSpPr>
            <a:spLocks noGrp="1"/>
          </p:cNvSpPr>
          <p:nvPr>
            <p:ph type="pic" sz="quarter" idx="23"/>
          </p:nvPr>
        </p:nvSpPr>
        <p:spPr bwMode="gray">
          <a:xfrm>
            <a:off x="6477330" y="381116"/>
            <a:ext cx="2667724" cy="3809854"/>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4" name="Picture Placeholder 3"/>
          <p:cNvSpPr>
            <a:spLocks noGrp="1"/>
          </p:cNvSpPr>
          <p:nvPr>
            <p:ph type="pic" sz="quarter" idx="24"/>
          </p:nvPr>
        </p:nvSpPr>
        <p:spPr bwMode="gray">
          <a:xfrm>
            <a:off x="9145054" y="381116"/>
            <a:ext cx="2667724" cy="3809854"/>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3" name="Title 2">
            <a:extLst>
              <a:ext uri="{FF2B5EF4-FFF2-40B4-BE49-F238E27FC236}">
                <a16:creationId xmlns:a16="http://schemas.microsoft.com/office/drawing/2014/main" id="{4EA0DF66-95E0-46A6-8652-7C278A22A88D}"/>
              </a:ext>
            </a:extLst>
          </p:cNvPr>
          <p:cNvSpPr>
            <a:spLocks noGrp="1"/>
          </p:cNvSpPr>
          <p:nvPr>
            <p:ph type="title"/>
          </p:nvPr>
        </p:nvSpPr>
        <p:spPr bwMode="gray">
          <a:xfrm>
            <a:off x="380672" y="381455"/>
            <a:ext cx="3047870" cy="3047544"/>
          </a:xfrm>
        </p:spPr>
        <p:txBody>
          <a:bodyPr/>
          <a:lstStyle/>
          <a:p>
            <a:r>
              <a:rPr lang="en-GB"/>
              <a:t>Click to edit Master title style</a:t>
            </a:r>
            <a:endParaRPr lang="en-US"/>
          </a:p>
        </p:txBody>
      </p:sp>
      <p:sp>
        <p:nvSpPr>
          <p:cNvPr id="8" name="Slide Number Placeholder 7">
            <a:extLst>
              <a:ext uri="{FF2B5EF4-FFF2-40B4-BE49-F238E27FC236}">
                <a16:creationId xmlns:a16="http://schemas.microsoft.com/office/drawing/2014/main" id="{D1F55AED-4045-47E6-9355-4E70B8AC2FD7}"/>
              </a:ext>
            </a:extLst>
          </p:cNvPr>
          <p:cNvSpPr>
            <a:spLocks noGrp="1"/>
          </p:cNvSpPr>
          <p:nvPr>
            <p:ph type="sldNum" sz="quarter" idx="30"/>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8">
            <a:extLst>
              <a:ext uri="{FF2B5EF4-FFF2-40B4-BE49-F238E27FC236}">
                <a16:creationId xmlns:a16="http://schemas.microsoft.com/office/drawing/2014/main" id="{3F7655D8-F9A5-4788-B9AC-A86FA37BED8A}"/>
              </a:ext>
            </a:extLst>
          </p:cNvPr>
          <p:cNvSpPr>
            <a:spLocks noGrp="1"/>
          </p:cNvSpPr>
          <p:nvPr>
            <p:ph type="body" sz="quarter" idx="31"/>
          </p:nvPr>
        </p:nvSpPr>
        <p:spPr bwMode="gray">
          <a:xfrm>
            <a:off x="3809608"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4" name="Text Placeholder 18">
            <a:extLst>
              <a:ext uri="{FF2B5EF4-FFF2-40B4-BE49-F238E27FC236}">
                <a16:creationId xmlns:a16="http://schemas.microsoft.com/office/drawing/2014/main" id="{202D6161-BB99-4257-AF9F-EBC735CB191A}"/>
              </a:ext>
            </a:extLst>
          </p:cNvPr>
          <p:cNvSpPr>
            <a:spLocks noGrp="1"/>
          </p:cNvSpPr>
          <p:nvPr>
            <p:ph type="body" sz="quarter" idx="32"/>
          </p:nvPr>
        </p:nvSpPr>
        <p:spPr bwMode="gray">
          <a:xfrm>
            <a:off x="6477330"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6" name="Text Placeholder 18">
            <a:extLst>
              <a:ext uri="{FF2B5EF4-FFF2-40B4-BE49-F238E27FC236}">
                <a16:creationId xmlns:a16="http://schemas.microsoft.com/office/drawing/2014/main" id="{86408CCB-0074-4487-ADC2-FEB6BC4BB3D0}"/>
              </a:ext>
            </a:extLst>
          </p:cNvPr>
          <p:cNvSpPr>
            <a:spLocks noGrp="1"/>
          </p:cNvSpPr>
          <p:nvPr>
            <p:ph type="body" sz="quarter" idx="33"/>
          </p:nvPr>
        </p:nvSpPr>
        <p:spPr bwMode="gray">
          <a:xfrm>
            <a:off x="9145054"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 name="Date Placeholder 1">
            <a:extLst>
              <a:ext uri="{FF2B5EF4-FFF2-40B4-BE49-F238E27FC236}">
                <a16:creationId xmlns:a16="http://schemas.microsoft.com/office/drawing/2014/main" id="{6224147F-EA20-4FE7-9334-F2684B3D5509}"/>
              </a:ext>
            </a:extLst>
          </p:cNvPr>
          <p:cNvSpPr>
            <a:spLocks noGrp="1"/>
          </p:cNvSpPr>
          <p:nvPr>
            <p:ph type="dt" sz="half" idx="34"/>
          </p:nvPr>
        </p:nvSpPr>
        <p:spPr/>
        <p:txBody>
          <a:bodyPr/>
          <a:lstStyle/>
          <a:p>
            <a:fld id="{0143FB3C-E062-40BF-BACE-96CF1A5B9CFF}" type="datetime5">
              <a:rPr lang="en-US" smtClean="0"/>
              <a:t>6-Oct-21</a:t>
            </a:fld>
            <a:endParaRPr lang="en-US"/>
          </a:p>
        </p:txBody>
      </p:sp>
      <p:sp>
        <p:nvSpPr>
          <p:cNvPr id="4" name="Footer Placeholder 3">
            <a:extLst>
              <a:ext uri="{FF2B5EF4-FFF2-40B4-BE49-F238E27FC236}">
                <a16:creationId xmlns:a16="http://schemas.microsoft.com/office/drawing/2014/main" id="{D92FC458-31AA-4ADA-B7BB-38BB5862B030}"/>
              </a:ext>
            </a:extLst>
          </p:cNvPr>
          <p:cNvSpPr>
            <a:spLocks noGrp="1"/>
          </p:cNvSpPr>
          <p:nvPr>
            <p:ph type="ftr" sz="quarter" idx="35"/>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109487509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149" y="1524072"/>
            <a:ext cx="2857858" cy="3047883"/>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3" name="Picture Placeholder 3"/>
          <p:cNvSpPr>
            <a:spLocks noGrp="1"/>
          </p:cNvSpPr>
          <p:nvPr>
            <p:ph type="pic" sz="quarter" idx="23"/>
          </p:nvPr>
        </p:nvSpPr>
        <p:spPr bwMode="gray">
          <a:xfrm>
            <a:off x="3238007" y="1524072"/>
            <a:ext cx="2862502" cy="3047883"/>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4" name="Picture Placeholder 3"/>
          <p:cNvSpPr>
            <a:spLocks noGrp="1"/>
          </p:cNvSpPr>
          <p:nvPr>
            <p:ph type="pic" sz="quarter" idx="24"/>
          </p:nvPr>
        </p:nvSpPr>
        <p:spPr bwMode="gray">
          <a:xfrm>
            <a:off x="6100509" y="1524072"/>
            <a:ext cx="2860117" cy="3047883"/>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22" name="Picture Placeholder 3"/>
          <p:cNvSpPr>
            <a:spLocks noGrp="1"/>
          </p:cNvSpPr>
          <p:nvPr>
            <p:ph type="pic" sz="quarter" idx="28"/>
          </p:nvPr>
        </p:nvSpPr>
        <p:spPr bwMode="gray">
          <a:xfrm>
            <a:off x="8960625" y="1524072"/>
            <a:ext cx="2860117" cy="3047883"/>
          </a:xfrm>
          <a:solidFill>
            <a:schemeClr val="bg2"/>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3" name="Title 2">
            <a:extLst>
              <a:ext uri="{FF2B5EF4-FFF2-40B4-BE49-F238E27FC236}">
                <a16:creationId xmlns:a16="http://schemas.microsoft.com/office/drawing/2014/main" id="{D898A731-213A-4339-8CA8-9E1916EACB64}"/>
              </a:ext>
            </a:extLst>
          </p:cNvPr>
          <p:cNvSpPr>
            <a:spLocks noGrp="1"/>
          </p:cNvSpPr>
          <p:nvPr>
            <p:ph type="title"/>
          </p:nvPr>
        </p:nvSpPr>
        <p:spPr bwMode="gray"/>
        <p:txBody>
          <a:bodyPr/>
          <a:lstStyle/>
          <a:p>
            <a:r>
              <a:rPr lang="en-GB"/>
              <a:t>Click to edit Master title style</a:t>
            </a:r>
            <a:endParaRPr lang="en-US"/>
          </a:p>
        </p:txBody>
      </p:sp>
      <p:sp>
        <p:nvSpPr>
          <p:cNvPr id="8" name="Slide Number Placeholder 7">
            <a:extLst>
              <a:ext uri="{FF2B5EF4-FFF2-40B4-BE49-F238E27FC236}">
                <a16:creationId xmlns:a16="http://schemas.microsoft.com/office/drawing/2014/main" id="{DCE725B1-3137-4CE9-9320-3816D119A0B7}"/>
              </a:ext>
            </a:extLst>
          </p:cNvPr>
          <p:cNvSpPr>
            <a:spLocks noGrp="1"/>
          </p:cNvSpPr>
          <p:nvPr>
            <p:ph type="sldNum" sz="quarter" idx="34"/>
          </p:nvPr>
        </p:nvSpPr>
        <p:spPr bwMode="gray"/>
        <p:txBody>
          <a:bodyPr/>
          <a:lstStyle/>
          <a:p>
            <a:pPr>
              <a:defRPr/>
            </a:pPr>
            <a:fld id="{66C8B3C2-955F-42B1-8DED-EE47D723596C}" type="slidenum">
              <a:rPr lang="en-US" noProof="0" smtClean="0"/>
              <a:pPr>
                <a:defRPr/>
              </a:pPr>
              <a:t>‹#›</a:t>
            </a:fld>
            <a:endParaRPr lang="en-US" noProof="0"/>
          </a:p>
        </p:txBody>
      </p:sp>
      <p:sp>
        <p:nvSpPr>
          <p:cNvPr id="20" name="Text Placeholder 18">
            <a:extLst>
              <a:ext uri="{FF2B5EF4-FFF2-40B4-BE49-F238E27FC236}">
                <a16:creationId xmlns:a16="http://schemas.microsoft.com/office/drawing/2014/main" id="{4B20DDC1-39BA-43B4-843F-07C3E46A0EA9}"/>
              </a:ext>
            </a:extLst>
          </p:cNvPr>
          <p:cNvSpPr>
            <a:spLocks noGrp="1"/>
          </p:cNvSpPr>
          <p:nvPr>
            <p:ph type="body" sz="quarter" idx="31"/>
          </p:nvPr>
        </p:nvSpPr>
        <p:spPr bwMode="gray">
          <a:xfrm>
            <a:off x="380016"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FAA65DB6-2E3B-4611-B3AB-382BA57EDD71}"/>
              </a:ext>
            </a:extLst>
          </p:cNvPr>
          <p:cNvSpPr>
            <a:spLocks noGrp="1"/>
          </p:cNvSpPr>
          <p:nvPr>
            <p:ph type="body" sz="quarter" idx="35"/>
          </p:nvPr>
        </p:nvSpPr>
        <p:spPr bwMode="gray">
          <a:xfrm>
            <a:off x="3238007"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3" name="Text Placeholder 18">
            <a:extLst>
              <a:ext uri="{FF2B5EF4-FFF2-40B4-BE49-F238E27FC236}">
                <a16:creationId xmlns:a16="http://schemas.microsoft.com/office/drawing/2014/main" id="{DE34A013-F438-4001-ABF1-FC6F19E3FB47}"/>
              </a:ext>
            </a:extLst>
          </p:cNvPr>
          <p:cNvSpPr>
            <a:spLocks noGrp="1"/>
          </p:cNvSpPr>
          <p:nvPr>
            <p:ph type="body" sz="quarter" idx="36"/>
          </p:nvPr>
        </p:nvSpPr>
        <p:spPr bwMode="gray">
          <a:xfrm>
            <a:off x="6100509"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6" name="Text Placeholder 18">
            <a:extLst>
              <a:ext uri="{FF2B5EF4-FFF2-40B4-BE49-F238E27FC236}">
                <a16:creationId xmlns:a16="http://schemas.microsoft.com/office/drawing/2014/main" id="{82269CA9-20B1-41ED-94C6-442ACA56F7CE}"/>
              </a:ext>
            </a:extLst>
          </p:cNvPr>
          <p:cNvSpPr>
            <a:spLocks noGrp="1"/>
          </p:cNvSpPr>
          <p:nvPr>
            <p:ph type="body" sz="quarter" idx="37"/>
          </p:nvPr>
        </p:nvSpPr>
        <p:spPr bwMode="gray">
          <a:xfrm>
            <a:off x="8960626"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 name="Date Placeholder 1">
            <a:extLst>
              <a:ext uri="{FF2B5EF4-FFF2-40B4-BE49-F238E27FC236}">
                <a16:creationId xmlns:a16="http://schemas.microsoft.com/office/drawing/2014/main" id="{1340052F-66D0-4CF7-BDCF-30F247412015}"/>
              </a:ext>
            </a:extLst>
          </p:cNvPr>
          <p:cNvSpPr>
            <a:spLocks noGrp="1"/>
          </p:cNvSpPr>
          <p:nvPr>
            <p:ph type="dt" sz="half" idx="38"/>
          </p:nvPr>
        </p:nvSpPr>
        <p:spPr/>
        <p:txBody>
          <a:bodyPr/>
          <a:lstStyle/>
          <a:p>
            <a:fld id="{9CDC2FC4-E25E-4EBE-856E-26E3EA9DC352}" type="datetime5">
              <a:rPr lang="en-US" smtClean="0"/>
              <a:t>6-Oct-21</a:t>
            </a:fld>
            <a:endParaRPr lang="en-US"/>
          </a:p>
        </p:txBody>
      </p:sp>
      <p:sp>
        <p:nvSpPr>
          <p:cNvPr id="4" name="Footer Placeholder 3">
            <a:extLst>
              <a:ext uri="{FF2B5EF4-FFF2-40B4-BE49-F238E27FC236}">
                <a16:creationId xmlns:a16="http://schemas.microsoft.com/office/drawing/2014/main" id="{70025956-76F2-4965-BA46-222B033F312E}"/>
              </a:ext>
            </a:extLst>
          </p:cNvPr>
          <p:cNvSpPr>
            <a:spLocks noGrp="1"/>
          </p:cNvSpPr>
          <p:nvPr>
            <p:ph type="ftr" sz="quarter" idx="39"/>
          </p:nvPr>
        </p:nvSpPr>
        <p:spPr/>
        <p:txBody>
          <a:bodyPr/>
          <a:lstStyle/>
          <a:p>
            <a:pPr defTabSz="1218764">
              <a:lnSpc>
                <a:spcPct val="80000"/>
              </a:lnSpc>
            </a:pPr>
            <a:r>
              <a:rPr lang="en-GB"/>
              <a:t>FOOTER / PRESENTATION NAME</a:t>
            </a:r>
          </a:p>
        </p:txBody>
      </p:sp>
      <p:sp>
        <p:nvSpPr>
          <p:cNvPr id="15" name="Text Placeholder 15">
            <a:extLst>
              <a:ext uri="{FF2B5EF4-FFF2-40B4-BE49-F238E27FC236}">
                <a16:creationId xmlns:a16="http://schemas.microsoft.com/office/drawing/2014/main" id="{745F9069-44EC-4137-890C-B9B0DA5CCFDB}"/>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54210919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 Images + Descriptions (2)">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428540" y="381116"/>
            <a:ext cx="2095628" cy="3809854"/>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3" name="Picture Placeholder 3"/>
          <p:cNvSpPr>
            <a:spLocks noGrp="1"/>
          </p:cNvSpPr>
          <p:nvPr>
            <p:ph type="pic" sz="quarter" idx="23"/>
          </p:nvPr>
        </p:nvSpPr>
        <p:spPr bwMode="gray">
          <a:xfrm>
            <a:off x="5524167" y="381116"/>
            <a:ext cx="2095628" cy="3809854"/>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4" name="Picture Placeholder 3"/>
          <p:cNvSpPr>
            <a:spLocks noGrp="1"/>
          </p:cNvSpPr>
          <p:nvPr>
            <p:ph type="pic" sz="quarter" idx="24"/>
          </p:nvPr>
        </p:nvSpPr>
        <p:spPr bwMode="gray">
          <a:xfrm>
            <a:off x="7619795" y="381116"/>
            <a:ext cx="2095628" cy="3809854"/>
          </a:xfrm>
          <a:solidFill>
            <a:schemeClr val="bg2">
              <a:lumMod val="60000"/>
              <a:lumOff val="4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22" name="Picture Placeholder 3"/>
          <p:cNvSpPr>
            <a:spLocks noGrp="1"/>
          </p:cNvSpPr>
          <p:nvPr>
            <p:ph type="pic" sz="quarter" idx="28"/>
          </p:nvPr>
        </p:nvSpPr>
        <p:spPr bwMode="gray">
          <a:xfrm>
            <a:off x="9715423" y="381116"/>
            <a:ext cx="2095628" cy="3809854"/>
          </a:xfrm>
          <a:solidFill>
            <a:schemeClr val="bg2"/>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3" name="Title 2">
            <a:extLst>
              <a:ext uri="{FF2B5EF4-FFF2-40B4-BE49-F238E27FC236}">
                <a16:creationId xmlns:a16="http://schemas.microsoft.com/office/drawing/2014/main" id="{D898A731-213A-4339-8CA8-9E1916EACB64}"/>
              </a:ext>
            </a:extLst>
          </p:cNvPr>
          <p:cNvSpPr>
            <a:spLocks noGrp="1"/>
          </p:cNvSpPr>
          <p:nvPr>
            <p:ph type="title"/>
          </p:nvPr>
        </p:nvSpPr>
        <p:spPr bwMode="gray">
          <a:xfrm>
            <a:off x="380672" y="381455"/>
            <a:ext cx="2666804" cy="3047544"/>
          </a:xfrm>
        </p:spPr>
        <p:txBody>
          <a:bodyPr/>
          <a:lstStyle/>
          <a:p>
            <a:r>
              <a:rPr lang="en-GB"/>
              <a:t>Click to edit Master title style</a:t>
            </a:r>
            <a:endParaRPr lang="en-US"/>
          </a:p>
        </p:txBody>
      </p:sp>
      <p:sp>
        <p:nvSpPr>
          <p:cNvPr id="8" name="Slide Number Placeholder 7">
            <a:extLst>
              <a:ext uri="{FF2B5EF4-FFF2-40B4-BE49-F238E27FC236}">
                <a16:creationId xmlns:a16="http://schemas.microsoft.com/office/drawing/2014/main" id="{DCE725B1-3137-4CE9-9320-3816D119A0B7}"/>
              </a:ext>
            </a:extLst>
          </p:cNvPr>
          <p:cNvSpPr>
            <a:spLocks noGrp="1"/>
          </p:cNvSpPr>
          <p:nvPr>
            <p:ph type="sldNum" sz="quarter" idx="34"/>
          </p:nvPr>
        </p:nvSpPr>
        <p:spPr bwMode="gray"/>
        <p:txBody>
          <a:bodyPr/>
          <a:lstStyle/>
          <a:p>
            <a:pPr>
              <a:defRPr/>
            </a:pPr>
            <a:fld id="{66C8B3C2-955F-42B1-8DED-EE47D723596C}" type="slidenum">
              <a:rPr lang="en-US" noProof="0" smtClean="0"/>
              <a:pPr>
                <a:defRPr/>
              </a:pPr>
              <a:t>‹#›</a:t>
            </a:fld>
            <a:endParaRPr lang="en-US" noProof="0"/>
          </a:p>
        </p:txBody>
      </p:sp>
      <p:sp>
        <p:nvSpPr>
          <p:cNvPr id="20" name="Text Placeholder 18">
            <a:extLst>
              <a:ext uri="{FF2B5EF4-FFF2-40B4-BE49-F238E27FC236}">
                <a16:creationId xmlns:a16="http://schemas.microsoft.com/office/drawing/2014/main" id="{4B20DDC1-39BA-43B4-843F-07C3E46A0EA9}"/>
              </a:ext>
            </a:extLst>
          </p:cNvPr>
          <p:cNvSpPr>
            <a:spLocks noGrp="1"/>
          </p:cNvSpPr>
          <p:nvPr>
            <p:ph type="body" sz="quarter" idx="31"/>
          </p:nvPr>
        </p:nvSpPr>
        <p:spPr bwMode="gray">
          <a:xfrm>
            <a:off x="3428542"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FAA65DB6-2E3B-4611-B3AB-382BA57EDD71}"/>
              </a:ext>
            </a:extLst>
          </p:cNvPr>
          <p:cNvSpPr>
            <a:spLocks noGrp="1"/>
          </p:cNvSpPr>
          <p:nvPr>
            <p:ph type="body" sz="quarter" idx="35"/>
          </p:nvPr>
        </p:nvSpPr>
        <p:spPr bwMode="gray">
          <a:xfrm>
            <a:off x="5524168"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3" name="Text Placeholder 18">
            <a:extLst>
              <a:ext uri="{FF2B5EF4-FFF2-40B4-BE49-F238E27FC236}">
                <a16:creationId xmlns:a16="http://schemas.microsoft.com/office/drawing/2014/main" id="{DE34A013-F438-4001-ABF1-FC6F19E3FB47}"/>
              </a:ext>
            </a:extLst>
          </p:cNvPr>
          <p:cNvSpPr>
            <a:spLocks noGrp="1"/>
          </p:cNvSpPr>
          <p:nvPr>
            <p:ph type="body" sz="quarter" idx="36"/>
          </p:nvPr>
        </p:nvSpPr>
        <p:spPr bwMode="gray">
          <a:xfrm>
            <a:off x="7619795"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6" name="Text Placeholder 18">
            <a:extLst>
              <a:ext uri="{FF2B5EF4-FFF2-40B4-BE49-F238E27FC236}">
                <a16:creationId xmlns:a16="http://schemas.microsoft.com/office/drawing/2014/main" id="{82269CA9-20B1-41ED-94C6-442ACA56F7CE}"/>
              </a:ext>
            </a:extLst>
          </p:cNvPr>
          <p:cNvSpPr>
            <a:spLocks noGrp="1"/>
          </p:cNvSpPr>
          <p:nvPr>
            <p:ph type="body" sz="quarter" idx="37"/>
          </p:nvPr>
        </p:nvSpPr>
        <p:spPr bwMode="gray">
          <a:xfrm>
            <a:off x="9715423"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GB"/>
              <a:t>Click to edit Master text styles</a:t>
            </a:r>
          </a:p>
          <a:p>
            <a:pPr lvl="1"/>
            <a:r>
              <a:rPr lang="en-GB"/>
              <a:t>Second level</a:t>
            </a:r>
          </a:p>
          <a:p>
            <a:pPr lvl="2"/>
            <a:r>
              <a:rPr lang="en-GB"/>
              <a:t>Third level</a:t>
            </a:r>
          </a:p>
        </p:txBody>
      </p:sp>
      <p:sp>
        <p:nvSpPr>
          <p:cNvPr id="2" name="Date Placeholder 1">
            <a:extLst>
              <a:ext uri="{FF2B5EF4-FFF2-40B4-BE49-F238E27FC236}">
                <a16:creationId xmlns:a16="http://schemas.microsoft.com/office/drawing/2014/main" id="{95821FD2-CD7E-4B52-8B54-4F5A29F34ECA}"/>
              </a:ext>
            </a:extLst>
          </p:cNvPr>
          <p:cNvSpPr>
            <a:spLocks noGrp="1"/>
          </p:cNvSpPr>
          <p:nvPr>
            <p:ph type="dt" sz="half" idx="38"/>
          </p:nvPr>
        </p:nvSpPr>
        <p:spPr/>
        <p:txBody>
          <a:bodyPr/>
          <a:lstStyle/>
          <a:p>
            <a:fld id="{FB183C7D-6924-48FD-AE86-48A4745705E8}" type="datetime5">
              <a:rPr lang="en-US" smtClean="0"/>
              <a:t>6-Oct-21</a:t>
            </a:fld>
            <a:endParaRPr lang="en-US"/>
          </a:p>
        </p:txBody>
      </p:sp>
      <p:sp>
        <p:nvSpPr>
          <p:cNvPr id="4" name="Footer Placeholder 3">
            <a:extLst>
              <a:ext uri="{FF2B5EF4-FFF2-40B4-BE49-F238E27FC236}">
                <a16:creationId xmlns:a16="http://schemas.microsoft.com/office/drawing/2014/main" id="{DA443346-9A79-4C4A-A04B-C876B4F41F8C}"/>
              </a:ext>
            </a:extLst>
          </p:cNvPr>
          <p:cNvSpPr>
            <a:spLocks noGrp="1"/>
          </p:cNvSpPr>
          <p:nvPr>
            <p:ph type="ftr" sz="quarter" idx="39"/>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313885488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Highlight Slide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380017" y="380068"/>
            <a:ext cx="6859180" cy="2286961"/>
          </a:xfrm>
        </p:spPr>
        <p:txBody>
          <a:bodyPr bIns="144000" anchor="t"/>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write over three lines or less.</a:t>
            </a:r>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380016" y="3048016"/>
            <a:ext cx="3810656" cy="3047882"/>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8001328" y="381116"/>
            <a:ext cx="3810021" cy="4952810"/>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4571739" y="3048015"/>
            <a:ext cx="2667459" cy="2285911"/>
          </a:xfrm>
        </p:spPr>
        <p:txBody>
          <a:bodyPr ancho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Date Placeholder 1">
            <a:extLst>
              <a:ext uri="{FF2B5EF4-FFF2-40B4-BE49-F238E27FC236}">
                <a16:creationId xmlns:a16="http://schemas.microsoft.com/office/drawing/2014/main" id="{C640C698-D1FC-4346-802E-9A807F4887ED}"/>
              </a:ext>
            </a:extLst>
          </p:cNvPr>
          <p:cNvSpPr>
            <a:spLocks noGrp="1"/>
          </p:cNvSpPr>
          <p:nvPr>
            <p:ph type="dt" sz="half" idx="25"/>
          </p:nvPr>
        </p:nvSpPr>
        <p:spPr/>
        <p:txBody>
          <a:bodyPr/>
          <a:lstStyle/>
          <a:p>
            <a:fld id="{4D3D6F3D-3AE6-4458-9C18-AACD25B26E40}" type="datetime5">
              <a:rPr lang="en-US" smtClean="0"/>
              <a:t>6-Oct-21</a:t>
            </a:fld>
            <a:endParaRPr lang="en-US"/>
          </a:p>
        </p:txBody>
      </p:sp>
      <p:sp>
        <p:nvSpPr>
          <p:cNvPr id="3" name="Footer Placeholder 2">
            <a:extLst>
              <a:ext uri="{FF2B5EF4-FFF2-40B4-BE49-F238E27FC236}">
                <a16:creationId xmlns:a16="http://schemas.microsoft.com/office/drawing/2014/main" id="{A6DB7F20-B0D4-4C7F-9BF0-B4DBA43B570D}"/>
              </a:ext>
            </a:extLst>
          </p:cNvPr>
          <p:cNvSpPr>
            <a:spLocks noGrp="1"/>
          </p:cNvSpPr>
          <p:nvPr>
            <p:ph type="ftr" sz="quarter" idx="26"/>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386508874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Highlight Slide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4952802" y="380068"/>
            <a:ext cx="6476804" cy="2667947"/>
          </a:xfrm>
        </p:spPr>
        <p:txBody>
          <a:bodyPr bIns="144000" anchor="t"/>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write over three lines or less.</a:t>
            </a:r>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1" y="0"/>
            <a:ext cx="4190672" cy="5714912"/>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7239196" y="4953073"/>
            <a:ext cx="3048525" cy="1904928"/>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4952802" y="3048015"/>
            <a:ext cx="4191723" cy="1523942"/>
          </a:xfrm>
        </p:spPr>
        <p:txBody>
          <a:bodyPr ancho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Date Placeholder 1">
            <a:extLst>
              <a:ext uri="{FF2B5EF4-FFF2-40B4-BE49-F238E27FC236}">
                <a16:creationId xmlns:a16="http://schemas.microsoft.com/office/drawing/2014/main" id="{90B42700-7453-4088-851F-E32391A21BE7}"/>
              </a:ext>
            </a:extLst>
          </p:cNvPr>
          <p:cNvSpPr>
            <a:spLocks noGrp="1"/>
          </p:cNvSpPr>
          <p:nvPr>
            <p:ph type="dt" sz="half" idx="25"/>
          </p:nvPr>
        </p:nvSpPr>
        <p:spPr/>
        <p:txBody>
          <a:bodyPr/>
          <a:lstStyle/>
          <a:p>
            <a:fld id="{91F30AF0-2529-4205-AA75-1B0398420E05}" type="datetime5">
              <a:rPr lang="en-US" smtClean="0"/>
              <a:t>6-Oct-21</a:t>
            </a:fld>
            <a:endParaRPr lang="en-US"/>
          </a:p>
        </p:txBody>
      </p:sp>
      <p:sp>
        <p:nvSpPr>
          <p:cNvPr id="3" name="Footer Placeholder 2">
            <a:extLst>
              <a:ext uri="{FF2B5EF4-FFF2-40B4-BE49-F238E27FC236}">
                <a16:creationId xmlns:a16="http://schemas.microsoft.com/office/drawing/2014/main" id="{935A158C-9DE1-4594-BF7B-16FE0B5502C9}"/>
              </a:ext>
            </a:extLst>
          </p:cNvPr>
          <p:cNvSpPr>
            <a:spLocks noGrp="1"/>
          </p:cNvSpPr>
          <p:nvPr>
            <p:ph type="ftr" sz="quarter" idx="26"/>
          </p:nvPr>
        </p:nvSpPr>
        <p:spPr>
          <a:xfrm>
            <a:off x="1142717" y="6477934"/>
            <a:ext cx="5334480" cy="379993"/>
          </a:xfrm>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64060473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Highlight Slide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380017" y="3048015"/>
            <a:ext cx="6859180" cy="3047883"/>
          </a:xfrm>
        </p:spPr>
        <p:txBody>
          <a:bodyPr bIns="144000" anchor="t"/>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write over four lines or less.</a:t>
            </a:r>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1" y="0"/>
            <a:ext cx="8763459" cy="2667029"/>
          </a:xfrm>
          <a:solidFill>
            <a:schemeClr val="bg2">
              <a:lumMod val="20000"/>
              <a:lumOff val="8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8001328" y="4190971"/>
            <a:ext cx="3810021" cy="1904928"/>
          </a:xfrm>
          <a:solidFill>
            <a:schemeClr val="bg2">
              <a:lumMod val="40000"/>
              <a:lumOff val="60000"/>
            </a:schemeClr>
          </a:solidFill>
        </p:spPr>
        <p:txBody>
          <a:bodyPr anchor="ctr"/>
          <a:lstStyle>
            <a:lvl1pPr algn="ctr">
              <a:defRPr sz="1058" b="0">
                <a:solidFill>
                  <a:schemeClr val="tx1"/>
                </a:solidFill>
              </a:defRPr>
            </a:lvl1pPr>
          </a:lstStyle>
          <a:p>
            <a:r>
              <a:rPr lang="en-GB" noProof="0"/>
              <a:t>Click icon to add picture</a:t>
            </a:r>
            <a:endParaRPr lang="en-US" noProof="0"/>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9144525" y="380068"/>
            <a:ext cx="2667328" cy="2286699"/>
          </a:xfrm>
        </p:spPr>
        <p:txBody>
          <a:bodyPr anchor="b"/>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Date Placeholder 1">
            <a:extLst>
              <a:ext uri="{FF2B5EF4-FFF2-40B4-BE49-F238E27FC236}">
                <a16:creationId xmlns:a16="http://schemas.microsoft.com/office/drawing/2014/main" id="{13D69B59-023F-455A-BCAB-E18D564CE80C}"/>
              </a:ext>
            </a:extLst>
          </p:cNvPr>
          <p:cNvSpPr>
            <a:spLocks noGrp="1"/>
          </p:cNvSpPr>
          <p:nvPr>
            <p:ph type="dt" sz="half" idx="25"/>
          </p:nvPr>
        </p:nvSpPr>
        <p:spPr/>
        <p:txBody>
          <a:bodyPr/>
          <a:lstStyle/>
          <a:p>
            <a:fld id="{AC068F4C-D00D-41FC-8105-EBDC7AA53AA5}" type="datetime5">
              <a:rPr lang="en-US" smtClean="0"/>
              <a:t>6-Oct-21</a:t>
            </a:fld>
            <a:endParaRPr lang="en-US"/>
          </a:p>
        </p:txBody>
      </p:sp>
      <p:sp>
        <p:nvSpPr>
          <p:cNvPr id="3" name="Footer Placeholder 2">
            <a:extLst>
              <a:ext uri="{FF2B5EF4-FFF2-40B4-BE49-F238E27FC236}">
                <a16:creationId xmlns:a16="http://schemas.microsoft.com/office/drawing/2014/main" id="{325AC6B0-E0BC-4B75-BD21-ECEB5112C608}"/>
              </a:ext>
            </a:extLst>
          </p:cNvPr>
          <p:cNvSpPr>
            <a:spLocks noGrp="1"/>
          </p:cNvSpPr>
          <p:nvPr>
            <p:ph type="ftr" sz="quarter" idx="26"/>
          </p:nvPr>
        </p:nvSpPr>
        <p:spPr/>
        <p:txBody>
          <a:bodyPr/>
          <a:lstStyle/>
          <a:p>
            <a:pPr defTabSz="1218764">
              <a:lnSpc>
                <a:spcPct val="80000"/>
              </a:lnSpc>
            </a:pPr>
            <a:r>
              <a:rPr lang="en-GB"/>
              <a:t>FOOTER / PRESENTATION NAME</a:t>
            </a:r>
          </a:p>
        </p:txBody>
      </p:sp>
    </p:spTree>
    <p:extLst>
      <p:ext uri="{BB962C8B-B14F-4D97-AF65-F5344CB8AC3E}">
        <p14:creationId xmlns:p14="http://schemas.microsoft.com/office/powerpoint/2010/main" val="351040101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40" name="Text Placeholder 39"/>
          <p:cNvSpPr>
            <a:spLocks noGrp="1"/>
          </p:cNvSpPr>
          <p:nvPr>
            <p:ph type="body" sz="quarter" idx="13"/>
          </p:nvPr>
        </p:nvSpPr>
        <p:spPr bwMode="gray">
          <a:xfrm>
            <a:off x="380017" y="2286700"/>
            <a:ext cx="3049574"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1" name="Text Placeholder 39"/>
          <p:cNvSpPr>
            <a:spLocks noGrp="1"/>
          </p:cNvSpPr>
          <p:nvPr>
            <p:ph type="body" sz="quarter" idx="14"/>
          </p:nvPr>
        </p:nvSpPr>
        <p:spPr bwMode="gray">
          <a:xfrm>
            <a:off x="3809607" y="2286700"/>
            <a:ext cx="3049574"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2" name="Text Placeholder 39"/>
          <p:cNvSpPr>
            <a:spLocks noGrp="1"/>
          </p:cNvSpPr>
          <p:nvPr>
            <p:ph type="body" sz="quarter" idx="15"/>
          </p:nvPr>
        </p:nvSpPr>
        <p:spPr bwMode="gray">
          <a:xfrm>
            <a:off x="7239197" y="2286700"/>
            <a:ext cx="3049574"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C97B8C8F-512D-4840-86BB-CEB9544D8CE5}"/>
              </a:ext>
            </a:extLst>
          </p:cNvPr>
          <p:cNvSpPr>
            <a:spLocks noGrp="1"/>
          </p:cNvSpPr>
          <p:nvPr>
            <p:ph type="title"/>
          </p:nvPr>
        </p:nvSpPr>
        <p:spPr bwMode="gray"/>
        <p:txBody>
          <a:bodyPr/>
          <a:lstStyle/>
          <a:p>
            <a:r>
              <a:rPr lang="en-GB"/>
              <a:t>Click to edit Master title style</a:t>
            </a:r>
            <a:endParaRPr lang="en-US"/>
          </a:p>
        </p:txBody>
      </p:sp>
      <p:sp>
        <p:nvSpPr>
          <p:cNvPr id="8" name="Slide Number Placeholder 7">
            <a:extLst>
              <a:ext uri="{FF2B5EF4-FFF2-40B4-BE49-F238E27FC236}">
                <a16:creationId xmlns:a16="http://schemas.microsoft.com/office/drawing/2014/main" id="{E8916C68-A2A4-48E3-BB80-81E28EE44E17}"/>
              </a:ext>
            </a:extLst>
          </p:cNvPr>
          <p:cNvSpPr>
            <a:spLocks noGrp="1"/>
          </p:cNvSpPr>
          <p:nvPr>
            <p:ph type="sldNum" sz="quarter" idx="18"/>
          </p:nvPr>
        </p:nvSpPr>
        <p:spPr bwMode="gray"/>
        <p:txBody>
          <a:bodyPr/>
          <a:lstStyle/>
          <a:p>
            <a:pPr>
              <a:defRPr/>
            </a:pPr>
            <a:fld id="{66C8B3C2-955F-42B1-8DED-EE47D723596C}" type="slidenum">
              <a:rPr lang="en-US" noProof="0" smtClean="0"/>
              <a:pPr>
                <a:defRPr/>
              </a:pPr>
              <a:t>‹#›</a:t>
            </a:fld>
            <a:endParaRPr lang="en-US" noProof="0"/>
          </a:p>
        </p:txBody>
      </p:sp>
      <p:grpSp>
        <p:nvGrpSpPr>
          <p:cNvPr id="37" name="Group 36">
            <a:extLst>
              <a:ext uri="{FF2B5EF4-FFF2-40B4-BE49-F238E27FC236}">
                <a16:creationId xmlns:a16="http://schemas.microsoft.com/office/drawing/2014/main" id="{0F43F632-D035-4929-ADCA-67D26910EE79}"/>
              </a:ext>
            </a:extLst>
          </p:cNvPr>
          <p:cNvGrpSpPr/>
          <p:nvPr userDrawn="1"/>
        </p:nvGrpSpPr>
        <p:grpSpPr bwMode="gray">
          <a:xfrm>
            <a:off x="3810636" y="1639902"/>
            <a:ext cx="297995" cy="265156"/>
            <a:chOff x="3511551" y="-1402656"/>
            <a:chExt cx="1443038" cy="1284288"/>
          </a:xfrm>
        </p:grpSpPr>
        <p:sp>
          <p:nvSpPr>
            <p:cNvPr id="38" name="Freeform 6">
              <a:extLst>
                <a:ext uri="{FF2B5EF4-FFF2-40B4-BE49-F238E27FC236}">
                  <a16:creationId xmlns:a16="http://schemas.microsoft.com/office/drawing/2014/main" id="{D3CA7162-5F80-4E4F-991B-16B47A7A7ECB}"/>
                </a:ext>
              </a:extLst>
            </p:cNvPr>
            <p:cNvSpPr>
              <a:spLocks/>
            </p:cNvSpPr>
            <p:nvPr/>
          </p:nvSpPr>
          <p:spPr bwMode="gray">
            <a:xfrm>
              <a:off x="3511551" y="-1208981"/>
              <a:ext cx="1443038" cy="1090613"/>
            </a:xfrm>
            <a:custGeom>
              <a:avLst/>
              <a:gdLst>
                <a:gd name="T0" fmla="*/ 620 w 909"/>
                <a:gd name="T1" fmla="*/ 0 h 687"/>
                <a:gd name="T2" fmla="*/ 909 w 909"/>
                <a:gd name="T3" fmla="*/ 0 h 687"/>
                <a:gd name="T4" fmla="*/ 909 w 909"/>
                <a:gd name="T5" fmla="*/ 687 h 687"/>
                <a:gd name="T6" fmla="*/ 0 w 909"/>
                <a:gd name="T7" fmla="*/ 687 h 687"/>
                <a:gd name="T8" fmla="*/ 0 w 909"/>
                <a:gd name="T9" fmla="*/ 0 h 687"/>
                <a:gd name="T10" fmla="*/ 290 w 909"/>
                <a:gd name="T11" fmla="*/ 0 h 687"/>
              </a:gdLst>
              <a:ahLst/>
              <a:cxnLst>
                <a:cxn ang="0">
                  <a:pos x="T0" y="T1"/>
                </a:cxn>
                <a:cxn ang="0">
                  <a:pos x="T2" y="T3"/>
                </a:cxn>
                <a:cxn ang="0">
                  <a:pos x="T4" y="T5"/>
                </a:cxn>
                <a:cxn ang="0">
                  <a:pos x="T6" y="T7"/>
                </a:cxn>
                <a:cxn ang="0">
                  <a:pos x="T8" y="T9"/>
                </a:cxn>
                <a:cxn ang="0">
                  <a:pos x="T10" y="T11"/>
                </a:cxn>
              </a:cxnLst>
              <a:rect l="0" t="0" r="r" b="b"/>
              <a:pathLst>
                <a:path w="909" h="687">
                  <a:moveTo>
                    <a:pt x="620" y="0"/>
                  </a:moveTo>
                  <a:lnTo>
                    <a:pt x="909" y="0"/>
                  </a:lnTo>
                  <a:lnTo>
                    <a:pt x="909" y="687"/>
                  </a:lnTo>
                  <a:lnTo>
                    <a:pt x="0" y="687"/>
                  </a:lnTo>
                  <a:lnTo>
                    <a:pt x="0" y="0"/>
                  </a:lnTo>
                  <a:lnTo>
                    <a:pt x="29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39" name="Freeform 7">
              <a:extLst>
                <a:ext uri="{FF2B5EF4-FFF2-40B4-BE49-F238E27FC236}">
                  <a16:creationId xmlns:a16="http://schemas.microsoft.com/office/drawing/2014/main" id="{B1E774EB-E89C-4FB6-9640-2D3E053FFF82}"/>
                </a:ext>
              </a:extLst>
            </p:cNvPr>
            <p:cNvSpPr>
              <a:spLocks/>
            </p:cNvSpPr>
            <p:nvPr/>
          </p:nvSpPr>
          <p:spPr bwMode="gray">
            <a:xfrm>
              <a:off x="3676651" y="-913706"/>
              <a:ext cx="528638" cy="628650"/>
            </a:xfrm>
            <a:custGeom>
              <a:avLst/>
              <a:gdLst>
                <a:gd name="T0" fmla="*/ 0 w 333"/>
                <a:gd name="T1" fmla="*/ 0 h 396"/>
                <a:gd name="T2" fmla="*/ 333 w 333"/>
                <a:gd name="T3" fmla="*/ 0 h 396"/>
                <a:gd name="T4" fmla="*/ 333 w 333"/>
                <a:gd name="T5" fmla="*/ 396 h 396"/>
                <a:gd name="T6" fmla="*/ 0 w 333"/>
                <a:gd name="T7" fmla="*/ 396 h 396"/>
                <a:gd name="T8" fmla="*/ 0 w 333"/>
                <a:gd name="T9" fmla="*/ 0 h 396"/>
                <a:gd name="T10" fmla="*/ 0 w 333"/>
                <a:gd name="T11" fmla="*/ 0 h 396"/>
              </a:gdLst>
              <a:ahLst/>
              <a:cxnLst>
                <a:cxn ang="0">
                  <a:pos x="T0" y="T1"/>
                </a:cxn>
                <a:cxn ang="0">
                  <a:pos x="T2" y="T3"/>
                </a:cxn>
                <a:cxn ang="0">
                  <a:pos x="T4" y="T5"/>
                </a:cxn>
                <a:cxn ang="0">
                  <a:pos x="T6" y="T7"/>
                </a:cxn>
                <a:cxn ang="0">
                  <a:pos x="T8" y="T9"/>
                </a:cxn>
                <a:cxn ang="0">
                  <a:pos x="T10" y="T11"/>
                </a:cxn>
              </a:cxnLst>
              <a:rect l="0" t="0" r="r" b="b"/>
              <a:pathLst>
                <a:path w="333" h="396">
                  <a:moveTo>
                    <a:pt x="0" y="0"/>
                  </a:moveTo>
                  <a:lnTo>
                    <a:pt x="333" y="0"/>
                  </a:lnTo>
                  <a:lnTo>
                    <a:pt x="333" y="396"/>
                  </a:lnTo>
                  <a:lnTo>
                    <a:pt x="0" y="396"/>
                  </a:lnTo>
                  <a:lnTo>
                    <a:pt x="0" y="0"/>
                  </a:lnTo>
                  <a:lnTo>
                    <a:pt x="0" y="0"/>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3" name="Freeform 8">
              <a:extLst>
                <a:ext uri="{FF2B5EF4-FFF2-40B4-BE49-F238E27FC236}">
                  <a16:creationId xmlns:a16="http://schemas.microsoft.com/office/drawing/2014/main" id="{8733B651-C3F8-436F-A648-A21DD06AF1CB}"/>
                </a:ext>
              </a:extLst>
            </p:cNvPr>
            <p:cNvSpPr>
              <a:spLocks/>
            </p:cNvSpPr>
            <p:nvPr/>
          </p:nvSpPr>
          <p:spPr bwMode="gray">
            <a:xfrm>
              <a:off x="3676651" y="-481906"/>
              <a:ext cx="528638" cy="196850"/>
            </a:xfrm>
            <a:custGeom>
              <a:avLst/>
              <a:gdLst>
                <a:gd name="T0" fmla="*/ 70 w 140"/>
                <a:gd name="T1" fmla="*/ 52 h 52"/>
                <a:gd name="T2" fmla="*/ 140 w 140"/>
                <a:gd name="T3" fmla="*/ 52 h 52"/>
                <a:gd name="T4" fmla="*/ 140 w 140"/>
                <a:gd name="T5" fmla="*/ 22 h 52"/>
                <a:gd name="T6" fmla="*/ 70 w 140"/>
                <a:gd name="T7" fmla="*/ 0 h 52"/>
                <a:gd name="T8" fmla="*/ 0 w 140"/>
                <a:gd name="T9" fmla="*/ 22 h 52"/>
                <a:gd name="T10" fmla="*/ 0 w 140"/>
                <a:gd name="T11" fmla="*/ 52 h 52"/>
                <a:gd name="T12" fmla="*/ 70 w 140"/>
                <a:gd name="T13" fmla="*/ 52 h 52"/>
                <a:gd name="T14" fmla="*/ 70 w 14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52">
                  <a:moveTo>
                    <a:pt x="70" y="52"/>
                  </a:moveTo>
                  <a:cubicBezTo>
                    <a:pt x="140" y="52"/>
                    <a:pt x="140" y="52"/>
                    <a:pt x="140" y="52"/>
                  </a:cubicBezTo>
                  <a:cubicBezTo>
                    <a:pt x="140" y="22"/>
                    <a:pt x="140" y="22"/>
                    <a:pt x="140" y="22"/>
                  </a:cubicBezTo>
                  <a:cubicBezTo>
                    <a:pt x="136" y="18"/>
                    <a:pt x="102" y="0"/>
                    <a:pt x="70" y="0"/>
                  </a:cubicBezTo>
                  <a:cubicBezTo>
                    <a:pt x="38" y="0"/>
                    <a:pt x="3" y="18"/>
                    <a:pt x="0" y="22"/>
                  </a:cubicBezTo>
                  <a:cubicBezTo>
                    <a:pt x="0" y="52"/>
                    <a:pt x="0" y="52"/>
                    <a:pt x="0" y="52"/>
                  </a:cubicBezTo>
                  <a:cubicBezTo>
                    <a:pt x="70" y="52"/>
                    <a:pt x="70" y="52"/>
                    <a:pt x="70" y="52"/>
                  </a:cubicBezTo>
                  <a:cubicBezTo>
                    <a:pt x="70" y="52"/>
                    <a:pt x="70" y="52"/>
                    <a:pt x="70" y="52"/>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4" name="Freeform 9">
              <a:extLst>
                <a:ext uri="{FF2B5EF4-FFF2-40B4-BE49-F238E27FC236}">
                  <a16:creationId xmlns:a16="http://schemas.microsoft.com/office/drawing/2014/main" id="{B97AE7A9-B741-43FB-8D3C-4F60A7A0FF36}"/>
                </a:ext>
              </a:extLst>
            </p:cNvPr>
            <p:cNvSpPr>
              <a:spLocks/>
            </p:cNvSpPr>
            <p:nvPr/>
          </p:nvSpPr>
          <p:spPr bwMode="gray">
            <a:xfrm>
              <a:off x="3843338" y="-807343"/>
              <a:ext cx="195263" cy="227013"/>
            </a:xfrm>
            <a:custGeom>
              <a:avLst/>
              <a:gdLst>
                <a:gd name="T0" fmla="*/ 26 w 52"/>
                <a:gd name="T1" fmla="*/ 0 h 60"/>
                <a:gd name="T2" fmla="*/ 26 w 52"/>
                <a:gd name="T3" fmla="*/ 0 h 60"/>
                <a:gd name="T4" fmla="*/ 0 w 52"/>
                <a:gd name="T5" fmla="*/ 26 h 60"/>
                <a:gd name="T6" fmla="*/ 0 w 52"/>
                <a:gd name="T7" fmla="*/ 34 h 60"/>
                <a:gd name="T8" fmla="*/ 26 w 52"/>
                <a:gd name="T9" fmla="*/ 60 h 60"/>
                <a:gd name="T10" fmla="*/ 26 w 52"/>
                <a:gd name="T11" fmla="*/ 60 h 60"/>
                <a:gd name="T12" fmla="*/ 52 w 52"/>
                <a:gd name="T13" fmla="*/ 34 h 60"/>
                <a:gd name="T14" fmla="*/ 52 w 52"/>
                <a:gd name="T15" fmla="*/ 26 h 60"/>
                <a:gd name="T16" fmla="*/ 26 w 52"/>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0">
                  <a:moveTo>
                    <a:pt x="26" y="0"/>
                  </a:moveTo>
                  <a:cubicBezTo>
                    <a:pt x="26" y="0"/>
                    <a:pt x="26" y="0"/>
                    <a:pt x="26" y="0"/>
                  </a:cubicBezTo>
                  <a:cubicBezTo>
                    <a:pt x="12" y="0"/>
                    <a:pt x="0" y="12"/>
                    <a:pt x="0" y="26"/>
                  </a:cubicBezTo>
                  <a:cubicBezTo>
                    <a:pt x="0" y="34"/>
                    <a:pt x="0" y="34"/>
                    <a:pt x="0" y="34"/>
                  </a:cubicBezTo>
                  <a:cubicBezTo>
                    <a:pt x="0" y="48"/>
                    <a:pt x="12" y="60"/>
                    <a:pt x="26" y="60"/>
                  </a:cubicBezTo>
                  <a:cubicBezTo>
                    <a:pt x="26" y="60"/>
                    <a:pt x="26" y="60"/>
                    <a:pt x="26" y="60"/>
                  </a:cubicBezTo>
                  <a:cubicBezTo>
                    <a:pt x="40" y="60"/>
                    <a:pt x="52" y="48"/>
                    <a:pt x="52" y="34"/>
                  </a:cubicBezTo>
                  <a:cubicBezTo>
                    <a:pt x="52" y="26"/>
                    <a:pt x="52" y="26"/>
                    <a:pt x="52" y="26"/>
                  </a:cubicBezTo>
                  <a:cubicBezTo>
                    <a:pt x="52" y="12"/>
                    <a:pt x="40" y="0"/>
                    <a:pt x="26" y="0"/>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5" name="Line 10">
              <a:extLst>
                <a:ext uri="{FF2B5EF4-FFF2-40B4-BE49-F238E27FC236}">
                  <a16:creationId xmlns:a16="http://schemas.microsoft.com/office/drawing/2014/main" id="{6B3FB9A6-8C9B-4C1B-B011-1BB6D504EAF6}"/>
                </a:ext>
              </a:extLst>
            </p:cNvPr>
            <p:cNvSpPr>
              <a:spLocks noChangeShapeType="1"/>
            </p:cNvSpPr>
            <p:nvPr/>
          </p:nvSpPr>
          <p:spPr bwMode="gray">
            <a:xfrm>
              <a:off x="4370388" y="-777181"/>
              <a:ext cx="41910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6" name="Line 11">
              <a:extLst>
                <a:ext uri="{FF2B5EF4-FFF2-40B4-BE49-F238E27FC236}">
                  <a16:creationId xmlns:a16="http://schemas.microsoft.com/office/drawing/2014/main" id="{6002E5A0-0E3A-47BC-9FCB-588B82BA9182}"/>
                </a:ext>
              </a:extLst>
            </p:cNvPr>
            <p:cNvSpPr>
              <a:spLocks noChangeShapeType="1"/>
            </p:cNvSpPr>
            <p:nvPr/>
          </p:nvSpPr>
          <p:spPr bwMode="gray">
            <a:xfrm>
              <a:off x="4370388" y="-629543"/>
              <a:ext cx="41910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7" name="Line 12">
              <a:extLst>
                <a:ext uri="{FF2B5EF4-FFF2-40B4-BE49-F238E27FC236}">
                  <a16:creationId xmlns:a16="http://schemas.microsoft.com/office/drawing/2014/main" id="{697081B6-0B5B-4092-AB26-CF24C2A57D97}"/>
                </a:ext>
              </a:extLst>
            </p:cNvPr>
            <p:cNvSpPr>
              <a:spLocks noChangeShapeType="1"/>
            </p:cNvSpPr>
            <p:nvPr/>
          </p:nvSpPr>
          <p:spPr bwMode="gray">
            <a:xfrm>
              <a:off x="4370388" y="-481906"/>
              <a:ext cx="22225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8" name="Line 13">
              <a:extLst>
                <a:ext uri="{FF2B5EF4-FFF2-40B4-BE49-F238E27FC236}">
                  <a16:creationId xmlns:a16="http://schemas.microsoft.com/office/drawing/2014/main" id="{167C52FF-F37C-434F-AEE1-BDA8477467BE}"/>
                </a:ext>
              </a:extLst>
            </p:cNvPr>
            <p:cNvSpPr>
              <a:spLocks noChangeShapeType="1"/>
            </p:cNvSpPr>
            <p:nvPr/>
          </p:nvSpPr>
          <p:spPr bwMode="gray">
            <a:xfrm>
              <a:off x="3971926" y="-1069281"/>
              <a:ext cx="5238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9" name="Freeform 14">
              <a:extLst>
                <a:ext uri="{FF2B5EF4-FFF2-40B4-BE49-F238E27FC236}">
                  <a16:creationId xmlns:a16="http://schemas.microsoft.com/office/drawing/2014/main" id="{8841CA98-4837-4EED-B9CB-6A97AB8A73AB}"/>
                </a:ext>
              </a:extLst>
            </p:cNvPr>
            <p:cNvSpPr>
              <a:spLocks/>
            </p:cNvSpPr>
            <p:nvPr/>
          </p:nvSpPr>
          <p:spPr bwMode="gray">
            <a:xfrm>
              <a:off x="4103688" y="-1402656"/>
              <a:ext cx="260350" cy="333375"/>
            </a:xfrm>
            <a:custGeom>
              <a:avLst/>
              <a:gdLst>
                <a:gd name="T0" fmla="*/ 0 w 164"/>
                <a:gd name="T1" fmla="*/ 0 h 210"/>
                <a:gd name="T2" fmla="*/ 164 w 164"/>
                <a:gd name="T3" fmla="*/ 0 h 210"/>
                <a:gd name="T4" fmla="*/ 164 w 164"/>
                <a:gd name="T5" fmla="*/ 210 h 210"/>
                <a:gd name="T6" fmla="*/ 0 w 164"/>
                <a:gd name="T7" fmla="*/ 210 h 210"/>
                <a:gd name="T8" fmla="*/ 0 w 164"/>
                <a:gd name="T9" fmla="*/ 0 h 210"/>
                <a:gd name="T10" fmla="*/ 0 w 164"/>
                <a:gd name="T11" fmla="*/ 0 h 210"/>
              </a:gdLst>
              <a:ahLst/>
              <a:cxnLst>
                <a:cxn ang="0">
                  <a:pos x="T0" y="T1"/>
                </a:cxn>
                <a:cxn ang="0">
                  <a:pos x="T2" y="T3"/>
                </a:cxn>
                <a:cxn ang="0">
                  <a:pos x="T4" y="T5"/>
                </a:cxn>
                <a:cxn ang="0">
                  <a:pos x="T6" y="T7"/>
                </a:cxn>
                <a:cxn ang="0">
                  <a:pos x="T8" y="T9"/>
                </a:cxn>
                <a:cxn ang="0">
                  <a:pos x="T10" y="T11"/>
                </a:cxn>
              </a:cxnLst>
              <a:rect l="0" t="0" r="r" b="b"/>
              <a:pathLst>
                <a:path w="164" h="210">
                  <a:moveTo>
                    <a:pt x="0" y="0"/>
                  </a:moveTo>
                  <a:lnTo>
                    <a:pt x="164" y="0"/>
                  </a:lnTo>
                  <a:lnTo>
                    <a:pt x="164" y="210"/>
                  </a:lnTo>
                  <a:lnTo>
                    <a:pt x="0" y="210"/>
                  </a:lnTo>
                  <a:lnTo>
                    <a:pt x="0" y="0"/>
                  </a:lnTo>
                  <a:lnTo>
                    <a:pt x="0" y="0"/>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grpSp>
        <p:nvGrpSpPr>
          <p:cNvPr id="50" name="Group 49">
            <a:extLst>
              <a:ext uri="{FF2B5EF4-FFF2-40B4-BE49-F238E27FC236}">
                <a16:creationId xmlns:a16="http://schemas.microsoft.com/office/drawing/2014/main" id="{E552AA60-8729-4069-8126-8953260C600E}"/>
              </a:ext>
            </a:extLst>
          </p:cNvPr>
          <p:cNvGrpSpPr/>
          <p:nvPr userDrawn="1"/>
        </p:nvGrpSpPr>
        <p:grpSpPr bwMode="gray">
          <a:xfrm>
            <a:off x="380017" y="1641541"/>
            <a:ext cx="382247" cy="263517"/>
            <a:chOff x="623888" y="-1394718"/>
            <a:chExt cx="1851025" cy="1276350"/>
          </a:xfrm>
        </p:grpSpPr>
        <p:sp>
          <p:nvSpPr>
            <p:cNvPr id="51" name="Freeform 5">
              <a:extLst>
                <a:ext uri="{FF2B5EF4-FFF2-40B4-BE49-F238E27FC236}">
                  <a16:creationId xmlns:a16="http://schemas.microsoft.com/office/drawing/2014/main" id="{76D5F37B-C1DA-43CF-BE7D-B8CEF2AF786A}"/>
                </a:ext>
              </a:extLst>
            </p:cNvPr>
            <p:cNvSpPr>
              <a:spLocks/>
            </p:cNvSpPr>
            <p:nvPr/>
          </p:nvSpPr>
          <p:spPr bwMode="gray">
            <a:xfrm>
              <a:off x="623888" y="-1394718"/>
              <a:ext cx="1851025" cy="1276350"/>
            </a:xfrm>
            <a:custGeom>
              <a:avLst/>
              <a:gdLst>
                <a:gd name="T0" fmla="*/ 491 w 491"/>
                <a:gd name="T1" fmla="*/ 168 h 337"/>
                <a:gd name="T2" fmla="*/ 246 w 491"/>
                <a:gd name="T3" fmla="*/ 337 h 337"/>
                <a:gd name="T4" fmla="*/ 0 w 491"/>
                <a:gd name="T5" fmla="*/ 168 h 337"/>
                <a:gd name="T6" fmla="*/ 245 w 491"/>
                <a:gd name="T7" fmla="*/ 0 h 337"/>
                <a:gd name="T8" fmla="*/ 491 w 491"/>
                <a:gd name="T9" fmla="*/ 168 h 337"/>
              </a:gdLst>
              <a:ahLst/>
              <a:cxnLst>
                <a:cxn ang="0">
                  <a:pos x="T0" y="T1"/>
                </a:cxn>
                <a:cxn ang="0">
                  <a:pos x="T2" y="T3"/>
                </a:cxn>
                <a:cxn ang="0">
                  <a:pos x="T4" y="T5"/>
                </a:cxn>
                <a:cxn ang="0">
                  <a:pos x="T6" y="T7"/>
                </a:cxn>
                <a:cxn ang="0">
                  <a:pos x="T8" y="T9"/>
                </a:cxn>
              </a:cxnLst>
              <a:rect l="0" t="0" r="r" b="b"/>
              <a:pathLst>
                <a:path w="491" h="337">
                  <a:moveTo>
                    <a:pt x="491" y="168"/>
                  </a:moveTo>
                  <a:cubicBezTo>
                    <a:pt x="491" y="168"/>
                    <a:pt x="382" y="337"/>
                    <a:pt x="246" y="337"/>
                  </a:cubicBezTo>
                  <a:cubicBezTo>
                    <a:pt x="111" y="337"/>
                    <a:pt x="0" y="168"/>
                    <a:pt x="0" y="168"/>
                  </a:cubicBezTo>
                  <a:cubicBezTo>
                    <a:pt x="0" y="168"/>
                    <a:pt x="109" y="0"/>
                    <a:pt x="245" y="0"/>
                  </a:cubicBezTo>
                  <a:cubicBezTo>
                    <a:pt x="380" y="0"/>
                    <a:pt x="491" y="168"/>
                    <a:pt x="491" y="168"/>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2" name="Oval 15">
              <a:extLst>
                <a:ext uri="{FF2B5EF4-FFF2-40B4-BE49-F238E27FC236}">
                  <a16:creationId xmlns:a16="http://schemas.microsoft.com/office/drawing/2014/main" id="{85B85F39-32F9-4058-A9C7-FA8ACFA2D32F}"/>
                </a:ext>
              </a:extLst>
            </p:cNvPr>
            <p:cNvSpPr>
              <a:spLocks noChangeArrowheads="1"/>
            </p:cNvSpPr>
            <p:nvPr/>
          </p:nvSpPr>
          <p:spPr bwMode="gray">
            <a:xfrm>
              <a:off x="1276351" y="-1031181"/>
              <a:ext cx="546100" cy="549275"/>
            </a:xfrm>
            <a:prstGeom prst="ellips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3" name="Freeform 16">
              <a:extLst>
                <a:ext uri="{FF2B5EF4-FFF2-40B4-BE49-F238E27FC236}">
                  <a16:creationId xmlns:a16="http://schemas.microsoft.com/office/drawing/2014/main" id="{32B7951B-9248-48A0-9D56-F8ECEF0A70AF}"/>
                </a:ext>
              </a:extLst>
            </p:cNvPr>
            <p:cNvSpPr>
              <a:spLocks/>
            </p:cNvSpPr>
            <p:nvPr/>
          </p:nvSpPr>
          <p:spPr bwMode="gray">
            <a:xfrm>
              <a:off x="1084263" y="-1137543"/>
              <a:ext cx="192088" cy="757238"/>
            </a:xfrm>
            <a:custGeom>
              <a:avLst/>
              <a:gdLst>
                <a:gd name="T0" fmla="*/ 51 w 51"/>
                <a:gd name="T1" fmla="*/ 200 h 200"/>
                <a:gd name="T2" fmla="*/ 0 w 51"/>
                <a:gd name="T3" fmla="*/ 100 h 200"/>
                <a:gd name="T4" fmla="*/ 51 w 51"/>
                <a:gd name="T5" fmla="*/ 0 h 200"/>
              </a:gdLst>
              <a:ahLst/>
              <a:cxnLst>
                <a:cxn ang="0">
                  <a:pos x="T0" y="T1"/>
                </a:cxn>
                <a:cxn ang="0">
                  <a:pos x="T2" y="T3"/>
                </a:cxn>
                <a:cxn ang="0">
                  <a:pos x="T4" y="T5"/>
                </a:cxn>
              </a:cxnLst>
              <a:rect l="0" t="0" r="r" b="b"/>
              <a:pathLst>
                <a:path w="51" h="200">
                  <a:moveTo>
                    <a:pt x="51" y="200"/>
                  </a:moveTo>
                  <a:cubicBezTo>
                    <a:pt x="20" y="178"/>
                    <a:pt x="0" y="142"/>
                    <a:pt x="0" y="100"/>
                  </a:cubicBezTo>
                  <a:cubicBezTo>
                    <a:pt x="0" y="59"/>
                    <a:pt x="20" y="23"/>
                    <a:pt x="51" y="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4" name="Freeform 17">
              <a:extLst>
                <a:ext uri="{FF2B5EF4-FFF2-40B4-BE49-F238E27FC236}">
                  <a16:creationId xmlns:a16="http://schemas.microsoft.com/office/drawing/2014/main" id="{42D29D02-129A-4D2C-B3B3-FE291897F40A}"/>
                </a:ext>
              </a:extLst>
            </p:cNvPr>
            <p:cNvSpPr>
              <a:spLocks/>
            </p:cNvSpPr>
            <p:nvPr/>
          </p:nvSpPr>
          <p:spPr bwMode="gray">
            <a:xfrm>
              <a:off x="1822451" y="-1137543"/>
              <a:ext cx="192088" cy="757238"/>
            </a:xfrm>
            <a:custGeom>
              <a:avLst/>
              <a:gdLst>
                <a:gd name="T0" fmla="*/ 0 w 51"/>
                <a:gd name="T1" fmla="*/ 0 h 200"/>
                <a:gd name="T2" fmla="*/ 51 w 51"/>
                <a:gd name="T3" fmla="*/ 100 h 200"/>
                <a:gd name="T4" fmla="*/ 0 w 51"/>
                <a:gd name="T5" fmla="*/ 200 h 200"/>
              </a:gdLst>
              <a:ahLst/>
              <a:cxnLst>
                <a:cxn ang="0">
                  <a:pos x="T0" y="T1"/>
                </a:cxn>
                <a:cxn ang="0">
                  <a:pos x="T2" y="T3"/>
                </a:cxn>
                <a:cxn ang="0">
                  <a:pos x="T4" y="T5"/>
                </a:cxn>
              </a:cxnLst>
              <a:rect l="0" t="0" r="r" b="b"/>
              <a:pathLst>
                <a:path w="51" h="200">
                  <a:moveTo>
                    <a:pt x="0" y="0"/>
                  </a:moveTo>
                  <a:cubicBezTo>
                    <a:pt x="31" y="23"/>
                    <a:pt x="51" y="59"/>
                    <a:pt x="51" y="100"/>
                  </a:cubicBezTo>
                  <a:cubicBezTo>
                    <a:pt x="51" y="142"/>
                    <a:pt x="31" y="178"/>
                    <a:pt x="0" y="20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grpSp>
        <p:nvGrpSpPr>
          <p:cNvPr id="55" name="Group 30">
            <a:extLst>
              <a:ext uri="{FF2B5EF4-FFF2-40B4-BE49-F238E27FC236}">
                <a16:creationId xmlns:a16="http://schemas.microsoft.com/office/drawing/2014/main" id="{F01704B8-D01A-49AE-8879-A259941D91EC}"/>
              </a:ext>
            </a:extLst>
          </p:cNvPr>
          <p:cNvGrpSpPr>
            <a:grpSpLocks noChangeAspect="1"/>
          </p:cNvGrpSpPr>
          <p:nvPr userDrawn="1"/>
        </p:nvGrpSpPr>
        <p:grpSpPr bwMode="gray">
          <a:xfrm>
            <a:off x="7239197" y="1606303"/>
            <a:ext cx="235053" cy="298756"/>
            <a:chOff x="2556" y="1196"/>
            <a:chExt cx="693" cy="881"/>
          </a:xfrm>
        </p:grpSpPr>
        <p:sp>
          <p:nvSpPr>
            <p:cNvPr id="56" name="Rectangle 31">
              <a:extLst>
                <a:ext uri="{FF2B5EF4-FFF2-40B4-BE49-F238E27FC236}">
                  <a16:creationId xmlns:a16="http://schemas.microsoft.com/office/drawing/2014/main" id="{AC90A230-641C-4668-BA37-263DB6F42A1D}"/>
                </a:ext>
              </a:extLst>
            </p:cNvPr>
            <p:cNvSpPr>
              <a:spLocks noChangeArrowheads="1"/>
            </p:cNvSpPr>
            <p:nvPr/>
          </p:nvSpPr>
          <p:spPr bwMode="gray">
            <a:xfrm>
              <a:off x="2688" y="1196"/>
              <a:ext cx="431" cy="108"/>
            </a:xfrm>
            <a:prstGeom prst="rect">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7" name="Freeform 32">
              <a:extLst>
                <a:ext uri="{FF2B5EF4-FFF2-40B4-BE49-F238E27FC236}">
                  <a16:creationId xmlns:a16="http://schemas.microsoft.com/office/drawing/2014/main" id="{C45D1171-2E96-466C-9651-6D488B7894BE}"/>
                </a:ext>
              </a:extLst>
            </p:cNvPr>
            <p:cNvSpPr>
              <a:spLocks/>
            </p:cNvSpPr>
            <p:nvPr/>
          </p:nvSpPr>
          <p:spPr bwMode="gray">
            <a:xfrm>
              <a:off x="2556" y="1239"/>
              <a:ext cx="693" cy="838"/>
            </a:xfrm>
            <a:custGeom>
              <a:avLst/>
              <a:gdLst>
                <a:gd name="T0" fmla="*/ 563 w 693"/>
                <a:gd name="T1" fmla="*/ 0 h 838"/>
                <a:gd name="T2" fmla="*/ 693 w 693"/>
                <a:gd name="T3" fmla="*/ 0 h 838"/>
                <a:gd name="T4" fmla="*/ 693 w 693"/>
                <a:gd name="T5" fmla="*/ 838 h 838"/>
                <a:gd name="T6" fmla="*/ 0 w 693"/>
                <a:gd name="T7" fmla="*/ 838 h 838"/>
                <a:gd name="T8" fmla="*/ 0 w 693"/>
                <a:gd name="T9" fmla="*/ 0 h 838"/>
                <a:gd name="T10" fmla="*/ 132 w 693"/>
                <a:gd name="T11" fmla="*/ 0 h 838"/>
              </a:gdLst>
              <a:ahLst/>
              <a:cxnLst>
                <a:cxn ang="0">
                  <a:pos x="T0" y="T1"/>
                </a:cxn>
                <a:cxn ang="0">
                  <a:pos x="T2" y="T3"/>
                </a:cxn>
                <a:cxn ang="0">
                  <a:pos x="T4" y="T5"/>
                </a:cxn>
                <a:cxn ang="0">
                  <a:pos x="T6" y="T7"/>
                </a:cxn>
                <a:cxn ang="0">
                  <a:pos x="T8" y="T9"/>
                </a:cxn>
                <a:cxn ang="0">
                  <a:pos x="T10" y="T11"/>
                </a:cxn>
              </a:cxnLst>
              <a:rect l="0" t="0" r="r" b="b"/>
              <a:pathLst>
                <a:path w="693" h="838">
                  <a:moveTo>
                    <a:pt x="563" y="0"/>
                  </a:moveTo>
                  <a:lnTo>
                    <a:pt x="693" y="0"/>
                  </a:lnTo>
                  <a:lnTo>
                    <a:pt x="693" y="838"/>
                  </a:lnTo>
                  <a:lnTo>
                    <a:pt x="0" y="838"/>
                  </a:lnTo>
                  <a:lnTo>
                    <a:pt x="0" y="0"/>
                  </a:lnTo>
                  <a:lnTo>
                    <a:pt x="13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8" name="Freeform 33">
              <a:extLst>
                <a:ext uri="{FF2B5EF4-FFF2-40B4-BE49-F238E27FC236}">
                  <a16:creationId xmlns:a16="http://schemas.microsoft.com/office/drawing/2014/main" id="{1B0357C3-0B79-40F8-8625-1925F968A474}"/>
                </a:ext>
              </a:extLst>
            </p:cNvPr>
            <p:cNvSpPr>
              <a:spLocks/>
            </p:cNvSpPr>
            <p:nvPr/>
          </p:nvSpPr>
          <p:spPr bwMode="gray">
            <a:xfrm>
              <a:off x="2664" y="1452"/>
              <a:ext cx="173" cy="171"/>
            </a:xfrm>
            <a:custGeom>
              <a:avLst/>
              <a:gdLst>
                <a:gd name="T0" fmla="*/ 173 w 173"/>
                <a:gd name="T1" fmla="*/ 171 h 171"/>
                <a:gd name="T2" fmla="*/ 0 w 173"/>
                <a:gd name="T3" fmla="*/ 171 h 171"/>
                <a:gd name="T4" fmla="*/ 0 w 173"/>
                <a:gd name="T5" fmla="*/ 0 h 171"/>
                <a:gd name="T6" fmla="*/ 72 w 173"/>
                <a:gd name="T7" fmla="*/ 0 h 171"/>
              </a:gdLst>
              <a:ahLst/>
              <a:cxnLst>
                <a:cxn ang="0">
                  <a:pos x="T0" y="T1"/>
                </a:cxn>
                <a:cxn ang="0">
                  <a:pos x="T2" y="T3"/>
                </a:cxn>
                <a:cxn ang="0">
                  <a:pos x="T4" y="T5"/>
                </a:cxn>
                <a:cxn ang="0">
                  <a:pos x="T6" y="T7"/>
                </a:cxn>
              </a:cxnLst>
              <a:rect l="0" t="0" r="r" b="b"/>
              <a:pathLst>
                <a:path w="173" h="171">
                  <a:moveTo>
                    <a:pt x="173" y="171"/>
                  </a:moveTo>
                  <a:lnTo>
                    <a:pt x="0" y="171"/>
                  </a:lnTo>
                  <a:lnTo>
                    <a:pt x="0" y="0"/>
                  </a:lnTo>
                  <a:lnTo>
                    <a:pt x="7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9" name="Freeform 34">
              <a:extLst>
                <a:ext uri="{FF2B5EF4-FFF2-40B4-BE49-F238E27FC236}">
                  <a16:creationId xmlns:a16="http://schemas.microsoft.com/office/drawing/2014/main" id="{CBD1765B-D6F4-42D1-8E15-47ED15457FB3}"/>
                </a:ext>
              </a:extLst>
            </p:cNvPr>
            <p:cNvSpPr>
              <a:spLocks/>
            </p:cNvSpPr>
            <p:nvPr/>
          </p:nvSpPr>
          <p:spPr bwMode="gray">
            <a:xfrm>
              <a:off x="2741" y="1471"/>
              <a:ext cx="127" cy="81"/>
            </a:xfrm>
            <a:custGeom>
              <a:avLst/>
              <a:gdLst>
                <a:gd name="T0" fmla="*/ 0 w 127"/>
                <a:gd name="T1" fmla="*/ 38 h 81"/>
                <a:gd name="T2" fmla="*/ 43 w 127"/>
                <a:gd name="T3" fmla="*/ 81 h 81"/>
                <a:gd name="T4" fmla="*/ 127 w 127"/>
                <a:gd name="T5" fmla="*/ 0 h 81"/>
              </a:gdLst>
              <a:ahLst/>
              <a:cxnLst>
                <a:cxn ang="0">
                  <a:pos x="T0" y="T1"/>
                </a:cxn>
                <a:cxn ang="0">
                  <a:pos x="T2" y="T3"/>
                </a:cxn>
                <a:cxn ang="0">
                  <a:pos x="T4" y="T5"/>
                </a:cxn>
              </a:cxnLst>
              <a:rect l="0" t="0" r="r" b="b"/>
              <a:pathLst>
                <a:path w="127" h="81">
                  <a:moveTo>
                    <a:pt x="0" y="38"/>
                  </a:moveTo>
                  <a:lnTo>
                    <a:pt x="43" y="81"/>
                  </a:lnTo>
                  <a:lnTo>
                    <a:pt x="127"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0" name="Line 35">
              <a:extLst>
                <a:ext uri="{FF2B5EF4-FFF2-40B4-BE49-F238E27FC236}">
                  <a16:creationId xmlns:a16="http://schemas.microsoft.com/office/drawing/2014/main" id="{8BD15E90-BE96-4BD5-A4F3-E13B710D1525}"/>
                </a:ext>
              </a:extLst>
            </p:cNvPr>
            <p:cNvSpPr>
              <a:spLocks noChangeShapeType="1"/>
            </p:cNvSpPr>
            <p:nvPr/>
          </p:nvSpPr>
          <p:spPr bwMode="gray">
            <a:xfrm>
              <a:off x="2929" y="1779"/>
              <a:ext cx="214"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1" name="Line 36">
              <a:extLst>
                <a:ext uri="{FF2B5EF4-FFF2-40B4-BE49-F238E27FC236}">
                  <a16:creationId xmlns:a16="http://schemas.microsoft.com/office/drawing/2014/main" id="{1703B673-4E8E-4B07-BB6A-A66FB6F2F939}"/>
                </a:ext>
              </a:extLst>
            </p:cNvPr>
            <p:cNvSpPr>
              <a:spLocks noChangeShapeType="1"/>
            </p:cNvSpPr>
            <p:nvPr/>
          </p:nvSpPr>
          <p:spPr bwMode="gray">
            <a:xfrm>
              <a:off x="2929" y="1867"/>
              <a:ext cx="13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2" name="Freeform 37">
              <a:extLst>
                <a:ext uri="{FF2B5EF4-FFF2-40B4-BE49-F238E27FC236}">
                  <a16:creationId xmlns:a16="http://schemas.microsoft.com/office/drawing/2014/main" id="{F2C7E138-8EBB-49E2-9E85-74EEDD10FA01}"/>
                </a:ext>
              </a:extLst>
            </p:cNvPr>
            <p:cNvSpPr>
              <a:spLocks/>
            </p:cNvSpPr>
            <p:nvPr/>
          </p:nvSpPr>
          <p:spPr bwMode="gray">
            <a:xfrm>
              <a:off x="2664" y="1752"/>
              <a:ext cx="173" cy="172"/>
            </a:xfrm>
            <a:custGeom>
              <a:avLst/>
              <a:gdLst>
                <a:gd name="T0" fmla="*/ 173 w 173"/>
                <a:gd name="T1" fmla="*/ 172 h 172"/>
                <a:gd name="T2" fmla="*/ 0 w 173"/>
                <a:gd name="T3" fmla="*/ 172 h 172"/>
                <a:gd name="T4" fmla="*/ 0 w 173"/>
                <a:gd name="T5" fmla="*/ 0 h 172"/>
                <a:gd name="T6" fmla="*/ 72 w 173"/>
                <a:gd name="T7" fmla="*/ 0 h 172"/>
              </a:gdLst>
              <a:ahLst/>
              <a:cxnLst>
                <a:cxn ang="0">
                  <a:pos x="T0" y="T1"/>
                </a:cxn>
                <a:cxn ang="0">
                  <a:pos x="T2" y="T3"/>
                </a:cxn>
                <a:cxn ang="0">
                  <a:pos x="T4" y="T5"/>
                </a:cxn>
                <a:cxn ang="0">
                  <a:pos x="T6" y="T7"/>
                </a:cxn>
              </a:cxnLst>
              <a:rect l="0" t="0" r="r" b="b"/>
              <a:pathLst>
                <a:path w="173" h="172">
                  <a:moveTo>
                    <a:pt x="173" y="172"/>
                  </a:moveTo>
                  <a:lnTo>
                    <a:pt x="0" y="172"/>
                  </a:lnTo>
                  <a:lnTo>
                    <a:pt x="0" y="0"/>
                  </a:lnTo>
                  <a:lnTo>
                    <a:pt x="7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3" name="Freeform 38">
              <a:extLst>
                <a:ext uri="{FF2B5EF4-FFF2-40B4-BE49-F238E27FC236}">
                  <a16:creationId xmlns:a16="http://schemas.microsoft.com/office/drawing/2014/main" id="{7EDAAF62-EFB6-4694-BE89-8F55A99B8EC7}"/>
                </a:ext>
              </a:extLst>
            </p:cNvPr>
            <p:cNvSpPr>
              <a:spLocks/>
            </p:cNvSpPr>
            <p:nvPr/>
          </p:nvSpPr>
          <p:spPr bwMode="gray">
            <a:xfrm>
              <a:off x="2741" y="1771"/>
              <a:ext cx="127" cy="82"/>
            </a:xfrm>
            <a:custGeom>
              <a:avLst/>
              <a:gdLst>
                <a:gd name="T0" fmla="*/ 0 w 127"/>
                <a:gd name="T1" fmla="*/ 39 h 82"/>
                <a:gd name="T2" fmla="*/ 43 w 127"/>
                <a:gd name="T3" fmla="*/ 82 h 82"/>
                <a:gd name="T4" fmla="*/ 127 w 127"/>
                <a:gd name="T5" fmla="*/ 0 h 82"/>
              </a:gdLst>
              <a:ahLst/>
              <a:cxnLst>
                <a:cxn ang="0">
                  <a:pos x="T0" y="T1"/>
                </a:cxn>
                <a:cxn ang="0">
                  <a:pos x="T2" y="T3"/>
                </a:cxn>
                <a:cxn ang="0">
                  <a:pos x="T4" y="T5"/>
                </a:cxn>
              </a:cxnLst>
              <a:rect l="0" t="0" r="r" b="b"/>
              <a:pathLst>
                <a:path w="127" h="82">
                  <a:moveTo>
                    <a:pt x="0" y="39"/>
                  </a:moveTo>
                  <a:lnTo>
                    <a:pt x="43" y="82"/>
                  </a:lnTo>
                  <a:lnTo>
                    <a:pt x="127"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4" name="Line 39">
              <a:extLst>
                <a:ext uri="{FF2B5EF4-FFF2-40B4-BE49-F238E27FC236}">
                  <a16:creationId xmlns:a16="http://schemas.microsoft.com/office/drawing/2014/main" id="{F92A5DBA-EC46-45C9-A50E-44355F31F2F1}"/>
                </a:ext>
              </a:extLst>
            </p:cNvPr>
            <p:cNvSpPr>
              <a:spLocks noChangeShapeType="1"/>
            </p:cNvSpPr>
            <p:nvPr/>
          </p:nvSpPr>
          <p:spPr bwMode="gray">
            <a:xfrm>
              <a:off x="2929" y="1471"/>
              <a:ext cx="214"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5" name="Line 40">
              <a:extLst>
                <a:ext uri="{FF2B5EF4-FFF2-40B4-BE49-F238E27FC236}">
                  <a16:creationId xmlns:a16="http://schemas.microsoft.com/office/drawing/2014/main" id="{413E9C72-7B21-4656-8EB1-4A1AE7AB01B2}"/>
                </a:ext>
              </a:extLst>
            </p:cNvPr>
            <p:cNvSpPr>
              <a:spLocks noChangeShapeType="1"/>
            </p:cNvSpPr>
            <p:nvPr/>
          </p:nvSpPr>
          <p:spPr bwMode="gray">
            <a:xfrm>
              <a:off x="2929" y="1559"/>
              <a:ext cx="13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sp>
        <p:nvSpPr>
          <p:cNvPr id="2" name="Date Placeholder 1">
            <a:extLst>
              <a:ext uri="{FF2B5EF4-FFF2-40B4-BE49-F238E27FC236}">
                <a16:creationId xmlns:a16="http://schemas.microsoft.com/office/drawing/2014/main" id="{9B0B13AA-F4CC-4D96-9038-7A055AE0CBE6}"/>
              </a:ext>
            </a:extLst>
          </p:cNvPr>
          <p:cNvSpPr>
            <a:spLocks noGrp="1"/>
          </p:cNvSpPr>
          <p:nvPr>
            <p:ph type="dt" sz="half" idx="30"/>
          </p:nvPr>
        </p:nvSpPr>
        <p:spPr/>
        <p:txBody>
          <a:bodyPr/>
          <a:lstStyle/>
          <a:p>
            <a:fld id="{5F21BFB8-2DC3-4D45-BC0D-AED286A3F694}" type="datetime5">
              <a:rPr lang="en-US" smtClean="0"/>
              <a:t>6-Oct-21</a:t>
            </a:fld>
            <a:endParaRPr lang="en-US"/>
          </a:p>
        </p:txBody>
      </p:sp>
      <p:sp>
        <p:nvSpPr>
          <p:cNvPr id="4" name="Footer Placeholder 3">
            <a:extLst>
              <a:ext uri="{FF2B5EF4-FFF2-40B4-BE49-F238E27FC236}">
                <a16:creationId xmlns:a16="http://schemas.microsoft.com/office/drawing/2014/main" id="{B9C0AC55-1C91-444C-A8D2-8BF14A0DDC32}"/>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66" name="Text Placeholder 15">
            <a:extLst>
              <a:ext uri="{FF2B5EF4-FFF2-40B4-BE49-F238E27FC236}">
                <a16:creationId xmlns:a16="http://schemas.microsoft.com/office/drawing/2014/main" id="{356941B1-4689-4FA0-A731-5905C9C8C9DE}"/>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342399789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D421ABF-9DBC-439C-96FD-8A7965646C4D}"/>
              </a:ext>
            </a:extLst>
          </p:cNvPr>
          <p:cNvSpPr>
            <a:spLocks noGrp="1"/>
          </p:cNvSpPr>
          <p:nvPr>
            <p:ph type="pic" sz="quarter" idx="19" hasCustomPrompt="1"/>
          </p:nvPr>
        </p:nvSpPr>
        <p:spPr bwMode="gray">
          <a:xfrm>
            <a:off x="380147" y="1428433"/>
            <a:ext cx="476201" cy="476102"/>
          </a:xfrm>
        </p:spPr>
        <p:txBody>
          <a:bodyPr anchor="ctr"/>
          <a:lstStyle>
            <a:lvl1pPr algn="ctr">
              <a:defRPr sz="1058"/>
            </a:lvl1pPr>
          </a:lstStyle>
          <a:p>
            <a:r>
              <a:rPr lang="en-US"/>
              <a:t>Icon</a:t>
            </a:r>
          </a:p>
        </p:txBody>
      </p:sp>
      <p:sp>
        <p:nvSpPr>
          <p:cNvPr id="40" name="Text Placeholder 39"/>
          <p:cNvSpPr>
            <a:spLocks noGrp="1"/>
          </p:cNvSpPr>
          <p:nvPr>
            <p:ph type="body" sz="quarter" idx="13"/>
          </p:nvPr>
        </p:nvSpPr>
        <p:spPr bwMode="gray">
          <a:xfrm>
            <a:off x="380017" y="2286700"/>
            <a:ext cx="3049574"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1" name="Text Placeholder 39"/>
          <p:cNvSpPr>
            <a:spLocks noGrp="1"/>
          </p:cNvSpPr>
          <p:nvPr>
            <p:ph type="body" sz="quarter" idx="14"/>
          </p:nvPr>
        </p:nvSpPr>
        <p:spPr bwMode="gray">
          <a:xfrm>
            <a:off x="3809607" y="2286700"/>
            <a:ext cx="3049574"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2" name="Text Placeholder 39"/>
          <p:cNvSpPr>
            <a:spLocks noGrp="1"/>
          </p:cNvSpPr>
          <p:nvPr>
            <p:ph type="body" sz="quarter" idx="15"/>
          </p:nvPr>
        </p:nvSpPr>
        <p:spPr bwMode="gray">
          <a:xfrm>
            <a:off x="7239197" y="2286700"/>
            <a:ext cx="3049574"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C97B8C8F-512D-4840-86BB-CEB9544D8CE5}"/>
              </a:ext>
            </a:extLst>
          </p:cNvPr>
          <p:cNvSpPr>
            <a:spLocks noGrp="1"/>
          </p:cNvSpPr>
          <p:nvPr>
            <p:ph type="title"/>
          </p:nvPr>
        </p:nvSpPr>
        <p:spPr bwMode="gray"/>
        <p:txBody>
          <a:bodyPr/>
          <a:lstStyle/>
          <a:p>
            <a:r>
              <a:rPr lang="en-GB"/>
              <a:t>Click to edit Master title style</a:t>
            </a:r>
            <a:endParaRPr lang="en-US"/>
          </a:p>
        </p:txBody>
      </p:sp>
      <p:sp>
        <p:nvSpPr>
          <p:cNvPr id="8" name="Slide Number Placeholder 7">
            <a:extLst>
              <a:ext uri="{FF2B5EF4-FFF2-40B4-BE49-F238E27FC236}">
                <a16:creationId xmlns:a16="http://schemas.microsoft.com/office/drawing/2014/main" id="{E8916C68-A2A4-48E3-BB80-81E28EE44E17}"/>
              </a:ext>
            </a:extLst>
          </p:cNvPr>
          <p:cNvSpPr>
            <a:spLocks noGrp="1"/>
          </p:cNvSpPr>
          <p:nvPr>
            <p:ph type="sldNum" sz="quarter" idx="18"/>
          </p:nvPr>
        </p:nvSpPr>
        <p:spPr bwMode="gray"/>
        <p:txBody>
          <a:bodyPr/>
          <a:lstStyle/>
          <a:p>
            <a:pPr>
              <a:defRPr/>
            </a:pPr>
            <a:fld id="{66C8B3C2-955F-42B1-8DED-EE47D723596C}" type="slidenum">
              <a:rPr lang="en-US" noProof="0" smtClean="0"/>
              <a:pPr>
                <a:defRPr/>
              </a:pPr>
              <a:t>‹#›</a:t>
            </a:fld>
            <a:endParaRPr lang="en-US" noProof="0"/>
          </a:p>
        </p:txBody>
      </p:sp>
      <p:sp>
        <p:nvSpPr>
          <p:cNvPr id="66" name="Picture Placeholder 4">
            <a:extLst>
              <a:ext uri="{FF2B5EF4-FFF2-40B4-BE49-F238E27FC236}">
                <a16:creationId xmlns:a16="http://schemas.microsoft.com/office/drawing/2014/main" id="{D63D4149-57CC-40E3-9AF5-D3C951581FEE}"/>
              </a:ext>
            </a:extLst>
          </p:cNvPr>
          <p:cNvSpPr>
            <a:spLocks noGrp="1"/>
          </p:cNvSpPr>
          <p:nvPr>
            <p:ph type="pic" sz="quarter" idx="20" hasCustomPrompt="1"/>
          </p:nvPr>
        </p:nvSpPr>
        <p:spPr bwMode="gray">
          <a:xfrm>
            <a:off x="3809607" y="1428302"/>
            <a:ext cx="476332" cy="476233"/>
          </a:xfrm>
        </p:spPr>
        <p:txBody>
          <a:bodyPr anchor="ctr"/>
          <a:lstStyle>
            <a:lvl1pPr algn="ctr">
              <a:defRPr sz="1058"/>
            </a:lvl1pPr>
          </a:lstStyle>
          <a:p>
            <a:r>
              <a:rPr lang="en-US"/>
              <a:t>Icon</a:t>
            </a:r>
          </a:p>
        </p:txBody>
      </p:sp>
      <p:sp>
        <p:nvSpPr>
          <p:cNvPr id="67" name="Picture Placeholder 4">
            <a:extLst>
              <a:ext uri="{FF2B5EF4-FFF2-40B4-BE49-F238E27FC236}">
                <a16:creationId xmlns:a16="http://schemas.microsoft.com/office/drawing/2014/main" id="{3B15767F-EF66-47BE-BCCD-22BC083AD75F}"/>
              </a:ext>
            </a:extLst>
          </p:cNvPr>
          <p:cNvSpPr>
            <a:spLocks noGrp="1"/>
          </p:cNvSpPr>
          <p:nvPr>
            <p:ph type="pic" sz="quarter" idx="21" hasCustomPrompt="1"/>
          </p:nvPr>
        </p:nvSpPr>
        <p:spPr bwMode="gray">
          <a:xfrm>
            <a:off x="7239197" y="1428302"/>
            <a:ext cx="476332" cy="476233"/>
          </a:xfrm>
        </p:spPr>
        <p:txBody>
          <a:bodyPr anchor="ctr"/>
          <a:lstStyle>
            <a:lvl1pPr algn="ctr">
              <a:defRPr sz="1058"/>
            </a:lvl1pPr>
          </a:lstStyle>
          <a:p>
            <a:r>
              <a:rPr lang="en-US"/>
              <a:t>Icon</a:t>
            </a:r>
          </a:p>
        </p:txBody>
      </p:sp>
      <p:sp>
        <p:nvSpPr>
          <p:cNvPr id="2" name="Date Placeholder 1">
            <a:extLst>
              <a:ext uri="{FF2B5EF4-FFF2-40B4-BE49-F238E27FC236}">
                <a16:creationId xmlns:a16="http://schemas.microsoft.com/office/drawing/2014/main" id="{0008FFBE-3AC3-4382-BECA-F45DA01077D5}"/>
              </a:ext>
            </a:extLst>
          </p:cNvPr>
          <p:cNvSpPr>
            <a:spLocks noGrp="1"/>
          </p:cNvSpPr>
          <p:nvPr>
            <p:ph type="dt" sz="half" idx="30"/>
          </p:nvPr>
        </p:nvSpPr>
        <p:spPr/>
        <p:txBody>
          <a:bodyPr/>
          <a:lstStyle/>
          <a:p>
            <a:fld id="{169648C0-5713-4DEB-850F-1BBBE77EF4A8}" type="datetime5">
              <a:rPr lang="en-US" smtClean="0"/>
              <a:t>6-Oct-21</a:t>
            </a:fld>
            <a:endParaRPr lang="en-US"/>
          </a:p>
        </p:txBody>
      </p:sp>
      <p:sp>
        <p:nvSpPr>
          <p:cNvPr id="4" name="Footer Placeholder 3">
            <a:extLst>
              <a:ext uri="{FF2B5EF4-FFF2-40B4-BE49-F238E27FC236}">
                <a16:creationId xmlns:a16="http://schemas.microsoft.com/office/drawing/2014/main" id="{7DB4B2AB-25E4-48BB-ABB3-39CA18B52D13}"/>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4" name="Text Placeholder 15">
            <a:extLst>
              <a:ext uri="{FF2B5EF4-FFF2-40B4-BE49-F238E27FC236}">
                <a16:creationId xmlns:a16="http://schemas.microsoft.com/office/drawing/2014/main" id="{4430A869-6552-45B7-8F44-F1B4A8EEBD5C}"/>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57591453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334656" y="1"/>
            <a:ext cx="6857344"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3" name="Titel 2"/>
          <p:cNvSpPr>
            <a:spLocks noGrp="1"/>
          </p:cNvSpPr>
          <p:nvPr>
            <p:ph type="title"/>
          </p:nvPr>
        </p:nvSpPr>
        <p:spPr bwMode="gray">
          <a:xfrm>
            <a:off x="380673" y="382168"/>
            <a:ext cx="4572263" cy="761182"/>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Text Placeholder 3"/>
          <p:cNvSpPr>
            <a:spLocks noGrp="1"/>
          </p:cNvSpPr>
          <p:nvPr>
            <p:ph type="body" sz="quarter" idx="18"/>
          </p:nvPr>
        </p:nvSpPr>
        <p:spPr>
          <a:xfrm>
            <a:off x="760293" y="1524466"/>
            <a:ext cx="4192116" cy="4571301"/>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3"/>
          </p:nvPr>
        </p:nvSpPr>
        <p:spPr/>
        <p:txBody>
          <a:bodyPr/>
          <a:lstStyle/>
          <a:p>
            <a:pPr>
              <a:defRPr/>
            </a:pPr>
            <a:fld id="{75DA90D9-FEF4-4470-AAA9-7EAA2F63BA20}" type="datetime5">
              <a:rPr lang="en-US" smtClean="0"/>
              <a:t>6-Oct-21</a:t>
            </a:fld>
            <a:endParaRPr lang="en-US" dirty="0"/>
          </a:p>
        </p:txBody>
      </p:sp>
      <p:sp>
        <p:nvSpPr>
          <p:cNvPr id="6" name="Footer Placeholder 5"/>
          <p:cNvSpPr>
            <a:spLocks noGrp="1"/>
          </p:cNvSpPr>
          <p:nvPr>
            <p:ph type="ftr" sz="quarter" idx="24"/>
          </p:nvPr>
        </p:nvSpPr>
        <p:spPr/>
        <p:txBody>
          <a:bodyPr/>
          <a:lstStyle/>
          <a:p>
            <a:pPr>
              <a:defRPr/>
            </a:pPr>
            <a:r>
              <a:rPr lang="en-US"/>
              <a:t>FOOTER / PRESENTATION NAME</a:t>
            </a:r>
            <a:endParaRPr lang="en-US" dirty="0"/>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946238972"/>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27E25-488A-4F29-B13C-3D0DD2B81E92}"/>
              </a:ext>
            </a:extLst>
          </p:cNvPr>
          <p:cNvSpPr>
            <a:spLocks noGrp="1"/>
          </p:cNvSpPr>
          <p:nvPr>
            <p:ph type="title"/>
          </p:nvPr>
        </p:nvSpPr>
        <p:spPr bwMode="gray"/>
        <p:txBody>
          <a:bodyPr/>
          <a:lstStyle/>
          <a:p>
            <a:r>
              <a:rPr lang="en-GB"/>
              <a:t>Click to edit Master title style</a:t>
            </a:r>
            <a:endParaRPr lang="en-US"/>
          </a:p>
        </p:txBody>
      </p:sp>
      <p:sp>
        <p:nvSpPr>
          <p:cNvPr id="9" name="Slide Number Placeholder 8">
            <a:extLst>
              <a:ext uri="{FF2B5EF4-FFF2-40B4-BE49-F238E27FC236}">
                <a16:creationId xmlns:a16="http://schemas.microsoft.com/office/drawing/2014/main" id="{797E4858-62D0-45EB-B7E7-B8026D00B506}"/>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73" name="Picture Placeholder 4">
            <a:extLst>
              <a:ext uri="{FF2B5EF4-FFF2-40B4-BE49-F238E27FC236}">
                <a16:creationId xmlns:a16="http://schemas.microsoft.com/office/drawing/2014/main" id="{D92FEA9E-110D-4C4F-B12A-F276F492698B}"/>
              </a:ext>
            </a:extLst>
          </p:cNvPr>
          <p:cNvSpPr>
            <a:spLocks noGrp="1"/>
          </p:cNvSpPr>
          <p:nvPr>
            <p:ph type="pic" sz="quarter" idx="19" hasCustomPrompt="1"/>
          </p:nvPr>
        </p:nvSpPr>
        <p:spPr bwMode="gray">
          <a:xfrm>
            <a:off x="380147" y="1428433"/>
            <a:ext cx="476201" cy="476102"/>
          </a:xfrm>
        </p:spPr>
        <p:txBody>
          <a:bodyPr anchor="ctr"/>
          <a:lstStyle>
            <a:lvl1pPr algn="ctr">
              <a:defRPr sz="1058"/>
            </a:lvl1pPr>
          </a:lstStyle>
          <a:p>
            <a:r>
              <a:rPr lang="en-US"/>
              <a:t>Icon</a:t>
            </a:r>
          </a:p>
        </p:txBody>
      </p:sp>
      <p:sp>
        <p:nvSpPr>
          <p:cNvPr id="74" name="Picture Placeholder 4">
            <a:extLst>
              <a:ext uri="{FF2B5EF4-FFF2-40B4-BE49-F238E27FC236}">
                <a16:creationId xmlns:a16="http://schemas.microsoft.com/office/drawing/2014/main" id="{A036B799-83AB-49B4-9EE6-D758207FD99A}"/>
              </a:ext>
            </a:extLst>
          </p:cNvPr>
          <p:cNvSpPr>
            <a:spLocks noGrp="1"/>
          </p:cNvSpPr>
          <p:nvPr>
            <p:ph type="pic" sz="quarter" idx="20" hasCustomPrompt="1"/>
          </p:nvPr>
        </p:nvSpPr>
        <p:spPr bwMode="gray">
          <a:xfrm>
            <a:off x="3238008" y="1428302"/>
            <a:ext cx="476332" cy="476233"/>
          </a:xfrm>
        </p:spPr>
        <p:txBody>
          <a:bodyPr anchor="ctr"/>
          <a:lstStyle>
            <a:lvl1pPr algn="ctr">
              <a:defRPr sz="1058"/>
            </a:lvl1pPr>
          </a:lstStyle>
          <a:p>
            <a:r>
              <a:rPr lang="en-US"/>
              <a:t>Icon</a:t>
            </a:r>
          </a:p>
        </p:txBody>
      </p:sp>
      <p:sp>
        <p:nvSpPr>
          <p:cNvPr id="75" name="Picture Placeholder 4">
            <a:extLst>
              <a:ext uri="{FF2B5EF4-FFF2-40B4-BE49-F238E27FC236}">
                <a16:creationId xmlns:a16="http://schemas.microsoft.com/office/drawing/2014/main" id="{1686E482-9B5B-4201-99FF-F4101F99C2BA}"/>
              </a:ext>
            </a:extLst>
          </p:cNvPr>
          <p:cNvSpPr>
            <a:spLocks noGrp="1"/>
          </p:cNvSpPr>
          <p:nvPr>
            <p:ph type="pic" sz="quarter" idx="21" hasCustomPrompt="1"/>
          </p:nvPr>
        </p:nvSpPr>
        <p:spPr bwMode="gray">
          <a:xfrm>
            <a:off x="6096000" y="1428302"/>
            <a:ext cx="476332" cy="476233"/>
          </a:xfrm>
        </p:spPr>
        <p:txBody>
          <a:bodyPr anchor="ctr"/>
          <a:lstStyle>
            <a:lvl1pPr algn="ctr">
              <a:defRPr sz="1058"/>
            </a:lvl1pPr>
          </a:lstStyle>
          <a:p>
            <a:r>
              <a:rPr lang="en-US"/>
              <a:t>Icon</a:t>
            </a:r>
          </a:p>
        </p:txBody>
      </p:sp>
      <p:sp>
        <p:nvSpPr>
          <p:cNvPr id="76" name="Text Placeholder 39">
            <a:extLst>
              <a:ext uri="{FF2B5EF4-FFF2-40B4-BE49-F238E27FC236}">
                <a16:creationId xmlns:a16="http://schemas.microsoft.com/office/drawing/2014/main" id="{4ACAC2B5-8751-4EE6-8EA4-4B2FB146D059}"/>
              </a:ext>
            </a:extLst>
          </p:cNvPr>
          <p:cNvSpPr>
            <a:spLocks noGrp="1"/>
          </p:cNvSpPr>
          <p:nvPr>
            <p:ph type="body" sz="quarter" idx="13"/>
          </p:nvPr>
        </p:nvSpPr>
        <p:spPr bwMode="gray">
          <a:xfrm>
            <a:off x="380017" y="2286700"/>
            <a:ext cx="2476926"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7" name="Text Placeholder 39">
            <a:extLst>
              <a:ext uri="{FF2B5EF4-FFF2-40B4-BE49-F238E27FC236}">
                <a16:creationId xmlns:a16="http://schemas.microsoft.com/office/drawing/2014/main" id="{346AFB4A-0574-4246-B1D2-FFF300049F95}"/>
              </a:ext>
            </a:extLst>
          </p:cNvPr>
          <p:cNvSpPr>
            <a:spLocks noGrp="1"/>
          </p:cNvSpPr>
          <p:nvPr>
            <p:ph type="body" sz="quarter" idx="14"/>
          </p:nvPr>
        </p:nvSpPr>
        <p:spPr bwMode="gray">
          <a:xfrm>
            <a:off x="3238008" y="2286700"/>
            <a:ext cx="2476926"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8" name="Text Placeholder 39">
            <a:extLst>
              <a:ext uri="{FF2B5EF4-FFF2-40B4-BE49-F238E27FC236}">
                <a16:creationId xmlns:a16="http://schemas.microsoft.com/office/drawing/2014/main" id="{F51609D4-BF06-4DCF-B9B2-89BF1F81DB7B}"/>
              </a:ext>
            </a:extLst>
          </p:cNvPr>
          <p:cNvSpPr>
            <a:spLocks noGrp="1"/>
          </p:cNvSpPr>
          <p:nvPr>
            <p:ph type="body" sz="quarter" idx="15"/>
          </p:nvPr>
        </p:nvSpPr>
        <p:spPr bwMode="gray">
          <a:xfrm>
            <a:off x="6096000" y="2286700"/>
            <a:ext cx="2476926"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9" name="Text Placeholder 39">
            <a:extLst>
              <a:ext uri="{FF2B5EF4-FFF2-40B4-BE49-F238E27FC236}">
                <a16:creationId xmlns:a16="http://schemas.microsoft.com/office/drawing/2014/main" id="{09722502-4883-48C9-9FCD-CBC9D8225A77}"/>
              </a:ext>
            </a:extLst>
          </p:cNvPr>
          <p:cNvSpPr>
            <a:spLocks noGrp="1"/>
          </p:cNvSpPr>
          <p:nvPr>
            <p:ph type="body" sz="quarter" idx="26"/>
          </p:nvPr>
        </p:nvSpPr>
        <p:spPr bwMode="gray">
          <a:xfrm>
            <a:off x="8953992" y="2286700"/>
            <a:ext cx="2476926" cy="3428251"/>
          </a:xfrm>
        </p:spPr>
        <p:txBody>
          <a:bodyPr/>
          <a:lstStyle>
            <a:lvl1pPr>
              <a:defRPr sz="1455"/>
            </a:lvl1pPr>
            <a:lvl2pPr>
              <a:defRPr sz="1455"/>
            </a:lvl2pPr>
            <a:lvl3pPr>
              <a:defRPr sz="1455"/>
            </a:lvl3pPr>
            <a:lvl4pPr>
              <a:defRPr sz="1455"/>
            </a:lvl4pPr>
            <a:lvl5pPr>
              <a:defRPr sz="145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0" name="Picture Placeholder 4">
            <a:extLst>
              <a:ext uri="{FF2B5EF4-FFF2-40B4-BE49-F238E27FC236}">
                <a16:creationId xmlns:a16="http://schemas.microsoft.com/office/drawing/2014/main" id="{FFA0D21F-72A7-4DAD-AE5F-01D7A5006C0B}"/>
              </a:ext>
            </a:extLst>
          </p:cNvPr>
          <p:cNvSpPr>
            <a:spLocks noGrp="1"/>
          </p:cNvSpPr>
          <p:nvPr>
            <p:ph type="pic" sz="quarter" idx="27" hasCustomPrompt="1"/>
          </p:nvPr>
        </p:nvSpPr>
        <p:spPr bwMode="gray">
          <a:xfrm>
            <a:off x="8953992" y="1428302"/>
            <a:ext cx="476332" cy="476233"/>
          </a:xfrm>
        </p:spPr>
        <p:txBody>
          <a:bodyPr anchor="ctr"/>
          <a:lstStyle>
            <a:lvl1pPr algn="ctr">
              <a:defRPr sz="1058"/>
            </a:lvl1pPr>
          </a:lstStyle>
          <a:p>
            <a:r>
              <a:rPr lang="en-US"/>
              <a:t>Icon</a:t>
            </a:r>
          </a:p>
        </p:txBody>
      </p:sp>
      <p:sp>
        <p:nvSpPr>
          <p:cNvPr id="2" name="Date Placeholder 1">
            <a:extLst>
              <a:ext uri="{FF2B5EF4-FFF2-40B4-BE49-F238E27FC236}">
                <a16:creationId xmlns:a16="http://schemas.microsoft.com/office/drawing/2014/main" id="{B4DA80B3-A149-4E9F-8067-64607E70393B}"/>
              </a:ext>
            </a:extLst>
          </p:cNvPr>
          <p:cNvSpPr>
            <a:spLocks noGrp="1"/>
          </p:cNvSpPr>
          <p:nvPr>
            <p:ph type="dt" sz="half" idx="30"/>
          </p:nvPr>
        </p:nvSpPr>
        <p:spPr/>
        <p:txBody>
          <a:bodyPr/>
          <a:lstStyle/>
          <a:p>
            <a:fld id="{D6D882F1-8AD8-4026-BCA1-7EA7DE307D0A}" type="datetime5">
              <a:rPr lang="en-US" smtClean="0"/>
              <a:t>6-Oct-21</a:t>
            </a:fld>
            <a:endParaRPr lang="en-US"/>
          </a:p>
        </p:txBody>
      </p:sp>
      <p:sp>
        <p:nvSpPr>
          <p:cNvPr id="4" name="Footer Placeholder 3">
            <a:extLst>
              <a:ext uri="{FF2B5EF4-FFF2-40B4-BE49-F238E27FC236}">
                <a16:creationId xmlns:a16="http://schemas.microsoft.com/office/drawing/2014/main" id="{FD081F35-D211-418D-B741-7E6D18DBF5E2}"/>
              </a:ext>
            </a:extLst>
          </p:cNvPr>
          <p:cNvSpPr>
            <a:spLocks noGrp="1"/>
          </p:cNvSpPr>
          <p:nvPr>
            <p:ph type="ftr" sz="quarter" idx="31"/>
          </p:nvPr>
        </p:nvSpPr>
        <p:spPr/>
        <p:txBody>
          <a:bodyPr/>
          <a:lstStyle/>
          <a:p>
            <a:pPr defTabSz="1218764">
              <a:lnSpc>
                <a:spcPct val="80000"/>
              </a:lnSpc>
            </a:pPr>
            <a:r>
              <a:rPr lang="en-GB"/>
              <a:t>FOOTER / PRESENTATION NAME</a:t>
            </a:r>
          </a:p>
        </p:txBody>
      </p:sp>
      <p:sp>
        <p:nvSpPr>
          <p:cNvPr id="16" name="Text Placeholder 15">
            <a:extLst>
              <a:ext uri="{FF2B5EF4-FFF2-40B4-BE49-F238E27FC236}">
                <a16:creationId xmlns:a16="http://schemas.microsoft.com/office/drawing/2014/main" id="{D39FD498-2750-44A2-AFAC-53E50BD3A9E9}"/>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GB"/>
              <a:t>Click to edit Master text styles</a:t>
            </a:r>
          </a:p>
        </p:txBody>
      </p:sp>
    </p:spTree>
    <p:extLst>
      <p:ext uri="{BB962C8B-B14F-4D97-AF65-F5344CB8AC3E}">
        <p14:creationId xmlns:p14="http://schemas.microsoft.com/office/powerpoint/2010/main" val="2872076269"/>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D37C4876-F1CB-49DA-8B69-1E8E832DDDE6}"/>
              </a:ext>
            </a:extLst>
          </p:cNvPr>
          <p:cNvSpPr>
            <a:spLocks noGrp="1"/>
          </p:cNvSpPr>
          <p:nvPr>
            <p:ph type="pic" sz="quarter" idx="14"/>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a:solidFill>
                  <a:schemeClr val="tx1"/>
                </a:solidFill>
              </a:defRPr>
            </a:lvl1pPr>
          </a:lstStyle>
          <a:p>
            <a:pPr lvl="0"/>
            <a:r>
              <a:rPr lang="en-US" noProof="0"/>
              <a:t>Click icon to add picture</a:t>
            </a:r>
          </a:p>
        </p:txBody>
      </p:sp>
      <p:sp>
        <p:nvSpPr>
          <p:cNvPr id="7" name="Title 1">
            <a:extLst>
              <a:ext uri="{FF2B5EF4-FFF2-40B4-BE49-F238E27FC236}">
                <a16:creationId xmlns:a16="http://schemas.microsoft.com/office/drawing/2014/main" id="{7279423D-05BE-4471-BD21-CF8A186ADE76}"/>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tx1"/>
                </a:solidFill>
                <a:latin typeface="+mj-lt"/>
              </a:defRPr>
            </a:lvl1pPr>
            <a:lvl2pPr>
              <a:lnSpc>
                <a:spcPct val="75000"/>
              </a:lnSpc>
              <a:defRPr sz="6349" b="1" spc="26" baseline="0">
                <a:solidFill>
                  <a:schemeClr val="tx1"/>
                </a:solidFill>
                <a:latin typeface="+mj-lt"/>
              </a:defRPr>
            </a:lvl2pPr>
            <a:lvl3pPr>
              <a:lnSpc>
                <a:spcPct val="75000"/>
              </a:lnSpc>
              <a:defRPr sz="6349" b="1" spc="26" baseline="0">
                <a:solidFill>
                  <a:schemeClr val="tx1"/>
                </a:solidFill>
                <a:latin typeface="+mj-lt"/>
              </a:defRPr>
            </a:lvl3pPr>
            <a:lvl4pPr>
              <a:lnSpc>
                <a:spcPct val="75000"/>
              </a:lnSpc>
              <a:defRPr sz="6349" b="1" spc="26" baseline="0">
                <a:solidFill>
                  <a:schemeClr val="tx1"/>
                </a:solidFill>
                <a:latin typeface="+mj-lt"/>
              </a:defRPr>
            </a:lvl4pPr>
            <a:lvl5pPr>
              <a:lnSpc>
                <a:spcPct val="75000"/>
              </a:lnSpc>
              <a:defRPr sz="6349" b="1" spc="26" baseline="0">
                <a:solidFill>
                  <a:schemeClr val="tx1"/>
                </a:solidFill>
                <a:latin typeface="+mj-lt"/>
              </a:defRPr>
            </a:lvl5pPr>
            <a:lvl6pPr>
              <a:lnSpc>
                <a:spcPct val="75000"/>
              </a:lnSpc>
              <a:defRPr sz="6349" b="1" spc="26" baseline="0">
                <a:solidFill>
                  <a:schemeClr val="tx1"/>
                </a:solidFill>
                <a:latin typeface="+mj-lt"/>
              </a:defRPr>
            </a:lvl6pPr>
            <a:lvl7pPr>
              <a:lnSpc>
                <a:spcPct val="75000"/>
              </a:lnSpc>
              <a:defRPr sz="6349" b="1" spc="26" baseline="0">
                <a:solidFill>
                  <a:schemeClr val="tx1"/>
                </a:solidFill>
                <a:latin typeface="+mj-lt"/>
              </a:defRPr>
            </a:lvl7pPr>
            <a:lvl8pPr>
              <a:lnSpc>
                <a:spcPct val="75000"/>
              </a:lnSpc>
              <a:defRPr sz="6349" b="1" spc="26" baseline="0">
                <a:solidFill>
                  <a:schemeClr val="tx1"/>
                </a:solidFill>
                <a:latin typeface="+mj-lt"/>
              </a:defRPr>
            </a:lvl8pPr>
            <a:lvl9pPr algn="l">
              <a:lnSpc>
                <a:spcPct val="75000"/>
              </a:lnSpc>
              <a:defRPr sz="6349" b="1" spc="26" baseline="0">
                <a:solidFill>
                  <a:schemeClr val="tx1"/>
                </a:solidFill>
                <a:latin typeface="+mj-lt"/>
              </a:defRPr>
            </a:lvl9pPr>
          </a:lstStyle>
          <a:p>
            <a:pPr lvl="0"/>
            <a:r>
              <a:rPr lang="en-US" noProof="0"/>
              <a:t>Title of your presentation</a:t>
            </a:r>
            <a:endParaRPr lang="en-US"/>
          </a:p>
        </p:txBody>
      </p:sp>
      <p:sp>
        <p:nvSpPr>
          <p:cNvPr id="9" name="Subtitle 2">
            <a:extLst>
              <a:ext uri="{FF2B5EF4-FFF2-40B4-BE49-F238E27FC236}">
                <a16:creationId xmlns:a16="http://schemas.microsoft.com/office/drawing/2014/main" id="{CE607C86-A073-4B8A-9703-E7131EEB5579}"/>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tx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6pPr>
            <a:lvl7pPr marL="0" indent="0" algn="l">
              <a:lnSpc>
                <a:spcPct val="75000"/>
              </a:lnSpc>
              <a:spcBef>
                <a:spcPts val="0"/>
              </a:spcBef>
              <a:spcAft>
                <a:spcPts val="0"/>
              </a:spcAft>
              <a:buNone/>
              <a:defRPr sz="1852" b="0" cap="all" spc="26" baseline="0">
                <a:solidFill>
                  <a:schemeClr val="tx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tx1"/>
                </a:solidFill>
                <a:latin typeface="+mj-lt"/>
              </a:defRPr>
            </a:lvl8pPr>
            <a:lvl9pPr marL="0" indent="0" algn="l">
              <a:lnSpc>
                <a:spcPct val="75000"/>
              </a:lnSpc>
              <a:spcBef>
                <a:spcPts val="0"/>
              </a:spcBef>
              <a:spcAft>
                <a:spcPts val="0"/>
              </a:spcAft>
              <a:buNone/>
              <a:defRPr sz="1852" b="0" cap="all" spc="26" baseline="0">
                <a:solidFill>
                  <a:schemeClr val="tx1"/>
                </a:solidFill>
                <a:latin typeface="+mj-lt"/>
              </a:defRPr>
            </a:lvl9pPr>
          </a:lstStyle>
          <a:p>
            <a:pPr lvl="0"/>
            <a:r>
              <a:rPr lang="en-US" noProof="0"/>
              <a:t>Click to edit Master subtitle style</a:t>
            </a:r>
          </a:p>
        </p:txBody>
      </p:sp>
      <p:sp>
        <p:nvSpPr>
          <p:cNvPr id="78" name="Text Placeholder 77">
            <a:extLst>
              <a:ext uri="{FF2B5EF4-FFF2-40B4-BE49-F238E27FC236}">
                <a16:creationId xmlns:a16="http://schemas.microsoft.com/office/drawing/2014/main" id="{1100DE97-1C17-4DE5-AF51-6F3963ECEC24}"/>
              </a:ext>
            </a:extLst>
          </p:cNvPr>
          <p:cNvSpPr>
            <a:spLocks noGrp="1"/>
          </p:cNvSpPr>
          <p:nvPr>
            <p:ph type="body" sz="quarter" idx="15" hasCustomPrompt="1"/>
          </p:nvPr>
        </p:nvSpPr>
        <p:spPr bwMode="gray">
          <a:xfrm>
            <a:off x="8953676" y="4936795"/>
            <a:ext cx="1714603" cy="398825"/>
          </a:xfrm>
          <a:custGeom>
            <a:avLst/>
            <a:gdLst>
              <a:gd name="connsiteX0" fmla="*/ 962020 w 1295999"/>
              <a:gd name="connsiteY0" fmla="*/ 123589 h 301519"/>
              <a:gd name="connsiteX1" fmla="*/ 899264 w 1295999"/>
              <a:gd name="connsiteY1" fmla="*/ 187067 h 301519"/>
              <a:gd name="connsiteX2" fmla="*/ 962020 w 1295999"/>
              <a:gd name="connsiteY2" fmla="*/ 250545 h 301519"/>
              <a:gd name="connsiteX3" fmla="*/ 1024776 w 1295999"/>
              <a:gd name="connsiteY3" fmla="*/ 187067 h 301519"/>
              <a:gd name="connsiteX4" fmla="*/ 962020 w 1295999"/>
              <a:gd name="connsiteY4" fmla="*/ 123589 h 301519"/>
              <a:gd name="connsiteX5" fmla="*/ 706668 w 1295999"/>
              <a:gd name="connsiteY5" fmla="*/ 123589 h 301519"/>
              <a:gd name="connsiteX6" fmla="*/ 644392 w 1295999"/>
              <a:gd name="connsiteY6" fmla="*/ 187067 h 301519"/>
              <a:gd name="connsiteX7" fmla="*/ 706668 w 1295999"/>
              <a:gd name="connsiteY7" fmla="*/ 250545 h 301519"/>
              <a:gd name="connsiteX8" fmla="*/ 768944 w 1295999"/>
              <a:gd name="connsiteY8" fmla="*/ 187067 h 301519"/>
              <a:gd name="connsiteX9" fmla="*/ 706668 w 1295999"/>
              <a:gd name="connsiteY9" fmla="*/ 123589 h 301519"/>
              <a:gd name="connsiteX10" fmla="*/ 370526 w 1295999"/>
              <a:gd name="connsiteY10" fmla="*/ 123589 h 301519"/>
              <a:gd name="connsiteX11" fmla="*/ 308250 w 1295999"/>
              <a:gd name="connsiteY11" fmla="*/ 187067 h 301519"/>
              <a:gd name="connsiteX12" fmla="*/ 370526 w 1295999"/>
              <a:gd name="connsiteY12" fmla="*/ 250545 h 301519"/>
              <a:gd name="connsiteX13" fmla="*/ 432802 w 1295999"/>
              <a:gd name="connsiteY13" fmla="*/ 187067 h 301519"/>
              <a:gd name="connsiteX14" fmla="*/ 370526 w 1295999"/>
              <a:gd name="connsiteY14" fmla="*/ 123589 h 301519"/>
              <a:gd name="connsiteX15" fmla="*/ 115172 w 1295999"/>
              <a:gd name="connsiteY15" fmla="*/ 123589 h 301519"/>
              <a:gd name="connsiteX16" fmla="*/ 52416 w 1295999"/>
              <a:gd name="connsiteY16" fmla="*/ 187067 h 301519"/>
              <a:gd name="connsiteX17" fmla="*/ 115172 w 1295999"/>
              <a:gd name="connsiteY17" fmla="*/ 250545 h 301519"/>
              <a:gd name="connsiteX18" fmla="*/ 177928 w 1295999"/>
              <a:gd name="connsiteY18" fmla="*/ 187067 h 301519"/>
              <a:gd name="connsiteX19" fmla="*/ 115172 w 1295999"/>
              <a:gd name="connsiteY19" fmla="*/ 123589 h 301519"/>
              <a:gd name="connsiteX20" fmla="*/ 514071 w 1295999"/>
              <a:gd name="connsiteY20" fmla="*/ 75019 h 301519"/>
              <a:gd name="connsiteX21" fmla="*/ 568893 w 1295999"/>
              <a:gd name="connsiteY21" fmla="*/ 75019 h 301519"/>
              <a:gd name="connsiteX22" fmla="*/ 568893 w 1295999"/>
              <a:gd name="connsiteY22" fmla="*/ 296710 h 301519"/>
              <a:gd name="connsiteX23" fmla="*/ 514071 w 1295999"/>
              <a:gd name="connsiteY23" fmla="*/ 296710 h 301519"/>
              <a:gd name="connsiteX24" fmla="*/ 1194227 w 1295999"/>
              <a:gd name="connsiteY24" fmla="*/ 72615 h 301519"/>
              <a:gd name="connsiteX25" fmla="*/ 1287995 w 1295999"/>
              <a:gd name="connsiteY25" fmla="*/ 145448 h 301519"/>
              <a:gd name="connsiteX26" fmla="*/ 1231963 w 1295999"/>
              <a:gd name="connsiteY26" fmla="*/ 145448 h 301519"/>
              <a:gd name="connsiteX27" fmla="*/ 1193083 w 1295999"/>
              <a:gd name="connsiteY27" fmla="*/ 114234 h 301519"/>
              <a:gd name="connsiteX28" fmla="*/ 1158778 w 1295999"/>
              <a:gd name="connsiteY28" fmla="*/ 136200 h 301519"/>
              <a:gd name="connsiteX29" fmla="*/ 1196514 w 1295999"/>
              <a:gd name="connsiteY29" fmla="*/ 158165 h 301519"/>
              <a:gd name="connsiteX30" fmla="*/ 1231963 w 1295999"/>
              <a:gd name="connsiteY30" fmla="*/ 165102 h 301519"/>
              <a:gd name="connsiteX31" fmla="*/ 1295999 w 1295999"/>
              <a:gd name="connsiteY31" fmla="*/ 228686 h 301519"/>
              <a:gd name="connsiteX32" fmla="*/ 1201088 w 1295999"/>
              <a:gd name="connsiteY32" fmla="*/ 301519 h 301519"/>
              <a:gd name="connsiteX33" fmla="*/ 1099315 w 1295999"/>
              <a:gd name="connsiteY33" fmla="*/ 225218 h 301519"/>
              <a:gd name="connsiteX34" fmla="*/ 1154204 w 1295999"/>
              <a:gd name="connsiteY34" fmla="*/ 225218 h 301519"/>
              <a:gd name="connsiteX35" fmla="*/ 1202231 w 1295999"/>
              <a:gd name="connsiteY35" fmla="*/ 259900 h 301519"/>
              <a:gd name="connsiteX36" fmla="*/ 1237680 w 1295999"/>
              <a:gd name="connsiteY36" fmla="*/ 237935 h 301519"/>
              <a:gd name="connsiteX37" fmla="*/ 1207949 w 1295999"/>
              <a:gd name="connsiteY37" fmla="*/ 215969 h 301519"/>
              <a:gd name="connsiteX38" fmla="*/ 1179361 w 1295999"/>
              <a:gd name="connsiteY38" fmla="*/ 210189 h 301519"/>
              <a:gd name="connsiteX39" fmla="*/ 1103889 w 1295999"/>
              <a:gd name="connsiteY39" fmla="*/ 145448 h 301519"/>
              <a:gd name="connsiteX40" fmla="*/ 1194227 w 1295999"/>
              <a:gd name="connsiteY40" fmla="*/ 72615 h 301519"/>
              <a:gd name="connsiteX41" fmla="*/ 959735 w 1295999"/>
              <a:gd name="connsiteY41" fmla="*/ 72615 h 301519"/>
              <a:gd name="connsiteX42" fmla="*/ 1023759 w 1295999"/>
              <a:gd name="connsiteY42" fmla="*/ 93425 h 301519"/>
              <a:gd name="connsiteX43" fmla="*/ 1023759 w 1295999"/>
              <a:gd name="connsiteY43" fmla="*/ 74927 h 301519"/>
              <a:gd name="connsiteX44" fmla="*/ 1078637 w 1295999"/>
              <a:gd name="connsiteY44" fmla="*/ 74927 h 301519"/>
              <a:gd name="connsiteX45" fmla="*/ 1078637 w 1295999"/>
              <a:gd name="connsiteY45" fmla="*/ 296895 h 301519"/>
              <a:gd name="connsiteX46" fmla="*/ 1023759 w 1295999"/>
              <a:gd name="connsiteY46" fmla="*/ 296895 h 301519"/>
              <a:gd name="connsiteX47" fmla="*/ 1023759 w 1295999"/>
              <a:gd name="connsiteY47" fmla="*/ 281866 h 301519"/>
              <a:gd name="connsiteX48" fmla="*/ 959735 w 1295999"/>
              <a:gd name="connsiteY48" fmla="*/ 301519 h 301519"/>
              <a:gd name="connsiteX49" fmla="*/ 845405 w 1295999"/>
              <a:gd name="connsiteY49" fmla="*/ 187067 h 301519"/>
              <a:gd name="connsiteX50" fmla="*/ 959735 w 1295999"/>
              <a:gd name="connsiteY50" fmla="*/ 72615 h 301519"/>
              <a:gd name="connsiteX51" fmla="*/ 113040 w 1295999"/>
              <a:gd name="connsiteY51" fmla="*/ 72615 h 301519"/>
              <a:gd name="connsiteX52" fmla="*/ 178124 w 1295999"/>
              <a:gd name="connsiteY52" fmla="*/ 93425 h 301519"/>
              <a:gd name="connsiteX53" fmla="*/ 178124 w 1295999"/>
              <a:gd name="connsiteY53" fmla="*/ 74927 h 301519"/>
              <a:gd name="connsiteX54" fmla="*/ 231789 w 1295999"/>
              <a:gd name="connsiteY54" fmla="*/ 74927 h 301519"/>
              <a:gd name="connsiteX55" fmla="*/ 231789 w 1295999"/>
              <a:gd name="connsiteY55" fmla="*/ 296895 h 301519"/>
              <a:gd name="connsiteX56" fmla="*/ 178124 w 1295999"/>
              <a:gd name="connsiteY56" fmla="*/ 296895 h 301519"/>
              <a:gd name="connsiteX57" fmla="*/ 178124 w 1295999"/>
              <a:gd name="connsiteY57" fmla="*/ 281866 h 301519"/>
              <a:gd name="connsiteX58" fmla="*/ 113040 w 1295999"/>
              <a:gd name="connsiteY58" fmla="*/ 301519 h 301519"/>
              <a:gd name="connsiteX59" fmla="*/ 0 w 1295999"/>
              <a:gd name="connsiteY59" fmla="*/ 187067 h 301519"/>
              <a:gd name="connsiteX60" fmla="*/ 113040 w 1295999"/>
              <a:gd name="connsiteY60" fmla="*/ 72615 h 301519"/>
              <a:gd name="connsiteX61" fmla="*/ 768887 w 1295999"/>
              <a:gd name="connsiteY61" fmla="*/ 0 h 301519"/>
              <a:gd name="connsiteX62" fmla="*/ 823765 w 1295999"/>
              <a:gd name="connsiteY62" fmla="*/ 0 h 301519"/>
              <a:gd name="connsiteX63" fmla="*/ 823765 w 1295999"/>
              <a:gd name="connsiteY63" fmla="*/ 296898 h 301519"/>
              <a:gd name="connsiteX64" fmla="*/ 768887 w 1295999"/>
              <a:gd name="connsiteY64" fmla="*/ 296898 h 301519"/>
              <a:gd name="connsiteX65" fmla="*/ 768887 w 1295999"/>
              <a:gd name="connsiteY65" fmla="*/ 281880 h 301519"/>
              <a:gd name="connsiteX66" fmla="*/ 703719 w 1295999"/>
              <a:gd name="connsiteY66" fmla="*/ 301519 h 301519"/>
              <a:gd name="connsiteX67" fmla="*/ 590533 w 1295999"/>
              <a:gd name="connsiteY67" fmla="*/ 187150 h 301519"/>
              <a:gd name="connsiteX68" fmla="*/ 703719 w 1295999"/>
              <a:gd name="connsiteY68" fmla="*/ 72781 h 301519"/>
              <a:gd name="connsiteX69" fmla="*/ 768887 w 1295999"/>
              <a:gd name="connsiteY69" fmla="*/ 93575 h 301519"/>
              <a:gd name="connsiteX70" fmla="*/ 768887 w 1295999"/>
              <a:gd name="connsiteY70" fmla="*/ 0 h 301519"/>
              <a:gd name="connsiteX71" fmla="*/ 514071 w 1295999"/>
              <a:gd name="connsiteY71" fmla="*/ 0 h 301519"/>
              <a:gd name="connsiteX72" fmla="*/ 568893 w 1295999"/>
              <a:gd name="connsiteY72" fmla="*/ 0 h 301519"/>
              <a:gd name="connsiteX73" fmla="*/ 568893 w 1295999"/>
              <a:gd name="connsiteY73" fmla="*/ 55303 h 301519"/>
              <a:gd name="connsiteX74" fmla="*/ 514071 w 1295999"/>
              <a:gd name="connsiteY74" fmla="*/ 55303 h 301519"/>
              <a:gd name="connsiteX75" fmla="*/ 432857 w 1295999"/>
              <a:gd name="connsiteY75" fmla="*/ 0 h 301519"/>
              <a:gd name="connsiteX76" fmla="*/ 487622 w 1295999"/>
              <a:gd name="connsiteY76" fmla="*/ 0 h 301519"/>
              <a:gd name="connsiteX77" fmla="*/ 487622 w 1295999"/>
              <a:gd name="connsiteY77" fmla="*/ 296898 h 301519"/>
              <a:gd name="connsiteX78" fmla="*/ 432857 w 1295999"/>
              <a:gd name="connsiteY78" fmla="*/ 296898 h 301519"/>
              <a:gd name="connsiteX79" fmla="*/ 432857 w 1295999"/>
              <a:gd name="connsiteY79" fmla="*/ 281880 h 301519"/>
              <a:gd name="connsiteX80" fmla="*/ 367824 w 1295999"/>
              <a:gd name="connsiteY80" fmla="*/ 301519 h 301519"/>
              <a:gd name="connsiteX81" fmla="*/ 254871 w 1295999"/>
              <a:gd name="connsiteY81" fmla="*/ 187150 h 301519"/>
              <a:gd name="connsiteX82" fmla="*/ 367824 w 1295999"/>
              <a:gd name="connsiteY82" fmla="*/ 72781 h 301519"/>
              <a:gd name="connsiteX83" fmla="*/ 432857 w 1295999"/>
              <a:gd name="connsiteY83" fmla="*/ 93575 h 301519"/>
              <a:gd name="connsiteX84" fmla="*/ 432857 w 1295999"/>
              <a:gd name="connsiteY84" fmla="*/ 0 h 30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95999" h="301519">
                <a:moveTo>
                  <a:pt x="962020" y="123589"/>
                </a:moveTo>
                <a:cubicBezTo>
                  <a:pt x="927361" y="123589"/>
                  <a:pt x="899264" y="152009"/>
                  <a:pt x="899264" y="187067"/>
                </a:cubicBezTo>
                <a:cubicBezTo>
                  <a:pt x="899264" y="222125"/>
                  <a:pt x="927361" y="250545"/>
                  <a:pt x="962020" y="250545"/>
                </a:cubicBezTo>
                <a:cubicBezTo>
                  <a:pt x="996679" y="250545"/>
                  <a:pt x="1024776" y="222125"/>
                  <a:pt x="1024776" y="187067"/>
                </a:cubicBezTo>
                <a:cubicBezTo>
                  <a:pt x="1024776" y="152009"/>
                  <a:pt x="996679" y="123589"/>
                  <a:pt x="962020" y="123589"/>
                </a:cubicBezTo>
                <a:close/>
                <a:moveTo>
                  <a:pt x="706668" y="123589"/>
                </a:moveTo>
                <a:cubicBezTo>
                  <a:pt x="672274" y="123589"/>
                  <a:pt x="644392" y="152009"/>
                  <a:pt x="644392" y="187067"/>
                </a:cubicBezTo>
                <a:cubicBezTo>
                  <a:pt x="644392" y="222125"/>
                  <a:pt x="672274" y="250545"/>
                  <a:pt x="706668" y="250545"/>
                </a:cubicBezTo>
                <a:cubicBezTo>
                  <a:pt x="741062" y="250545"/>
                  <a:pt x="768944" y="222125"/>
                  <a:pt x="768944" y="187067"/>
                </a:cubicBezTo>
                <a:cubicBezTo>
                  <a:pt x="768944" y="152009"/>
                  <a:pt x="741062" y="123589"/>
                  <a:pt x="706668" y="123589"/>
                </a:cubicBezTo>
                <a:close/>
                <a:moveTo>
                  <a:pt x="370526" y="123589"/>
                </a:moveTo>
                <a:cubicBezTo>
                  <a:pt x="336132" y="123589"/>
                  <a:pt x="308250" y="152009"/>
                  <a:pt x="308250" y="187067"/>
                </a:cubicBezTo>
                <a:cubicBezTo>
                  <a:pt x="308250" y="222125"/>
                  <a:pt x="336132" y="250545"/>
                  <a:pt x="370526" y="250545"/>
                </a:cubicBezTo>
                <a:cubicBezTo>
                  <a:pt x="404920" y="250545"/>
                  <a:pt x="432802" y="222125"/>
                  <a:pt x="432802" y="187067"/>
                </a:cubicBezTo>
                <a:cubicBezTo>
                  <a:pt x="432802" y="152009"/>
                  <a:pt x="404920" y="123589"/>
                  <a:pt x="370526" y="123589"/>
                </a:cubicBezTo>
                <a:close/>
                <a:moveTo>
                  <a:pt x="115172" y="123589"/>
                </a:moveTo>
                <a:cubicBezTo>
                  <a:pt x="80513" y="123589"/>
                  <a:pt x="52416" y="152009"/>
                  <a:pt x="52416" y="187067"/>
                </a:cubicBezTo>
                <a:cubicBezTo>
                  <a:pt x="52416" y="222125"/>
                  <a:pt x="80513" y="250545"/>
                  <a:pt x="115172" y="250545"/>
                </a:cubicBezTo>
                <a:cubicBezTo>
                  <a:pt x="149831" y="250545"/>
                  <a:pt x="177928" y="222125"/>
                  <a:pt x="177928" y="187067"/>
                </a:cubicBezTo>
                <a:cubicBezTo>
                  <a:pt x="177928" y="152009"/>
                  <a:pt x="149831" y="123589"/>
                  <a:pt x="115172" y="123589"/>
                </a:cubicBezTo>
                <a:close/>
                <a:moveTo>
                  <a:pt x="514071" y="75019"/>
                </a:moveTo>
                <a:lnTo>
                  <a:pt x="568893" y="75019"/>
                </a:lnTo>
                <a:lnTo>
                  <a:pt x="568893" y="296710"/>
                </a:lnTo>
                <a:lnTo>
                  <a:pt x="514071" y="296710"/>
                </a:lnTo>
                <a:close/>
                <a:moveTo>
                  <a:pt x="1194227" y="72615"/>
                </a:moveTo>
                <a:cubicBezTo>
                  <a:pt x="1250259" y="72615"/>
                  <a:pt x="1284564" y="101517"/>
                  <a:pt x="1287995" y="145448"/>
                </a:cubicBezTo>
                <a:cubicBezTo>
                  <a:pt x="1287995" y="145448"/>
                  <a:pt x="1287995" y="145448"/>
                  <a:pt x="1231963" y="145448"/>
                </a:cubicBezTo>
                <a:cubicBezTo>
                  <a:pt x="1231963" y="128107"/>
                  <a:pt x="1220527" y="114234"/>
                  <a:pt x="1193083" y="114234"/>
                </a:cubicBezTo>
                <a:cubicBezTo>
                  <a:pt x="1173644" y="114234"/>
                  <a:pt x="1158778" y="121171"/>
                  <a:pt x="1158778" y="136200"/>
                </a:cubicBezTo>
                <a:cubicBezTo>
                  <a:pt x="1158778" y="148916"/>
                  <a:pt x="1174787" y="153541"/>
                  <a:pt x="1196514" y="158165"/>
                </a:cubicBezTo>
                <a:cubicBezTo>
                  <a:pt x="1196514" y="158165"/>
                  <a:pt x="1196514" y="158165"/>
                  <a:pt x="1231963" y="165102"/>
                </a:cubicBezTo>
                <a:cubicBezTo>
                  <a:pt x="1276560" y="173194"/>
                  <a:pt x="1295999" y="194004"/>
                  <a:pt x="1295999" y="228686"/>
                </a:cubicBezTo>
                <a:cubicBezTo>
                  <a:pt x="1295999" y="278398"/>
                  <a:pt x="1253689" y="301519"/>
                  <a:pt x="1201088" y="301519"/>
                </a:cubicBezTo>
                <a:cubicBezTo>
                  <a:pt x="1138195" y="301519"/>
                  <a:pt x="1100459" y="270305"/>
                  <a:pt x="1099315" y="225218"/>
                </a:cubicBezTo>
                <a:cubicBezTo>
                  <a:pt x="1099315" y="225218"/>
                  <a:pt x="1099315" y="225218"/>
                  <a:pt x="1154204" y="225218"/>
                </a:cubicBezTo>
                <a:cubicBezTo>
                  <a:pt x="1155347" y="241403"/>
                  <a:pt x="1166782" y="259900"/>
                  <a:pt x="1202231" y="259900"/>
                </a:cubicBezTo>
                <a:cubicBezTo>
                  <a:pt x="1227389" y="259900"/>
                  <a:pt x="1237680" y="248339"/>
                  <a:pt x="1237680" y="237935"/>
                </a:cubicBezTo>
                <a:cubicBezTo>
                  <a:pt x="1237680" y="226374"/>
                  <a:pt x="1228532" y="219437"/>
                  <a:pt x="1207949" y="215969"/>
                </a:cubicBezTo>
                <a:cubicBezTo>
                  <a:pt x="1207949" y="215969"/>
                  <a:pt x="1207949" y="215969"/>
                  <a:pt x="1179361" y="210189"/>
                </a:cubicBezTo>
                <a:cubicBezTo>
                  <a:pt x="1143912" y="204408"/>
                  <a:pt x="1103889" y="196316"/>
                  <a:pt x="1103889" y="145448"/>
                </a:cubicBezTo>
                <a:cubicBezTo>
                  <a:pt x="1103889" y="103829"/>
                  <a:pt x="1137051" y="72615"/>
                  <a:pt x="1194227" y="72615"/>
                </a:cubicBezTo>
                <a:close/>
                <a:moveTo>
                  <a:pt x="959735" y="72615"/>
                </a:moveTo>
                <a:cubicBezTo>
                  <a:pt x="983744" y="72615"/>
                  <a:pt x="1005466" y="79552"/>
                  <a:pt x="1023759" y="93425"/>
                </a:cubicBezTo>
                <a:cubicBezTo>
                  <a:pt x="1023759" y="93425"/>
                  <a:pt x="1023759" y="93425"/>
                  <a:pt x="1023759" y="74927"/>
                </a:cubicBezTo>
                <a:cubicBezTo>
                  <a:pt x="1023759" y="74927"/>
                  <a:pt x="1023759" y="74927"/>
                  <a:pt x="1078637" y="74927"/>
                </a:cubicBezTo>
                <a:cubicBezTo>
                  <a:pt x="1078637" y="74927"/>
                  <a:pt x="1078637" y="74927"/>
                  <a:pt x="1078637" y="296895"/>
                </a:cubicBezTo>
                <a:cubicBezTo>
                  <a:pt x="1078637" y="296895"/>
                  <a:pt x="1078637" y="296895"/>
                  <a:pt x="1023759" y="296895"/>
                </a:cubicBezTo>
                <a:cubicBezTo>
                  <a:pt x="1023759" y="296895"/>
                  <a:pt x="1023759" y="296895"/>
                  <a:pt x="1023759" y="281866"/>
                </a:cubicBezTo>
                <a:cubicBezTo>
                  <a:pt x="1005466" y="294583"/>
                  <a:pt x="983744" y="301519"/>
                  <a:pt x="959735" y="301519"/>
                </a:cubicBezTo>
                <a:cubicBezTo>
                  <a:pt x="896853" y="301519"/>
                  <a:pt x="845405" y="250652"/>
                  <a:pt x="845405" y="187067"/>
                </a:cubicBezTo>
                <a:cubicBezTo>
                  <a:pt x="845405" y="123483"/>
                  <a:pt x="896853" y="72615"/>
                  <a:pt x="959735" y="72615"/>
                </a:cubicBezTo>
                <a:close/>
                <a:moveTo>
                  <a:pt x="113040" y="72615"/>
                </a:moveTo>
                <a:cubicBezTo>
                  <a:pt x="137018" y="72615"/>
                  <a:pt x="159855" y="79552"/>
                  <a:pt x="178124" y="93425"/>
                </a:cubicBezTo>
                <a:cubicBezTo>
                  <a:pt x="178124" y="93425"/>
                  <a:pt x="178124" y="93425"/>
                  <a:pt x="178124" y="74927"/>
                </a:cubicBezTo>
                <a:cubicBezTo>
                  <a:pt x="178124" y="74927"/>
                  <a:pt x="178124" y="74927"/>
                  <a:pt x="231789" y="74927"/>
                </a:cubicBezTo>
                <a:cubicBezTo>
                  <a:pt x="231789" y="74927"/>
                  <a:pt x="231789" y="74927"/>
                  <a:pt x="231789" y="296895"/>
                </a:cubicBezTo>
                <a:cubicBezTo>
                  <a:pt x="231789" y="296895"/>
                  <a:pt x="231789" y="296895"/>
                  <a:pt x="178124" y="296895"/>
                </a:cubicBezTo>
                <a:cubicBezTo>
                  <a:pt x="178124" y="296895"/>
                  <a:pt x="178124" y="296895"/>
                  <a:pt x="178124" y="281866"/>
                </a:cubicBezTo>
                <a:cubicBezTo>
                  <a:pt x="159855" y="294583"/>
                  <a:pt x="137018" y="301519"/>
                  <a:pt x="113040" y="301519"/>
                </a:cubicBezTo>
                <a:cubicBezTo>
                  <a:pt x="50240" y="301519"/>
                  <a:pt x="0" y="250652"/>
                  <a:pt x="0" y="187067"/>
                </a:cubicBezTo>
                <a:cubicBezTo>
                  <a:pt x="0" y="123483"/>
                  <a:pt x="50240" y="72615"/>
                  <a:pt x="113040" y="72615"/>
                </a:cubicBezTo>
                <a:close/>
                <a:moveTo>
                  <a:pt x="768887" y="0"/>
                </a:moveTo>
                <a:cubicBezTo>
                  <a:pt x="768887" y="0"/>
                  <a:pt x="768887" y="0"/>
                  <a:pt x="823765" y="0"/>
                </a:cubicBezTo>
                <a:cubicBezTo>
                  <a:pt x="823765" y="0"/>
                  <a:pt x="823765" y="0"/>
                  <a:pt x="823765" y="296898"/>
                </a:cubicBezTo>
                <a:cubicBezTo>
                  <a:pt x="823765" y="296898"/>
                  <a:pt x="823765" y="296898"/>
                  <a:pt x="768887" y="296898"/>
                </a:cubicBezTo>
                <a:cubicBezTo>
                  <a:pt x="768887" y="296898"/>
                  <a:pt x="768887" y="296898"/>
                  <a:pt x="768887" y="281880"/>
                </a:cubicBezTo>
                <a:cubicBezTo>
                  <a:pt x="750594" y="294588"/>
                  <a:pt x="727729" y="301519"/>
                  <a:pt x="703719" y="301519"/>
                </a:cubicBezTo>
                <a:cubicBezTo>
                  <a:pt x="641981" y="301519"/>
                  <a:pt x="590533" y="250688"/>
                  <a:pt x="590533" y="187150"/>
                </a:cubicBezTo>
                <a:cubicBezTo>
                  <a:pt x="590533" y="123611"/>
                  <a:pt x="641981" y="72781"/>
                  <a:pt x="703719" y="72781"/>
                </a:cubicBezTo>
                <a:cubicBezTo>
                  <a:pt x="727729" y="72781"/>
                  <a:pt x="750594" y="79712"/>
                  <a:pt x="768887" y="93575"/>
                </a:cubicBezTo>
                <a:cubicBezTo>
                  <a:pt x="768887" y="93575"/>
                  <a:pt x="768887" y="93575"/>
                  <a:pt x="768887" y="0"/>
                </a:cubicBezTo>
                <a:close/>
                <a:moveTo>
                  <a:pt x="514071" y="0"/>
                </a:moveTo>
                <a:lnTo>
                  <a:pt x="568893" y="0"/>
                </a:lnTo>
                <a:lnTo>
                  <a:pt x="568893" y="55303"/>
                </a:lnTo>
                <a:lnTo>
                  <a:pt x="514071" y="55303"/>
                </a:lnTo>
                <a:close/>
                <a:moveTo>
                  <a:pt x="432857" y="0"/>
                </a:moveTo>
                <a:cubicBezTo>
                  <a:pt x="432857" y="0"/>
                  <a:pt x="432857" y="0"/>
                  <a:pt x="487622" y="0"/>
                </a:cubicBezTo>
                <a:cubicBezTo>
                  <a:pt x="487622" y="0"/>
                  <a:pt x="487622" y="0"/>
                  <a:pt x="487622" y="296898"/>
                </a:cubicBezTo>
                <a:cubicBezTo>
                  <a:pt x="487622" y="296898"/>
                  <a:pt x="487622" y="296898"/>
                  <a:pt x="432857" y="296898"/>
                </a:cubicBezTo>
                <a:cubicBezTo>
                  <a:pt x="432857" y="296898"/>
                  <a:pt x="432857" y="296898"/>
                  <a:pt x="432857" y="281880"/>
                </a:cubicBezTo>
                <a:cubicBezTo>
                  <a:pt x="414602" y="294588"/>
                  <a:pt x="391784" y="301519"/>
                  <a:pt x="367824" y="301519"/>
                </a:cubicBezTo>
                <a:cubicBezTo>
                  <a:pt x="305072" y="301519"/>
                  <a:pt x="254871" y="250688"/>
                  <a:pt x="254871" y="187150"/>
                </a:cubicBezTo>
                <a:cubicBezTo>
                  <a:pt x="254871" y="123611"/>
                  <a:pt x="305072" y="72781"/>
                  <a:pt x="367824" y="72781"/>
                </a:cubicBezTo>
                <a:cubicBezTo>
                  <a:pt x="391784" y="72781"/>
                  <a:pt x="414602" y="79712"/>
                  <a:pt x="432857" y="93575"/>
                </a:cubicBezTo>
                <a:cubicBezTo>
                  <a:pt x="432857" y="93575"/>
                  <a:pt x="432857" y="93575"/>
                  <a:pt x="432857" y="0"/>
                </a:cubicBezTo>
                <a:close/>
              </a:path>
            </a:pathLst>
          </a:custGeom>
          <a:solidFill>
            <a:schemeClr val="tx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Tree>
    <p:extLst>
      <p:ext uri="{BB962C8B-B14F-4D97-AF65-F5344CB8AC3E}">
        <p14:creationId xmlns:p14="http://schemas.microsoft.com/office/powerpoint/2010/main" val="2476668046"/>
      </p:ext>
    </p:extLst>
  </p:cSld>
  <p:clrMapOvr>
    <a:masterClrMapping/>
  </p:clrMapOvr>
  <p:transition>
    <p:fade/>
  </p:transition>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Badge of Sport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0" anchor="ctr" anchorCtr="0"/>
          <a:lstStyle>
            <a:lvl1pPr algn="ctr">
              <a:lnSpc>
                <a:spcPct val="100000"/>
              </a:lnSpc>
              <a:spcAft>
                <a:spcPts val="0"/>
              </a:spcAft>
              <a:defRPr sz="1058">
                <a:solidFill>
                  <a:schemeClr val="bg1"/>
                </a:solidFill>
              </a:defRPr>
            </a:lvl1pPr>
          </a:lstStyle>
          <a:p>
            <a:pPr lvl="0"/>
            <a:r>
              <a:rPr lang="en-US" noProof="0"/>
              <a:t>Click icon to add picture</a:t>
            </a:r>
          </a:p>
        </p:txBody>
      </p:sp>
      <p:sp>
        <p:nvSpPr>
          <p:cNvPr id="11" name="Title 1">
            <a:extLst>
              <a:ext uri="{FF2B5EF4-FFF2-40B4-BE49-F238E27FC236}">
                <a16:creationId xmlns:a16="http://schemas.microsoft.com/office/drawing/2014/main" id="{BC5232D5-2341-4EA3-9A49-EFA4B2DA6426}"/>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latin typeface="+mj-lt"/>
              </a:defRPr>
            </a:lvl7pPr>
            <a:lvl8pPr>
              <a:lnSpc>
                <a:spcPct val="75000"/>
              </a:lnSpc>
              <a:defRPr sz="6349" b="1" spc="26" baseline="0">
                <a:solidFill>
                  <a:schemeClr val="bg1"/>
                </a:solidFill>
                <a:latin typeface="+mj-lt"/>
              </a:defRPr>
            </a:lvl8pPr>
            <a:lvl9pPr algn="l">
              <a:lnSpc>
                <a:spcPct val="75000"/>
              </a:lnSpc>
              <a:defRPr sz="6349" b="1" spc="26" baseline="0">
                <a:solidFill>
                  <a:schemeClr val="bg1"/>
                </a:solidFill>
                <a:latin typeface="+mj-lt"/>
              </a:defRPr>
            </a:lvl9pPr>
          </a:lstStyle>
          <a:p>
            <a:pPr lvl="0"/>
            <a:r>
              <a:rPr lang="en-US" noProof="0"/>
              <a:t>Title of your presentation</a:t>
            </a:r>
            <a:endParaRPr lang="en-US"/>
          </a:p>
        </p:txBody>
      </p:sp>
      <p:sp>
        <p:nvSpPr>
          <p:cNvPr id="12" name="Subtitle 2">
            <a:extLst>
              <a:ext uri="{FF2B5EF4-FFF2-40B4-BE49-F238E27FC236}">
                <a16:creationId xmlns:a16="http://schemas.microsoft.com/office/drawing/2014/main" id="{C1E0360F-7E9C-4772-A307-A0B67E3B4437}"/>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bg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6pPr>
            <a:lvl7pPr marL="0" indent="0" algn="l">
              <a:lnSpc>
                <a:spcPct val="75000"/>
              </a:lnSpc>
              <a:spcBef>
                <a:spcPts val="0"/>
              </a:spcBef>
              <a:spcAft>
                <a:spcPts val="0"/>
              </a:spcAft>
              <a:buNone/>
              <a:defRPr sz="1852" b="0" cap="all" spc="26" baseline="0">
                <a:solidFill>
                  <a:schemeClr val="bg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8pPr>
            <a:lvl9pPr marL="0" indent="0" algn="l">
              <a:lnSpc>
                <a:spcPct val="75000"/>
              </a:lnSpc>
              <a:spcBef>
                <a:spcPts val="0"/>
              </a:spcBef>
              <a:spcAft>
                <a:spcPts val="0"/>
              </a:spcAft>
              <a:buNone/>
              <a:defRPr sz="1852" b="0" cap="all" spc="26" baseline="0">
                <a:solidFill>
                  <a:schemeClr val="bg1"/>
                </a:solidFill>
                <a:latin typeface="+mj-lt"/>
              </a:defRPr>
            </a:lvl9pPr>
          </a:lstStyle>
          <a:p>
            <a:pPr lvl="0"/>
            <a:r>
              <a:rPr lang="en-US" noProof="0"/>
              <a:t>Click to edit Master subtitle style</a:t>
            </a:r>
          </a:p>
        </p:txBody>
      </p:sp>
      <p:sp>
        <p:nvSpPr>
          <p:cNvPr id="28" name="Text Placeholder 27">
            <a:extLst>
              <a:ext uri="{FF2B5EF4-FFF2-40B4-BE49-F238E27FC236}">
                <a16:creationId xmlns:a16="http://schemas.microsoft.com/office/drawing/2014/main" id="{3263AB9C-3C65-442C-B186-7803FA958432}"/>
              </a:ext>
            </a:extLst>
          </p:cNvPr>
          <p:cNvSpPr>
            <a:spLocks noGrp="1" noChangeAspect="1"/>
          </p:cNvSpPr>
          <p:nvPr>
            <p:ph type="body" sz="quarter" idx="16" hasCustomPrompt="1"/>
          </p:nvPr>
        </p:nvSpPr>
        <p:spPr bwMode="gray">
          <a:xfrm>
            <a:off x="8954110" y="4181727"/>
            <a:ext cx="1714677" cy="1152199"/>
          </a:xfrm>
          <a:custGeom>
            <a:avLst/>
            <a:gdLst>
              <a:gd name="connsiteX0" fmla="*/ 962421 w 1296055"/>
              <a:gd name="connsiteY0" fmla="*/ 695176 h 871084"/>
              <a:gd name="connsiteX1" fmla="*/ 900261 w 1296055"/>
              <a:gd name="connsiteY1" fmla="*/ 757970 h 871084"/>
              <a:gd name="connsiteX2" fmla="*/ 962421 w 1296055"/>
              <a:gd name="connsiteY2" fmla="*/ 820764 h 871084"/>
              <a:gd name="connsiteX3" fmla="*/ 1024581 w 1296055"/>
              <a:gd name="connsiteY3" fmla="*/ 757970 h 871084"/>
              <a:gd name="connsiteX4" fmla="*/ 962421 w 1296055"/>
              <a:gd name="connsiteY4" fmla="*/ 695176 h 871084"/>
              <a:gd name="connsiteX5" fmla="*/ 707228 w 1296055"/>
              <a:gd name="connsiteY5" fmla="*/ 695176 h 871084"/>
              <a:gd name="connsiteX6" fmla="*/ 644856 w 1296055"/>
              <a:gd name="connsiteY6" fmla="*/ 757970 h 871084"/>
              <a:gd name="connsiteX7" fmla="*/ 707228 w 1296055"/>
              <a:gd name="connsiteY7" fmla="*/ 820764 h 871084"/>
              <a:gd name="connsiteX8" fmla="*/ 769600 w 1296055"/>
              <a:gd name="connsiteY8" fmla="*/ 757970 h 871084"/>
              <a:gd name="connsiteX9" fmla="*/ 707228 w 1296055"/>
              <a:gd name="connsiteY9" fmla="*/ 695176 h 871084"/>
              <a:gd name="connsiteX10" fmla="*/ 371056 w 1296055"/>
              <a:gd name="connsiteY10" fmla="*/ 695176 h 871084"/>
              <a:gd name="connsiteX11" fmla="*/ 308262 w 1296055"/>
              <a:gd name="connsiteY11" fmla="*/ 757970 h 871084"/>
              <a:gd name="connsiteX12" fmla="*/ 371056 w 1296055"/>
              <a:gd name="connsiteY12" fmla="*/ 820764 h 871084"/>
              <a:gd name="connsiteX13" fmla="*/ 433850 w 1296055"/>
              <a:gd name="connsiteY13" fmla="*/ 757970 h 871084"/>
              <a:gd name="connsiteX14" fmla="*/ 371056 w 1296055"/>
              <a:gd name="connsiteY14" fmla="*/ 695176 h 871084"/>
              <a:gd name="connsiteX15" fmla="*/ 116074 w 1296055"/>
              <a:gd name="connsiteY15" fmla="*/ 695176 h 871084"/>
              <a:gd name="connsiteX16" fmla="*/ 53280 w 1296055"/>
              <a:gd name="connsiteY16" fmla="*/ 757970 h 871084"/>
              <a:gd name="connsiteX17" fmla="*/ 116074 w 1296055"/>
              <a:gd name="connsiteY17" fmla="*/ 820764 h 871084"/>
              <a:gd name="connsiteX18" fmla="*/ 178868 w 1296055"/>
              <a:gd name="connsiteY18" fmla="*/ 757970 h 871084"/>
              <a:gd name="connsiteX19" fmla="*/ 116074 w 1296055"/>
              <a:gd name="connsiteY19" fmla="*/ 695176 h 871084"/>
              <a:gd name="connsiteX20" fmla="*/ 514616 w 1296055"/>
              <a:gd name="connsiteY20" fmla="*/ 646970 h 871084"/>
              <a:gd name="connsiteX21" fmla="*/ 568742 w 1296055"/>
              <a:gd name="connsiteY21" fmla="*/ 646970 h 871084"/>
              <a:gd name="connsiteX22" fmla="*/ 568742 w 1296055"/>
              <a:gd name="connsiteY22" fmla="*/ 867278 h 871084"/>
              <a:gd name="connsiteX23" fmla="*/ 514616 w 1296055"/>
              <a:gd name="connsiteY23" fmla="*/ 867278 h 871084"/>
              <a:gd name="connsiteX24" fmla="*/ 1195519 w 1296055"/>
              <a:gd name="connsiteY24" fmla="*/ 644856 h 871084"/>
              <a:gd name="connsiteX25" fmla="*/ 1288012 w 1296055"/>
              <a:gd name="connsiteY25" fmla="*/ 716244 h 871084"/>
              <a:gd name="connsiteX26" fmla="*/ 1232717 w 1296055"/>
              <a:gd name="connsiteY26" fmla="*/ 716244 h 871084"/>
              <a:gd name="connsiteX27" fmla="*/ 1193508 w 1296055"/>
              <a:gd name="connsiteY27" fmla="*/ 686080 h 871084"/>
              <a:gd name="connsiteX28" fmla="*/ 1159326 w 1296055"/>
              <a:gd name="connsiteY28" fmla="*/ 707195 h 871084"/>
              <a:gd name="connsiteX29" fmla="*/ 1197530 w 1296055"/>
              <a:gd name="connsiteY29" fmla="*/ 729315 h 871084"/>
              <a:gd name="connsiteX30" fmla="*/ 1232717 w 1296055"/>
              <a:gd name="connsiteY30" fmla="*/ 736353 h 871084"/>
              <a:gd name="connsiteX31" fmla="*/ 1296055 w 1296055"/>
              <a:gd name="connsiteY31" fmla="*/ 798691 h 871084"/>
              <a:gd name="connsiteX32" fmla="*/ 1202557 w 1296055"/>
              <a:gd name="connsiteY32" fmla="*/ 871084 h 871084"/>
              <a:gd name="connsiteX33" fmla="*/ 1099004 w 1296055"/>
              <a:gd name="connsiteY33" fmla="*/ 795675 h 871084"/>
              <a:gd name="connsiteX34" fmla="*/ 1155305 w 1296055"/>
              <a:gd name="connsiteY34" fmla="*/ 795675 h 871084"/>
              <a:gd name="connsiteX35" fmla="*/ 1203562 w 1296055"/>
              <a:gd name="connsiteY35" fmla="*/ 829860 h 871084"/>
              <a:gd name="connsiteX36" fmla="*/ 1237744 w 1296055"/>
              <a:gd name="connsiteY36" fmla="*/ 807740 h 871084"/>
              <a:gd name="connsiteX37" fmla="*/ 1208589 w 1296055"/>
              <a:gd name="connsiteY37" fmla="*/ 786626 h 871084"/>
              <a:gd name="connsiteX38" fmla="*/ 1179433 w 1296055"/>
              <a:gd name="connsiteY38" fmla="*/ 781598 h 871084"/>
              <a:gd name="connsiteX39" fmla="*/ 1104031 w 1296055"/>
              <a:gd name="connsiteY39" fmla="*/ 716244 h 871084"/>
              <a:gd name="connsiteX40" fmla="*/ 1195519 w 1296055"/>
              <a:gd name="connsiteY40" fmla="*/ 644856 h 871084"/>
              <a:gd name="connsiteX41" fmla="*/ 959538 w 1296055"/>
              <a:gd name="connsiteY41" fmla="*/ 644856 h 871084"/>
              <a:gd name="connsiteX42" fmla="*/ 1024861 w 1296055"/>
              <a:gd name="connsiteY42" fmla="*/ 664965 h 871084"/>
              <a:gd name="connsiteX43" fmla="*/ 1024861 w 1296055"/>
              <a:gd name="connsiteY43" fmla="*/ 646867 h 871084"/>
              <a:gd name="connsiteX44" fmla="*/ 1079129 w 1296055"/>
              <a:gd name="connsiteY44" fmla="*/ 646867 h 871084"/>
              <a:gd name="connsiteX45" fmla="*/ 1079129 w 1296055"/>
              <a:gd name="connsiteY45" fmla="*/ 867062 h 871084"/>
              <a:gd name="connsiteX46" fmla="*/ 1024861 w 1296055"/>
              <a:gd name="connsiteY46" fmla="*/ 867062 h 871084"/>
              <a:gd name="connsiteX47" fmla="*/ 1024861 w 1296055"/>
              <a:gd name="connsiteY47" fmla="*/ 850975 h 871084"/>
              <a:gd name="connsiteX48" fmla="*/ 959538 w 1296055"/>
              <a:gd name="connsiteY48" fmla="*/ 871084 h 871084"/>
              <a:gd name="connsiteX49" fmla="*/ 846981 w 1296055"/>
              <a:gd name="connsiteY49" fmla="*/ 757467 h 871084"/>
              <a:gd name="connsiteX50" fmla="*/ 959538 w 1296055"/>
              <a:gd name="connsiteY50" fmla="*/ 644856 h 871084"/>
              <a:gd name="connsiteX51" fmla="*/ 113561 w 1296055"/>
              <a:gd name="connsiteY51" fmla="*/ 644856 h 871084"/>
              <a:gd name="connsiteX52" fmla="*/ 177880 w 1296055"/>
              <a:gd name="connsiteY52" fmla="*/ 664965 h 871084"/>
              <a:gd name="connsiteX53" fmla="*/ 177880 w 1296055"/>
              <a:gd name="connsiteY53" fmla="*/ 646867 h 871084"/>
              <a:gd name="connsiteX54" fmla="*/ 232148 w 1296055"/>
              <a:gd name="connsiteY54" fmla="*/ 646867 h 871084"/>
              <a:gd name="connsiteX55" fmla="*/ 232148 w 1296055"/>
              <a:gd name="connsiteY55" fmla="*/ 867062 h 871084"/>
              <a:gd name="connsiteX56" fmla="*/ 177880 w 1296055"/>
              <a:gd name="connsiteY56" fmla="*/ 867062 h 871084"/>
              <a:gd name="connsiteX57" fmla="*/ 177880 w 1296055"/>
              <a:gd name="connsiteY57" fmla="*/ 850975 h 871084"/>
              <a:gd name="connsiteX58" fmla="*/ 113561 w 1296055"/>
              <a:gd name="connsiteY58" fmla="*/ 871084 h 871084"/>
              <a:gd name="connsiteX59" fmla="*/ 0 w 1296055"/>
              <a:gd name="connsiteY59" fmla="*/ 757467 h 871084"/>
              <a:gd name="connsiteX60" fmla="*/ 113561 w 1296055"/>
              <a:gd name="connsiteY60" fmla="*/ 644856 h 871084"/>
              <a:gd name="connsiteX61" fmla="*/ 332788 w 1296055"/>
              <a:gd name="connsiteY61" fmla="*/ 397484 h 871084"/>
              <a:gd name="connsiteX62" fmla="*/ 433005 w 1296055"/>
              <a:gd name="connsiteY62" fmla="*/ 572547 h 871084"/>
              <a:gd name="connsiteX63" fmla="*/ 433807 w 1296055"/>
              <a:gd name="connsiteY63" fmla="*/ 572547 h 871084"/>
              <a:gd name="connsiteX64" fmla="*/ 487130 w 1296055"/>
              <a:gd name="connsiteY64" fmla="*/ 572547 h 871084"/>
              <a:gd name="connsiteX65" fmla="*/ 487130 w 1296055"/>
              <a:gd name="connsiteY65" fmla="*/ 867063 h 871084"/>
              <a:gd name="connsiteX66" fmla="*/ 432961 w 1296055"/>
              <a:gd name="connsiteY66" fmla="*/ 867063 h 871084"/>
              <a:gd name="connsiteX67" fmla="*/ 432961 w 1296055"/>
              <a:gd name="connsiteY67" fmla="*/ 850981 h 871084"/>
              <a:gd name="connsiteX68" fmla="*/ 368760 w 1296055"/>
              <a:gd name="connsiteY68" fmla="*/ 871084 h 871084"/>
              <a:gd name="connsiteX69" fmla="*/ 255405 w 1296055"/>
              <a:gd name="connsiteY69" fmla="*/ 757499 h 871084"/>
              <a:gd name="connsiteX70" fmla="*/ 368760 w 1296055"/>
              <a:gd name="connsiteY70" fmla="*/ 644920 h 871084"/>
              <a:gd name="connsiteX71" fmla="*/ 432961 w 1296055"/>
              <a:gd name="connsiteY71" fmla="*/ 665023 h 871084"/>
              <a:gd name="connsiteX72" fmla="*/ 432961 w 1296055"/>
              <a:gd name="connsiteY72" fmla="*/ 572547 h 871084"/>
              <a:gd name="connsiteX73" fmla="*/ 178868 w 1296055"/>
              <a:gd name="connsiteY73" fmla="*/ 572547 h 871084"/>
              <a:gd name="connsiteX74" fmla="*/ 141657 w 1296055"/>
              <a:gd name="connsiteY74" fmla="*/ 507004 h 871084"/>
              <a:gd name="connsiteX75" fmla="*/ 555633 w 1296055"/>
              <a:gd name="connsiteY75" fmla="*/ 200856 h 871084"/>
              <a:gd name="connsiteX76" fmla="*/ 769599 w 1296055"/>
              <a:gd name="connsiteY76" fmla="*/ 572547 h 871084"/>
              <a:gd name="connsiteX77" fmla="*/ 770304 w 1296055"/>
              <a:gd name="connsiteY77" fmla="*/ 572547 h 871084"/>
              <a:gd name="connsiteX78" fmla="*/ 823724 w 1296055"/>
              <a:gd name="connsiteY78" fmla="*/ 572547 h 871084"/>
              <a:gd name="connsiteX79" fmla="*/ 823724 w 1296055"/>
              <a:gd name="connsiteY79" fmla="*/ 867063 h 871084"/>
              <a:gd name="connsiteX80" fmla="*/ 769456 w 1296055"/>
              <a:gd name="connsiteY80" fmla="*/ 867063 h 871084"/>
              <a:gd name="connsiteX81" fmla="*/ 769456 w 1296055"/>
              <a:gd name="connsiteY81" fmla="*/ 850981 h 871084"/>
              <a:gd name="connsiteX82" fmla="*/ 704133 w 1296055"/>
              <a:gd name="connsiteY82" fmla="*/ 871084 h 871084"/>
              <a:gd name="connsiteX83" fmla="*/ 591576 w 1296055"/>
              <a:gd name="connsiteY83" fmla="*/ 757499 h 871084"/>
              <a:gd name="connsiteX84" fmla="*/ 704133 w 1296055"/>
              <a:gd name="connsiteY84" fmla="*/ 644920 h 871084"/>
              <a:gd name="connsiteX85" fmla="*/ 769456 w 1296055"/>
              <a:gd name="connsiteY85" fmla="*/ 665023 h 871084"/>
              <a:gd name="connsiteX86" fmla="*/ 769456 w 1296055"/>
              <a:gd name="connsiteY86" fmla="*/ 572547 h 871084"/>
              <a:gd name="connsiteX87" fmla="*/ 568742 w 1296055"/>
              <a:gd name="connsiteY87" fmla="*/ 572547 h 871084"/>
              <a:gd name="connsiteX88" fmla="*/ 568742 w 1296055"/>
              <a:gd name="connsiteY88" fmla="*/ 626672 h 871084"/>
              <a:gd name="connsiteX89" fmla="*/ 514616 w 1296055"/>
              <a:gd name="connsiteY89" fmla="*/ 626672 h 871084"/>
              <a:gd name="connsiteX90" fmla="*/ 514616 w 1296055"/>
              <a:gd name="connsiteY90" fmla="*/ 572547 h 871084"/>
              <a:gd name="connsiteX91" fmla="*/ 364925 w 1296055"/>
              <a:gd name="connsiteY91" fmla="*/ 310799 h 871084"/>
              <a:gd name="connsiteX92" fmla="*/ 775519 w 1296055"/>
              <a:gd name="connsiteY92" fmla="*/ 0 h 871084"/>
              <a:gd name="connsiteX93" fmla="*/ 1106192 w 1296055"/>
              <a:gd name="connsiteY93" fmla="*/ 572547 h 871084"/>
              <a:gd name="connsiteX94" fmla="*/ 850787 w 1296055"/>
              <a:gd name="connsiteY94" fmla="*/ 572547 h 871084"/>
              <a:gd name="connsiteX95" fmla="*/ 585656 w 1296055"/>
              <a:gd name="connsiteY95" fmla="*/ 110366 h 87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296055" h="871084">
                <a:moveTo>
                  <a:pt x="962421" y="695176"/>
                </a:moveTo>
                <a:cubicBezTo>
                  <a:pt x="928091" y="695176"/>
                  <a:pt x="900261" y="723290"/>
                  <a:pt x="900261" y="757970"/>
                </a:cubicBezTo>
                <a:cubicBezTo>
                  <a:pt x="900261" y="792650"/>
                  <a:pt x="928091" y="820764"/>
                  <a:pt x="962421" y="820764"/>
                </a:cubicBezTo>
                <a:cubicBezTo>
                  <a:pt x="996751" y="820764"/>
                  <a:pt x="1024581" y="792650"/>
                  <a:pt x="1024581" y="757970"/>
                </a:cubicBezTo>
                <a:cubicBezTo>
                  <a:pt x="1024581" y="723290"/>
                  <a:pt x="996751" y="695176"/>
                  <a:pt x="962421" y="695176"/>
                </a:cubicBezTo>
                <a:close/>
                <a:moveTo>
                  <a:pt x="707228" y="695176"/>
                </a:moveTo>
                <a:cubicBezTo>
                  <a:pt x="672781" y="695176"/>
                  <a:pt x="644856" y="723290"/>
                  <a:pt x="644856" y="757970"/>
                </a:cubicBezTo>
                <a:cubicBezTo>
                  <a:pt x="644856" y="792650"/>
                  <a:pt x="672781" y="820764"/>
                  <a:pt x="707228" y="820764"/>
                </a:cubicBezTo>
                <a:cubicBezTo>
                  <a:pt x="741675" y="820764"/>
                  <a:pt x="769600" y="792650"/>
                  <a:pt x="769600" y="757970"/>
                </a:cubicBezTo>
                <a:cubicBezTo>
                  <a:pt x="769600" y="723290"/>
                  <a:pt x="741675" y="695176"/>
                  <a:pt x="707228" y="695176"/>
                </a:cubicBezTo>
                <a:close/>
                <a:moveTo>
                  <a:pt x="371056" y="695176"/>
                </a:moveTo>
                <a:cubicBezTo>
                  <a:pt x="336376" y="695176"/>
                  <a:pt x="308262" y="723290"/>
                  <a:pt x="308262" y="757970"/>
                </a:cubicBezTo>
                <a:cubicBezTo>
                  <a:pt x="308262" y="792650"/>
                  <a:pt x="336376" y="820764"/>
                  <a:pt x="371056" y="820764"/>
                </a:cubicBezTo>
                <a:cubicBezTo>
                  <a:pt x="405736" y="820764"/>
                  <a:pt x="433850" y="792650"/>
                  <a:pt x="433850" y="757970"/>
                </a:cubicBezTo>
                <a:cubicBezTo>
                  <a:pt x="433850" y="723290"/>
                  <a:pt x="405736" y="695176"/>
                  <a:pt x="371056" y="695176"/>
                </a:cubicBezTo>
                <a:close/>
                <a:moveTo>
                  <a:pt x="116074" y="695176"/>
                </a:moveTo>
                <a:cubicBezTo>
                  <a:pt x="81394" y="695176"/>
                  <a:pt x="53280" y="723290"/>
                  <a:pt x="53280" y="757970"/>
                </a:cubicBezTo>
                <a:cubicBezTo>
                  <a:pt x="53280" y="792650"/>
                  <a:pt x="81394" y="820764"/>
                  <a:pt x="116074" y="820764"/>
                </a:cubicBezTo>
                <a:cubicBezTo>
                  <a:pt x="150754" y="820764"/>
                  <a:pt x="178868" y="792650"/>
                  <a:pt x="178868" y="757970"/>
                </a:cubicBezTo>
                <a:cubicBezTo>
                  <a:pt x="178868" y="723290"/>
                  <a:pt x="150754" y="695176"/>
                  <a:pt x="116074" y="695176"/>
                </a:cubicBezTo>
                <a:close/>
                <a:moveTo>
                  <a:pt x="514616" y="646970"/>
                </a:moveTo>
                <a:lnTo>
                  <a:pt x="568742" y="646970"/>
                </a:lnTo>
                <a:lnTo>
                  <a:pt x="568742" y="867278"/>
                </a:lnTo>
                <a:lnTo>
                  <a:pt x="514616" y="867278"/>
                </a:lnTo>
                <a:close/>
                <a:moveTo>
                  <a:pt x="1195519" y="644856"/>
                </a:moveTo>
                <a:cubicBezTo>
                  <a:pt x="1250814" y="644856"/>
                  <a:pt x="1284996" y="673009"/>
                  <a:pt x="1288012" y="716244"/>
                </a:cubicBezTo>
                <a:cubicBezTo>
                  <a:pt x="1288012" y="716244"/>
                  <a:pt x="1288012" y="716244"/>
                  <a:pt x="1232717" y="716244"/>
                </a:cubicBezTo>
                <a:cubicBezTo>
                  <a:pt x="1232717" y="700156"/>
                  <a:pt x="1220653" y="686080"/>
                  <a:pt x="1193508" y="686080"/>
                </a:cubicBezTo>
                <a:cubicBezTo>
                  <a:pt x="1174406" y="686080"/>
                  <a:pt x="1159326" y="692113"/>
                  <a:pt x="1159326" y="707195"/>
                </a:cubicBezTo>
                <a:cubicBezTo>
                  <a:pt x="1159326" y="720265"/>
                  <a:pt x="1175412" y="725293"/>
                  <a:pt x="1197530" y="729315"/>
                </a:cubicBezTo>
                <a:cubicBezTo>
                  <a:pt x="1197530" y="729315"/>
                  <a:pt x="1197530" y="729315"/>
                  <a:pt x="1232717" y="736353"/>
                </a:cubicBezTo>
                <a:cubicBezTo>
                  <a:pt x="1276953" y="744396"/>
                  <a:pt x="1296055" y="764506"/>
                  <a:pt x="1296055" y="798691"/>
                </a:cubicBezTo>
                <a:cubicBezTo>
                  <a:pt x="1296055" y="848964"/>
                  <a:pt x="1253830" y="871084"/>
                  <a:pt x="1202557" y="871084"/>
                </a:cubicBezTo>
                <a:cubicBezTo>
                  <a:pt x="1139219" y="871084"/>
                  <a:pt x="1101015" y="839915"/>
                  <a:pt x="1099004" y="795675"/>
                </a:cubicBezTo>
                <a:cubicBezTo>
                  <a:pt x="1099004" y="795675"/>
                  <a:pt x="1099004" y="795675"/>
                  <a:pt x="1155305" y="795675"/>
                </a:cubicBezTo>
                <a:cubicBezTo>
                  <a:pt x="1155305" y="810757"/>
                  <a:pt x="1167369" y="829860"/>
                  <a:pt x="1203562" y="829860"/>
                </a:cubicBezTo>
                <a:cubicBezTo>
                  <a:pt x="1227691" y="829860"/>
                  <a:pt x="1237744" y="818800"/>
                  <a:pt x="1237744" y="807740"/>
                </a:cubicBezTo>
                <a:cubicBezTo>
                  <a:pt x="1237744" y="795675"/>
                  <a:pt x="1228696" y="790648"/>
                  <a:pt x="1208589" y="786626"/>
                </a:cubicBezTo>
                <a:cubicBezTo>
                  <a:pt x="1208589" y="786626"/>
                  <a:pt x="1208589" y="786626"/>
                  <a:pt x="1179433" y="781598"/>
                </a:cubicBezTo>
                <a:cubicBezTo>
                  <a:pt x="1144246" y="774560"/>
                  <a:pt x="1104031" y="766517"/>
                  <a:pt x="1104031" y="716244"/>
                </a:cubicBezTo>
                <a:cubicBezTo>
                  <a:pt x="1104031" y="676025"/>
                  <a:pt x="1138213" y="644856"/>
                  <a:pt x="1195519" y="644856"/>
                </a:cubicBezTo>
                <a:close/>
                <a:moveTo>
                  <a:pt x="959538" y="644856"/>
                </a:moveTo>
                <a:cubicBezTo>
                  <a:pt x="983657" y="644856"/>
                  <a:pt x="1006771" y="651894"/>
                  <a:pt x="1024861" y="664965"/>
                </a:cubicBezTo>
                <a:cubicBezTo>
                  <a:pt x="1024861" y="664965"/>
                  <a:pt x="1024861" y="664965"/>
                  <a:pt x="1024861" y="646867"/>
                </a:cubicBezTo>
                <a:cubicBezTo>
                  <a:pt x="1024861" y="646867"/>
                  <a:pt x="1024861" y="646867"/>
                  <a:pt x="1079129" y="646867"/>
                </a:cubicBezTo>
                <a:cubicBezTo>
                  <a:pt x="1079129" y="646867"/>
                  <a:pt x="1079129" y="646867"/>
                  <a:pt x="1079129" y="867062"/>
                </a:cubicBezTo>
                <a:cubicBezTo>
                  <a:pt x="1079129" y="867062"/>
                  <a:pt x="1079129" y="867062"/>
                  <a:pt x="1024861" y="867062"/>
                </a:cubicBezTo>
                <a:cubicBezTo>
                  <a:pt x="1024861" y="867062"/>
                  <a:pt x="1024861" y="867062"/>
                  <a:pt x="1024861" y="850975"/>
                </a:cubicBezTo>
                <a:cubicBezTo>
                  <a:pt x="1006771" y="864046"/>
                  <a:pt x="983657" y="871084"/>
                  <a:pt x="959538" y="871084"/>
                </a:cubicBezTo>
                <a:cubicBezTo>
                  <a:pt x="897230" y="871084"/>
                  <a:pt x="846981" y="820811"/>
                  <a:pt x="846981" y="757467"/>
                </a:cubicBezTo>
                <a:cubicBezTo>
                  <a:pt x="846981" y="695129"/>
                  <a:pt x="897230" y="644856"/>
                  <a:pt x="959538" y="644856"/>
                </a:cubicBezTo>
                <a:close/>
                <a:moveTo>
                  <a:pt x="113561" y="644856"/>
                </a:moveTo>
                <a:cubicBezTo>
                  <a:pt x="137681" y="644856"/>
                  <a:pt x="159790" y="651894"/>
                  <a:pt x="177880" y="664965"/>
                </a:cubicBezTo>
                <a:cubicBezTo>
                  <a:pt x="177880" y="664965"/>
                  <a:pt x="177880" y="664965"/>
                  <a:pt x="177880" y="646867"/>
                </a:cubicBezTo>
                <a:cubicBezTo>
                  <a:pt x="177880" y="646867"/>
                  <a:pt x="177880" y="646867"/>
                  <a:pt x="232148" y="646867"/>
                </a:cubicBezTo>
                <a:cubicBezTo>
                  <a:pt x="232148" y="646867"/>
                  <a:pt x="232148" y="646867"/>
                  <a:pt x="232148" y="867062"/>
                </a:cubicBezTo>
                <a:cubicBezTo>
                  <a:pt x="232148" y="867062"/>
                  <a:pt x="232148" y="867062"/>
                  <a:pt x="177880" y="867062"/>
                </a:cubicBezTo>
                <a:cubicBezTo>
                  <a:pt x="177880" y="867062"/>
                  <a:pt x="177880" y="867062"/>
                  <a:pt x="177880" y="850975"/>
                </a:cubicBezTo>
                <a:cubicBezTo>
                  <a:pt x="159790" y="864046"/>
                  <a:pt x="137681" y="871084"/>
                  <a:pt x="113561" y="871084"/>
                </a:cubicBezTo>
                <a:cubicBezTo>
                  <a:pt x="50248" y="871084"/>
                  <a:pt x="0" y="820811"/>
                  <a:pt x="0" y="757467"/>
                </a:cubicBezTo>
                <a:cubicBezTo>
                  <a:pt x="0" y="695129"/>
                  <a:pt x="50248" y="644856"/>
                  <a:pt x="113561" y="644856"/>
                </a:cubicBezTo>
                <a:close/>
                <a:moveTo>
                  <a:pt x="332788" y="397484"/>
                </a:moveTo>
                <a:lnTo>
                  <a:pt x="433005" y="572547"/>
                </a:lnTo>
                <a:lnTo>
                  <a:pt x="433807" y="572547"/>
                </a:lnTo>
                <a:cubicBezTo>
                  <a:pt x="436346" y="572547"/>
                  <a:pt x="446503" y="572547"/>
                  <a:pt x="487130" y="572547"/>
                </a:cubicBezTo>
                <a:cubicBezTo>
                  <a:pt x="487130" y="572547"/>
                  <a:pt x="487130" y="572547"/>
                  <a:pt x="487130" y="867063"/>
                </a:cubicBezTo>
                <a:cubicBezTo>
                  <a:pt x="487130" y="867063"/>
                  <a:pt x="487130" y="867063"/>
                  <a:pt x="432961" y="867063"/>
                </a:cubicBezTo>
                <a:cubicBezTo>
                  <a:pt x="432961" y="867063"/>
                  <a:pt x="432961" y="867063"/>
                  <a:pt x="432961" y="850981"/>
                </a:cubicBezTo>
                <a:cubicBezTo>
                  <a:pt x="414904" y="864048"/>
                  <a:pt x="392835" y="871084"/>
                  <a:pt x="368760" y="871084"/>
                </a:cubicBezTo>
                <a:cubicBezTo>
                  <a:pt x="305562" y="871084"/>
                  <a:pt x="255405" y="820825"/>
                  <a:pt x="255405" y="757499"/>
                </a:cubicBezTo>
                <a:cubicBezTo>
                  <a:pt x="255405" y="695178"/>
                  <a:pt x="305562" y="644920"/>
                  <a:pt x="368760" y="644920"/>
                </a:cubicBezTo>
                <a:cubicBezTo>
                  <a:pt x="392835" y="644920"/>
                  <a:pt x="414904" y="651956"/>
                  <a:pt x="432961" y="665023"/>
                </a:cubicBezTo>
                <a:cubicBezTo>
                  <a:pt x="432961" y="665023"/>
                  <a:pt x="432961" y="665023"/>
                  <a:pt x="432961" y="572547"/>
                </a:cubicBezTo>
                <a:lnTo>
                  <a:pt x="178868" y="572547"/>
                </a:lnTo>
                <a:lnTo>
                  <a:pt x="141657" y="507004"/>
                </a:lnTo>
                <a:close/>
                <a:moveTo>
                  <a:pt x="555633" y="200856"/>
                </a:moveTo>
                <a:lnTo>
                  <a:pt x="769599" y="572547"/>
                </a:lnTo>
                <a:lnTo>
                  <a:pt x="770304" y="572547"/>
                </a:lnTo>
                <a:cubicBezTo>
                  <a:pt x="772848" y="572547"/>
                  <a:pt x="783023" y="572547"/>
                  <a:pt x="823724" y="572547"/>
                </a:cubicBezTo>
                <a:cubicBezTo>
                  <a:pt x="823724" y="572547"/>
                  <a:pt x="823724" y="572547"/>
                  <a:pt x="823724" y="867063"/>
                </a:cubicBezTo>
                <a:cubicBezTo>
                  <a:pt x="823724" y="867063"/>
                  <a:pt x="823724" y="867063"/>
                  <a:pt x="769456" y="867063"/>
                </a:cubicBezTo>
                <a:cubicBezTo>
                  <a:pt x="769456" y="867063"/>
                  <a:pt x="769456" y="867063"/>
                  <a:pt x="769456" y="850981"/>
                </a:cubicBezTo>
                <a:cubicBezTo>
                  <a:pt x="751366" y="864048"/>
                  <a:pt x="728252" y="871084"/>
                  <a:pt x="704133" y="871084"/>
                </a:cubicBezTo>
                <a:cubicBezTo>
                  <a:pt x="641825" y="871084"/>
                  <a:pt x="591576" y="820825"/>
                  <a:pt x="591576" y="757499"/>
                </a:cubicBezTo>
                <a:cubicBezTo>
                  <a:pt x="591576" y="695178"/>
                  <a:pt x="641825" y="644920"/>
                  <a:pt x="704133" y="644920"/>
                </a:cubicBezTo>
                <a:cubicBezTo>
                  <a:pt x="728252" y="644920"/>
                  <a:pt x="751366" y="651956"/>
                  <a:pt x="769456" y="665023"/>
                </a:cubicBezTo>
                <a:cubicBezTo>
                  <a:pt x="769456" y="665023"/>
                  <a:pt x="769456" y="665023"/>
                  <a:pt x="769456" y="572547"/>
                </a:cubicBezTo>
                <a:lnTo>
                  <a:pt x="568742" y="572547"/>
                </a:lnTo>
                <a:lnTo>
                  <a:pt x="568742" y="626672"/>
                </a:lnTo>
                <a:lnTo>
                  <a:pt x="514616" y="626672"/>
                </a:lnTo>
                <a:lnTo>
                  <a:pt x="514616" y="572547"/>
                </a:lnTo>
                <a:lnTo>
                  <a:pt x="364925" y="310799"/>
                </a:lnTo>
                <a:close/>
                <a:moveTo>
                  <a:pt x="775519" y="0"/>
                </a:moveTo>
                <a:lnTo>
                  <a:pt x="1106192" y="572547"/>
                </a:lnTo>
                <a:lnTo>
                  <a:pt x="850787" y="572547"/>
                </a:lnTo>
                <a:lnTo>
                  <a:pt x="585656" y="110366"/>
                </a:lnTo>
                <a:close/>
              </a:path>
            </a:pathLst>
          </a:custGeom>
          <a:solidFill>
            <a:schemeClr val="bg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Tree>
    <p:extLst>
      <p:ext uri="{BB962C8B-B14F-4D97-AF65-F5344CB8AC3E}">
        <p14:creationId xmlns:p14="http://schemas.microsoft.com/office/powerpoint/2010/main" val="3611026650"/>
      </p:ext>
    </p:extLst>
  </p:cSld>
  <p:clrMapOvr>
    <a:masterClrMapping/>
  </p:clrMapOvr>
  <p:transition>
    <p:fade/>
  </p:transition>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F50423A5-26E1-44EC-A20A-3492C942C7D4}"/>
              </a:ext>
            </a:extLst>
          </p:cNvPr>
          <p:cNvSpPr>
            <a:spLocks noGrp="1"/>
          </p:cNvSpPr>
          <p:nvPr>
            <p:ph type="pic" sz="quarter" idx="15"/>
          </p:nvPr>
        </p:nvSpPr>
        <p:spPr bwMode="gray">
          <a:xfrm>
            <a:off x="0"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007FC5"/>
          </a:solidFill>
          <a:ln>
            <a:noFill/>
          </a:ln>
        </p:spPr>
        <p:txBody>
          <a:bodyPr tIns="0" anchor="ctr" anchorCtr="0"/>
          <a:lstStyle>
            <a:lvl1pPr algn="ctr">
              <a:lnSpc>
                <a:spcPct val="100000"/>
              </a:lnSpc>
              <a:spcAft>
                <a:spcPts val="0"/>
              </a:spcAft>
              <a:defRPr sz="1058">
                <a:solidFill>
                  <a:schemeClr val="bg1"/>
                </a:solidFill>
              </a:defRPr>
            </a:lvl1pPr>
          </a:lstStyle>
          <a:p>
            <a:pPr lvl="0"/>
            <a:r>
              <a:rPr lang="en-US" noProof="0"/>
              <a:t>Click icon to add picture</a:t>
            </a:r>
          </a:p>
        </p:txBody>
      </p:sp>
      <p:sp>
        <p:nvSpPr>
          <p:cNvPr id="86" name="Text Placeholder 85">
            <a:extLst>
              <a:ext uri="{FF2B5EF4-FFF2-40B4-BE49-F238E27FC236}">
                <a16:creationId xmlns:a16="http://schemas.microsoft.com/office/drawing/2014/main" id="{66357334-A6F0-47AA-BEF2-8EAC464113D6}"/>
              </a:ext>
            </a:extLst>
          </p:cNvPr>
          <p:cNvSpPr>
            <a:spLocks noGrp="1" noChangeAspect="1"/>
          </p:cNvSpPr>
          <p:nvPr>
            <p:ph type="body" sz="quarter" idx="17" hasCustomPrompt="1"/>
          </p:nvPr>
        </p:nvSpPr>
        <p:spPr bwMode="gray">
          <a:xfrm>
            <a:off x="8953674" y="3667652"/>
            <a:ext cx="1714605" cy="1666062"/>
          </a:xfrm>
          <a:custGeom>
            <a:avLst/>
            <a:gdLst>
              <a:gd name="connsiteX0" fmla="*/ 955140 w 1289296"/>
              <a:gd name="connsiteY0" fmla="*/ 1076565 h 1253058"/>
              <a:gd name="connsiteX1" fmla="*/ 891054 w 1289296"/>
              <a:gd name="connsiteY1" fmla="*/ 1139771 h 1253058"/>
              <a:gd name="connsiteX2" fmla="*/ 955140 w 1289296"/>
              <a:gd name="connsiteY2" fmla="*/ 1201957 h 1253058"/>
              <a:gd name="connsiteX3" fmla="*/ 1015157 w 1289296"/>
              <a:gd name="connsiteY3" fmla="*/ 1139771 h 1253058"/>
              <a:gd name="connsiteX4" fmla="*/ 955140 w 1289296"/>
              <a:gd name="connsiteY4" fmla="*/ 1076565 h 1253058"/>
              <a:gd name="connsiteX5" fmla="*/ 703316 w 1289296"/>
              <a:gd name="connsiteY5" fmla="*/ 1076565 h 1253058"/>
              <a:gd name="connsiteX6" fmla="*/ 641129 w 1289296"/>
              <a:gd name="connsiteY6" fmla="*/ 1139771 h 1253058"/>
              <a:gd name="connsiteX7" fmla="*/ 703316 w 1289296"/>
              <a:gd name="connsiteY7" fmla="*/ 1201957 h 1253058"/>
              <a:gd name="connsiteX8" fmla="*/ 766521 w 1289296"/>
              <a:gd name="connsiteY8" fmla="*/ 1139771 h 1253058"/>
              <a:gd name="connsiteX9" fmla="*/ 703316 w 1289296"/>
              <a:gd name="connsiteY9" fmla="*/ 1076565 h 1253058"/>
              <a:gd name="connsiteX10" fmla="*/ 368473 w 1289296"/>
              <a:gd name="connsiteY10" fmla="*/ 1076565 h 1253058"/>
              <a:gd name="connsiteX11" fmla="*/ 303173 w 1289296"/>
              <a:gd name="connsiteY11" fmla="*/ 1139771 h 1253058"/>
              <a:gd name="connsiteX12" fmla="*/ 368473 w 1289296"/>
              <a:gd name="connsiteY12" fmla="*/ 1201957 h 1253058"/>
              <a:gd name="connsiteX13" fmla="*/ 430712 w 1289296"/>
              <a:gd name="connsiteY13" fmla="*/ 1139771 h 1253058"/>
              <a:gd name="connsiteX14" fmla="*/ 368473 w 1289296"/>
              <a:gd name="connsiteY14" fmla="*/ 1076565 h 1253058"/>
              <a:gd name="connsiteX15" fmla="*/ 115568 w 1289296"/>
              <a:gd name="connsiteY15" fmla="*/ 1076565 h 1253058"/>
              <a:gd name="connsiteX16" fmla="*/ 53249 w 1289296"/>
              <a:gd name="connsiteY16" fmla="*/ 1139771 h 1253058"/>
              <a:gd name="connsiteX17" fmla="*/ 115568 w 1289296"/>
              <a:gd name="connsiteY17" fmla="*/ 1201957 h 1253058"/>
              <a:gd name="connsiteX18" fmla="*/ 179929 w 1289296"/>
              <a:gd name="connsiteY18" fmla="*/ 1139771 h 1253058"/>
              <a:gd name="connsiteX19" fmla="*/ 115568 w 1289296"/>
              <a:gd name="connsiteY19" fmla="*/ 1076565 h 1253058"/>
              <a:gd name="connsiteX20" fmla="*/ 512302 w 1289296"/>
              <a:gd name="connsiteY20" fmla="*/ 1029328 h 1253058"/>
              <a:gd name="connsiteX21" fmla="*/ 565551 w 1289296"/>
              <a:gd name="connsiteY21" fmla="*/ 1029328 h 1253058"/>
              <a:gd name="connsiteX22" fmla="*/ 565551 w 1289296"/>
              <a:gd name="connsiteY22" fmla="*/ 1247905 h 1253058"/>
              <a:gd name="connsiteX23" fmla="*/ 512302 w 1289296"/>
              <a:gd name="connsiteY23" fmla="*/ 1247905 h 1253058"/>
              <a:gd name="connsiteX24" fmla="*/ 1186657 w 1289296"/>
              <a:gd name="connsiteY24" fmla="*/ 1026322 h 1253058"/>
              <a:gd name="connsiteX25" fmla="*/ 1279516 w 1289296"/>
              <a:gd name="connsiteY25" fmla="*/ 1097815 h 1253058"/>
              <a:gd name="connsiteX26" fmla="*/ 1224413 w 1289296"/>
              <a:gd name="connsiteY26" fmla="*/ 1097815 h 1253058"/>
              <a:gd name="connsiteX27" fmla="*/ 1188698 w 1289296"/>
              <a:gd name="connsiteY27" fmla="*/ 1068197 h 1253058"/>
              <a:gd name="connsiteX28" fmla="*/ 1150942 w 1289296"/>
              <a:gd name="connsiteY28" fmla="*/ 1087602 h 1253058"/>
              <a:gd name="connsiteX29" fmla="*/ 1232576 w 1289296"/>
              <a:gd name="connsiteY29" fmla="*/ 1118242 h 1253058"/>
              <a:gd name="connsiteX30" fmla="*/ 1288700 w 1289296"/>
              <a:gd name="connsiteY30" fmla="*/ 1177479 h 1253058"/>
              <a:gd name="connsiteX31" fmla="*/ 1189718 w 1289296"/>
              <a:gd name="connsiteY31" fmla="*/ 1253058 h 1253058"/>
              <a:gd name="connsiteX32" fmla="*/ 1090736 w 1289296"/>
              <a:gd name="connsiteY32" fmla="*/ 1177479 h 1253058"/>
              <a:gd name="connsiteX33" fmla="*/ 1147880 w 1289296"/>
              <a:gd name="connsiteY33" fmla="*/ 1177479 h 1253058"/>
              <a:gd name="connsiteX34" fmla="*/ 1192780 w 1289296"/>
              <a:gd name="connsiteY34" fmla="*/ 1212205 h 1253058"/>
              <a:gd name="connsiteX35" fmla="*/ 1229515 w 1289296"/>
              <a:gd name="connsiteY35" fmla="*/ 1186671 h 1253058"/>
              <a:gd name="connsiteX36" fmla="*/ 1182575 w 1289296"/>
              <a:gd name="connsiteY36" fmla="*/ 1165223 h 1253058"/>
              <a:gd name="connsiteX37" fmla="*/ 1126451 w 1289296"/>
              <a:gd name="connsiteY37" fmla="*/ 1149903 h 1253058"/>
              <a:gd name="connsiteX38" fmla="*/ 1095838 w 1289296"/>
              <a:gd name="connsiteY38" fmla="*/ 1096794 h 1253058"/>
              <a:gd name="connsiteX39" fmla="*/ 1186657 w 1289296"/>
              <a:gd name="connsiteY39" fmla="*/ 1026322 h 1253058"/>
              <a:gd name="connsiteX40" fmla="*/ 952138 w 1289296"/>
              <a:gd name="connsiteY40" fmla="*/ 1026322 h 1253058"/>
              <a:gd name="connsiteX41" fmla="*/ 1015429 w 1289296"/>
              <a:gd name="connsiteY41" fmla="*/ 1045727 h 1253058"/>
              <a:gd name="connsiteX42" fmla="*/ 1015429 w 1289296"/>
              <a:gd name="connsiteY42" fmla="*/ 1029386 h 1253058"/>
              <a:gd name="connsiteX43" fmla="*/ 1070553 w 1289296"/>
              <a:gd name="connsiteY43" fmla="*/ 1029386 h 1253058"/>
              <a:gd name="connsiteX44" fmla="*/ 1070553 w 1289296"/>
              <a:gd name="connsiteY44" fmla="*/ 1247951 h 1253058"/>
              <a:gd name="connsiteX45" fmla="*/ 1015429 w 1289296"/>
              <a:gd name="connsiteY45" fmla="*/ 1247951 h 1253058"/>
              <a:gd name="connsiteX46" fmla="*/ 1015429 w 1289296"/>
              <a:gd name="connsiteY46" fmla="*/ 1233653 h 1253058"/>
              <a:gd name="connsiteX47" fmla="*/ 952138 w 1289296"/>
              <a:gd name="connsiteY47" fmla="*/ 1253058 h 1253058"/>
              <a:gd name="connsiteX48" fmla="*/ 837805 w 1289296"/>
              <a:gd name="connsiteY48" fmla="*/ 1139690 h 1253058"/>
              <a:gd name="connsiteX49" fmla="*/ 952138 w 1289296"/>
              <a:gd name="connsiteY49" fmla="*/ 1026322 h 1253058"/>
              <a:gd name="connsiteX50" fmla="*/ 113441 w 1289296"/>
              <a:gd name="connsiteY50" fmla="*/ 1026322 h 1253058"/>
              <a:gd name="connsiteX51" fmla="*/ 179871 w 1289296"/>
              <a:gd name="connsiteY51" fmla="*/ 1045727 h 1253058"/>
              <a:gd name="connsiteX52" fmla="*/ 179871 w 1289296"/>
              <a:gd name="connsiteY52" fmla="*/ 1029386 h 1253058"/>
              <a:gd name="connsiteX53" fmla="*/ 234036 w 1289296"/>
              <a:gd name="connsiteY53" fmla="*/ 1029386 h 1253058"/>
              <a:gd name="connsiteX54" fmla="*/ 234036 w 1289296"/>
              <a:gd name="connsiteY54" fmla="*/ 1247951 h 1253058"/>
              <a:gd name="connsiteX55" fmla="*/ 179871 w 1289296"/>
              <a:gd name="connsiteY55" fmla="*/ 1247951 h 1253058"/>
              <a:gd name="connsiteX56" fmla="*/ 179871 w 1289296"/>
              <a:gd name="connsiteY56" fmla="*/ 1233653 h 1253058"/>
              <a:gd name="connsiteX57" fmla="*/ 113441 w 1289296"/>
              <a:gd name="connsiteY57" fmla="*/ 1253058 h 1253058"/>
              <a:gd name="connsiteX58" fmla="*/ 0 w 1289296"/>
              <a:gd name="connsiteY58" fmla="*/ 1139690 h 1253058"/>
              <a:gd name="connsiteX59" fmla="*/ 113441 w 1289296"/>
              <a:gd name="connsiteY59" fmla="*/ 1026322 h 1253058"/>
              <a:gd name="connsiteX60" fmla="*/ 766282 w 1289296"/>
              <a:gd name="connsiteY60" fmla="*/ 954179 h 1253058"/>
              <a:gd name="connsiteX61" fmla="*/ 819340 w 1289296"/>
              <a:gd name="connsiteY61" fmla="*/ 954179 h 1253058"/>
              <a:gd name="connsiteX62" fmla="*/ 819340 w 1289296"/>
              <a:gd name="connsiteY62" fmla="*/ 1247958 h 1253058"/>
              <a:gd name="connsiteX63" fmla="*/ 766282 w 1289296"/>
              <a:gd name="connsiteY63" fmla="*/ 1247958 h 1253058"/>
              <a:gd name="connsiteX64" fmla="*/ 766282 w 1289296"/>
              <a:gd name="connsiteY64" fmla="*/ 1233677 h 1253058"/>
              <a:gd name="connsiteX65" fmla="*/ 702000 w 1289296"/>
              <a:gd name="connsiteY65" fmla="*/ 1253058 h 1253058"/>
              <a:gd name="connsiteX66" fmla="*/ 588740 w 1289296"/>
              <a:gd name="connsiteY66" fmla="*/ 1139831 h 1253058"/>
              <a:gd name="connsiteX67" fmla="*/ 702000 w 1289296"/>
              <a:gd name="connsiteY67" fmla="*/ 1026604 h 1253058"/>
              <a:gd name="connsiteX68" fmla="*/ 766282 w 1289296"/>
              <a:gd name="connsiteY68" fmla="*/ 1045985 h 1253058"/>
              <a:gd name="connsiteX69" fmla="*/ 766282 w 1289296"/>
              <a:gd name="connsiteY69" fmla="*/ 954179 h 1253058"/>
              <a:gd name="connsiteX70" fmla="*/ 512302 w 1289296"/>
              <a:gd name="connsiteY70" fmla="*/ 954179 h 1253058"/>
              <a:gd name="connsiteX71" fmla="*/ 565551 w 1289296"/>
              <a:gd name="connsiteY71" fmla="*/ 954179 h 1253058"/>
              <a:gd name="connsiteX72" fmla="*/ 565551 w 1289296"/>
              <a:gd name="connsiteY72" fmla="*/ 1009145 h 1253058"/>
              <a:gd name="connsiteX73" fmla="*/ 512302 w 1289296"/>
              <a:gd name="connsiteY73" fmla="*/ 1009145 h 1253058"/>
              <a:gd name="connsiteX74" fmla="*/ 430753 w 1289296"/>
              <a:gd name="connsiteY74" fmla="*/ 954179 h 1253058"/>
              <a:gd name="connsiteX75" fmla="*/ 484819 w 1289296"/>
              <a:gd name="connsiteY75" fmla="*/ 954179 h 1253058"/>
              <a:gd name="connsiteX76" fmla="*/ 484819 w 1289296"/>
              <a:gd name="connsiteY76" fmla="*/ 1247958 h 1253058"/>
              <a:gd name="connsiteX77" fmla="*/ 430753 w 1289296"/>
              <a:gd name="connsiteY77" fmla="*/ 1247958 h 1253058"/>
              <a:gd name="connsiteX78" fmla="*/ 430753 w 1289296"/>
              <a:gd name="connsiteY78" fmla="*/ 1233677 h 1253058"/>
              <a:gd name="connsiteX79" fmla="*/ 365466 w 1289296"/>
              <a:gd name="connsiteY79" fmla="*/ 1253058 h 1253058"/>
              <a:gd name="connsiteX80" fmla="*/ 251213 w 1289296"/>
              <a:gd name="connsiteY80" fmla="*/ 1139831 h 1253058"/>
              <a:gd name="connsiteX81" fmla="*/ 365466 w 1289296"/>
              <a:gd name="connsiteY81" fmla="*/ 1026604 h 1253058"/>
              <a:gd name="connsiteX82" fmla="*/ 430753 w 1289296"/>
              <a:gd name="connsiteY82" fmla="*/ 1045985 h 1253058"/>
              <a:gd name="connsiteX83" fmla="*/ 430753 w 1289296"/>
              <a:gd name="connsiteY83" fmla="*/ 954179 h 1253058"/>
              <a:gd name="connsiteX84" fmla="*/ 743767 w 1289296"/>
              <a:gd name="connsiteY84" fmla="*/ 779403 h 1253058"/>
              <a:gd name="connsiteX85" fmla="*/ 1000985 w 1289296"/>
              <a:gd name="connsiteY85" fmla="*/ 779403 h 1253058"/>
              <a:gd name="connsiteX86" fmla="*/ 735601 w 1289296"/>
              <a:gd name="connsiteY86" fmla="*/ 886759 h 1253058"/>
              <a:gd name="connsiteX87" fmla="*/ 743767 w 1289296"/>
              <a:gd name="connsiteY87" fmla="*/ 779403 h 1253058"/>
              <a:gd name="connsiteX88" fmla="*/ 566409 w 1289296"/>
              <a:gd name="connsiteY88" fmla="*/ 779403 h 1253058"/>
              <a:gd name="connsiteX89" fmla="*/ 728731 w 1289296"/>
              <a:gd name="connsiteY89" fmla="*/ 779403 h 1253058"/>
              <a:gd name="connsiteX90" fmla="*/ 648081 w 1289296"/>
              <a:gd name="connsiteY90" fmla="*/ 893630 h 1253058"/>
              <a:gd name="connsiteX91" fmla="*/ 566409 w 1289296"/>
              <a:gd name="connsiteY91" fmla="*/ 779403 h 1253058"/>
              <a:gd name="connsiteX92" fmla="*/ 294154 w 1289296"/>
              <a:gd name="connsiteY92" fmla="*/ 779403 h 1253058"/>
              <a:gd name="connsiteX93" fmla="*/ 554013 w 1289296"/>
              <a:gd name="connsiteY93" fmla="*/ 779403 h 1253058"/>
              <a:gd name="connsiteX94" fmla="*/ 558089 w 1289296"/>
              <a:gd name="connsiteY94" fmla="*/ 886759 h 1253058"/>
              <a:gd name="connsiteX95" fmla="*/ 294154 w 1289296"/>
              <a:gd name="connsiteY95" fmla="*/ 779403 h 1253058"/>
              <a:gd name="connsiteX96" fmla="*/ 178639 w 1289296"/>
              <a:gd name="connsiteY96" fmla="*/ 685788 h 1253058"/>
              <a:gd name="connsiteX97" fmla="*/ 1116500 w 1289296"/>
              <a:gd name="connsiteY97" fmla="*/ 685788 h 1253058"/>
              <a:gd name="connsiteX98" fmla="*/ 1064454 w 1289296"/>
              <a:gd name="connsiteY98" fmla="*/ 731736 h 1253058"/>
              <a:gd name="connsiteX99" fmla="*/ 226603 w 1289296"/>
              <a:gd name="connsiteY99" fmla="*/ 731736 h 1253058"/>
              <a:gd name="connsiteX100" fmla="*/ 178639 w 1289296"/>
              <a:gd name="connsiteY100" fmla="*/ 685788 h 1253058"/>
              <a:gd name="connsiteX101" fmla="*/ 103061 w 1289296"/>
              <a:gd name="connsiteY101" fmla="*/ 583586 h 1253058"/>
              <a:gd name="connsiteX102" fmla="*/ 1192938 w 1289296"/>
              <a:gd name="connsiteY102" fmla="*/ 583586 h 1253058"/>
              <a:gd name="connsiteX103" fmla="*/ 1158242 w 1289296"/>
              <a:gd name="connsiteY103" fmla="*/ 633829 h 1253058"/>
              <a:gd name="connsiteX104" fmla="*/ 136737 w 1289296"/>
              <a:gd name="connsiteY104" fmla="*/ 633829 h 1253058"/>
              <a:gd name="connsiteX105" fmla="*/ 103061 w 1289296"/>
              <a:gd name="connsiteY105" fmla="*/ 583586 h 1253058"/>
              <a:gd name="connsiteX106" fmla="*/ 1287839 w 1289296"/>
              <a:gd name="connsiteY106" fmla="*/ 249924 h 1253058"/>
              <a:gd name="connsiteX107" fmla="*/ 1218479 w 1289296"/>
              <a:gd name="connsiteY107" fmla="*/ 535920 h 1253058"/>
              <a:gd name="connsiteX108" fmla="*/ 842098 w 1289296"/>
              <a:gd name="connsiteY108" fmla="*/ 535920 h 1253058"/>
              <a:gd name="connsiteX109" fmla="*/ 894118 w 1289296"/>
              <a:gd name="connsiteY109" fmla="*/ 465443 h 1253058"/>
              <a:gd name="connsiteX110" fmla="*/ 1287839 w 1289296"/>
              <a:gd name="connsiteY110" fmla="*/ 249924 h 1253058"/>
              <a:gd name="connsiteX111" fmla="*/ 9286 w 1289296"/>
              <a:gd name="connsiteY111" fmla="*/ 249924 h 1253058"/>
              <a:gd name="connsiteX112" fmla="*/ 404027 w 1289296"/>
              <a:gd name="connsiteY112" fmla="*/ 465443 h 1253058"/>
              <a:gd name="connsiteX113" fmla="*/ 456047 w 1289296"/>
              <a:gd name="connsiteY113" fmla="*/ 535920 h 1253058"/>
              <a:gd name="connsiteX114" fmla="*/ 77626 w 1289296"/>
              <a:gd name="connsiteY114" fmla="*/ 535920 h 1253058"/>
              <a:gd name="connsiteX115" fmla="*/ 9286 w 1289296"/>
              <a:gd name="connsiteY115" fmla="*/ 249924 h 1253058"/>
              <a:gd name="connsiteX116" fmla="*/ 647919 w 1289296"/>
              <a:gd name="connsiteY116" fmla="*/ 0 h 1253058"/>
              <a:gd name="connsiteX117" fmla="*/ 816334 w 1289296"/>
              <a:gd name="connsiteY117" fmla="*/ 445070 h 1253058"/>
              <a:gd name="connsiteX118" fmla="*/ 811231 w 1289296"/>
              <a:gd name="connsiteY118" fmla="*/ 535921 h 1253058"/>
              <a:gd name="connsiteX119" fmla="*/ 484608 w 1289296"/>
              <a:gd name="connsiteY119" fmla="*/ 535921 h 1253058"/>
              <a:gd name="connsiteX120" fmla="*/ 480525 w 1289296"/>
              <a:gd name="connsiteY120" fmla="*/ 445070 h 1253058"/>
              <a:gd name="connsiteX121" fmla="*/ 647919 w 1289296"/>
              <a:gd name="connsiteY121" fmla="*/ 0 h 125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89296" h="1253058">
                <a:moveTo>
                  <a:pt x="955140" y="1076565"/>
                </a:moveTo>
                <a:cubicBezTo>
                  <a:pt x="920554" y="1076565"/>
                  <a:pt x="891054" y="1105110"/>
                  <a:pt x="891054" y="1139771"/>
                </a:cubicBezTo>
                <a:cubicBezTo>
                  <a:pt x="891054" y="1173413"/>
                  <a:pt x="920554" y="1201957"/>
                  <a:pt x="955140" y="1201957"/>
                </a:cubicBezTo>
                <a:cubicBezTo>
                  <a:pt x="987692" y="1201957"/>
                  <a:pt x="1015157" y="1173413"/>
                  <a:pt x="1015157" y="1139771"/>
                </a:cubicBezTo>
                <a:cubicBezTo>
                  <a:pt x="1015157" y="1105110"/>
                  <a:pt x="987692" y="1076565"/>
                  <a:pt x="955140" y="1076565"/>
                </a:cubicBezTo>
                <a:close/>
                <a:moveTo>
                  <a:pt x="703316" y="1076565"/>
                </a:moveTo>
                <a:cubicBezTo>
                  <a:pt x="669674" y="1076565"/>
                  <a:pt x="641129" y="1105110"/>
                  <a:pt x="641129" y="1139771"/>
                </a:cubicBezTo>
                <a:cubicBezTo>
                  <a:pt x="641129" y="1173413"/>
                  <a:pt x="669674" y="1201957"/>
                  <a:pt x="703316" y="1201957"/>
                </a:cubicBezTo>
                <a:cubicBezTo>
                  <a:pt x="736957" y="1201957"/>
                  <a:pt x="766521" y="1173413"/>
                  <a:pt x="766521" y="1139771"/>
                </a:cubicBezTo>
                <a:cubicBezTo>
                  <a:pt x="766521" y="1105110"/>
                  <a:pt x="736957" y="1076565"/>
                  <a:pt x="703316" y="1076565"/>
                </a:cubicBezTo>
                <a:close/>
                <a:moveTo>
                  <a:pt x="368473" y="1076565"/>
                </a:moveTo>
                <a:cubicBezTo>
                  <a:pt x="332762" y="1076565"/>
                  <a:pt x="303173" y="1105110"/>
                  <a:pt x="303173" y="1139771"/>
                </a:cubicBezTo>
                <a:cubicBezTo>
                  <a:pt x="303173" y="1173413"/>
                  <a:pt x="332762" y="1201957"/>
                  <a:pt x="368473" y="1201957"/>
                </a:cubicBezTo>
                <a:cubicBezTo>
                  <a:pt x="401123" y="1201957"/>
                  <a:pt x="430712" y="1173413"/>
                  <a:pt x="430712" y="1139771"/>
                </a:cubicBezTo>
                <a:cubicBezTo>
                  <a:pt x="430712" y="1105110"/>
                  <a:pt x="401123" y="1076565"/>
                  <a:pt x="368473" y="1076565"/>
                </a:cubicBezTo>
                <a:close/>
                <a:moveTo>
                  <a:pt x="115568" y="1076565"/>
                </a:moveTo>
                <a:cubicBezTo>
                  <a:pt x="81854" y="1076565"/>
                  <a:pt x="53249" y="1105110"/>
                  <a:pt x="53249" y="1139771"/>
                </a:cubicBezTo>
                <a:cubicBezTo>
                  <a:pt x="53249" y="1173413"/>
                  <a:pt x="81854" y="1201957"/>
                  <a:pt x="115568" y="1201957"/>
                </a:cubicBezTo>
                <a:cubicBezTo>
                  <a:pt x="151324" y="1201957"/>
                  <a:pt x="179929" y="1173413"/>
                  <a:pt x="179929" y="1139771"/>
                </a:cubicBezTo>
                <a:cubicBezTo>
                  <a:pt x="179929" y="1105110"/>
                  <a:pt x="151324" y="1076565"/>
                  <a:pt x="115568" y="1076565"/>
                </a:cubicBezTo>
                <a:close/>
                <a:moveTo>
                  <a:pt x="512302" y="1029328"/>
                </a:moveTo>
                <a:lnTo>
                  <a:pt x="565551" y="1029328"/>
                </a:lnTo>
                <a:lnTo>
                  <a:pt x="565551" y="1247905"/>
                </a:lnTo>
                <a:lnTo>
                  <a:pt x="512302" y="1247905"/>
                </a:lnTo>
                <a:close/>
                <a:moveTo>
                  <a:pt x="1186657" y="1026322"/>
                </a:moveTo>
                <a:cubicBezTo>
                  <a:pt x="1240740" y="1026322"/>
                  <a:pt x="1275435" y="1055941"/>
                  <a:pt x="1279516" y="1097815"/>
                </a:cubicBezTo>
                <a:cubicBezTo>
                  <a:pt x="1279516" y="1097815"/>
                  <a:pt x="1279516" y="1097815"/>
                  <a:pt x="1224413" y="1097815"/>
                </a:cubicBezTo>
                <a:cubicBezTo>
                  <a:pt x="1223393" y="1086581"/>
                  <a:pt x="1222372" y="1068197"/>
                  <a:pt x="1188698" y="1068197"/>
                </a:cubicBezTo>
                <a:cubicBezTo>
                  <a:pt x="1167269" y="1068197"/>
                  <a:pt x="1152983" y="1072282"/>
                  <a:pt x="1150942" y="1087602"/>
                </a:cubicBezTo>
                <a:cubicBezTo>
                  <a:pt x="1150942" y="1110071"/>
                  <a:pt x="1196861" y="1109050"/>
                  <a:pt x="1232576" y="1118242"/>
                </a:cubicBezTo>
                <a:cubicBezTo>
                  <a:pt x="1266251" y="1127434"/>
                  <a:pt x="1288700" y="1147861"/>
                  <a:pt x="1288700" y="1177479"/>
                </a:cubicBezTo>
                <a:cubicBezTo>
                  <a:pt x="1288700" y="1231610"/>
                  <a:pt x="1243801" y="1253058"/>
                  <a:pt x="1189718" y="1253058"/>
                </a:cubicBezTo>
                <a:cubicBezTo>
                  <a:pt x="1129513" y="1253058"/>
                  <a:pt x="1091757" y="1222418"/>
                  <a:pt x="1090736" y="1177479"/>
                </a:cubicBezTo>
                <a:cubicBezTo>
                  <a:pt x="1090736" y="1177479"/>
                  <a:pt x="1090736" y="1177479"/>
                  <a:pt x="1147880" y="1177479"/>
                </a:cubicBezTo>
                <a:cubicBezTo>
                  <a:pt x="1147880" y="1191778"/>
                  <a:pt x="1156044" y="1212205"/>
                  <a:pt x="1192780" y="1212205"/>
                </a:cubicBezTo>
                <a:cubicBezTo>
                  <a:pt x="1218290" y="1212205"/>
                  <a:pt x="1229515" y="1197906"/>
                  <a:pt x="1229515" y="1186671"/>
                </a:cubicBezTo>
                <a:cubicBezTo>
                  <a:pt x="1228495" y="1170330"/>
                  <a:pt x="1207066" y="1167266"/>
                  <a:pt x="1182575" y="1165223"/>
                </a:cubicBezTo>
                <a:cubicBezTo>
                  <a:pt x="1160126" y="1161138"/>
                  <a:pt x="1140737" y="1156031"/>
                  <a:pt x="1126451" y="1149903"/>
                </a:cubicBezTo>
                <a:cubicBezTo>
                  <a:pt x="1107063" y="1139690"/>
                  <a:pt x="1095838" y="1119263"/>
                  <a:pt x="1095838" y="1096794"/>
                </a:cubicBezTo>
                <a:cubicBezTo>
                  <a:pt x="1095838" y="1056962"/>
                  <a:pt x="1129513" y="1026322"/>
                  <a:pt x="1186657" y="1026322"/>
                </a:cubicBezTo>
                <a:close/>
                <a:moveTo>
                  <a:pt x="952138" y="1026322"/>
                </a:moveTo>
                <a:cubicBezTo>
                  <a:pt x="976637" y="1026322"/>
                  <a:pt x="998075" y="1032450"/>
                  <a:pt x="1015429" y="1045727"/>
                </a:cubicBezTo>
                <a:cubicBezTo>
                  <a:pt x="1015429" y="1029386"/>
                  <a:pt x="1015429" y="1029386"/>
                  <a:pt x="1015429" y="1029386"/>
                </a:cubicBezTo>
                <a:cubicBezTo>
                  <a:pt x="1070553" y="1029386"/>
                  <a:pt x="1070553" y="1029386"/>
                  <a:pt x="1070553" y="1029386"/>
                </a:cubicBezTo>
                <a:cubicBezTo>
                  <a:pt x="1070553" y="1247951"/>
                  <a:pt x="1070553" y="1247951"/>
                  <a:pt x="1070553" y="1247951"/>
                </a:cubicBezTo>
                <a:cubicBezTo>
                  <a:pt x="1015429" y="1247951"/>
                  <a:pt x="1015429" y="1247951"/>
                  <a:pt x="1015429" y="1247951"/>
                </a:cubicBezTo>
                <a:cubicBezTo>
                  <a:pt x="1015429" y="1233653"/>
                  <a:pt x="1015429" y="1233653"/>
                  <a:pt x="1015429" y="1233653"/>
                </a:cubicBezTo>
                <a:cubicBezTo>
                  <a:pt x="998075" y="1245909"/>
                  <a:pt x="976637" y="1253058"/>
                  <a:pt x="952138" y="1253058"/>
                </a:cubicBezTo>
                <a:cubicBezTo>
                  <a:pt x="889867" y="1253058"/>
                  <a:pt x="837805" y="1201991"/>
                  <a:pt x="837805" y="1139690"/>
                </a:cubicBezTo>
                <a:cubicBezTo>
                  <a:pt x="837805" y="1076367"/>
                  <a:pt x="889867" y="1026322"/>
                  <a:pt x="952138" y="1026322"/>
                </a:cubicBezTo>
                <a:close/>
                <a:moveTo>
                  <a:pt x="113441" y="1026322"/>
                </a:moveTo>
                <a:cubicBezTo>
                  <a:pt x="137969" y="1026322"/>
                  <a:pt x="161475" y="1032450"/>
                  <a:pt x="179871" y="1045727"/>
                </a:cubicBezTo>
                <a:cubicBezTo>
                  <a:pt x="179871" y="1029386"/>
                  <a:pt x="179871" y="1029386"/>
                  <a:pt x="179871" y="1029386"/>
                </a:cubicBezTo>
                <a:cubicBezTo>
                  <a:pt x="234036" y="1029386"/>
                  <a:pt x="234036" y="1029386"/>
                  <a:pt x="234036" y="1029386"/>
                </a:cubicBezTo>
                <a:cubicBezTo>
                  <a:pt x="234036" y="1247951"/>
                  <a:pt x="234036" y="1247951"/>
                  <a:pt x="234036" y="1247951"/>
                </a:cubicBezTo>
                <a:cubicBezTo>
                  <a:pt x="179871" y="1247951"/>
                  <a:pt x="179871" y="1247951"/>
                  <a:pt x="179871" y="1247951"/>
                </a:cubicBezTo>
                <a:cubicBezTo>
                  <a:pt x="179871" y="1233653"/>
                  <a:pt x="179871" y="1233653"/>
                  <a:pt x="179871" y="1233653"/>
                </a:cubicBezTo>
                <a:cubicBezTo>
                  <a:pt x="161475" y="1245909"/>
                  <a:pt x="138991" y="1253058"/>
                  <a:pt x="113441" y="1253058"/>
                </a:cubicBezTo>
                <a:cubicBezTo>
                  <a:pt x="51100" y="1253058"/>
                  <a:pt x="0" y="1201991"/>
                  <a:pt x="0" y="1139690"/>
                </a:cubicBezTo>
                <a:cubicBezTo>
                  <a:pt x="0" y="1076367"/>
                  <a:pt x="51100" y="1026322"/>
                  <a:pt x="113441" y="1026322"/>
                </a:cubicBezTo>
                <a:close/>
                <a:moveTo>
                  <a:pt x="766282" y="954179"/>
                </a:moveTo>
                <a:cubicBezTo>
                  <a:pt x="819340" y="954179"/>
                  <a:pt x="819340" y="954179"/>
                  <a:pt x="819340" y="954179"/>
                </a:cubicBezTo>
                <a:cubicBezTo>
                  <a:pt x="819340" y="1247958"/>
                  <a:pt x="819340" y="1247958"/>
                  <a:pt x="819340" y="1247958"/>
                </a:cubicBezTo>
                <a:cubicBezTo>
                  <a:pt x="766282" y="1247958"/>
                  <a:pt x="766282" y="1247958"/>
                  <a:pt x="766282" y="1247958"/>
                </a:cubicBezTo>
                <a:cubicBezTo>
                  <a:pt x="766282" y="1233677"/>
                  <a:pt x="766282" y="1233677"/>
                  <a:pt x="766282" y="1233677"/>
                </a:cubicBezTo>
                <a:cubicBezTo>
                  <a:pt x="748936" y="1245918"/>
                  <a:pt x="725468" y="1253058"/>
                  <a:pt x="702000" y="1253058"/>
                </a:cubicBezTo>
                <a:cubicBezTo>
                  <a:pt x="638738" y="1253058"/>
                  <a:pt x="588740" y="1202055"/>
                  <a:pt x="588740" y="1139831"/>
                </a:cubicBezTo>
                <a:cubicBezTo>
                  <a:pt x="588740" y="1076587"/>
                  <a:pt x="638738" y="1026604"/>
                  <a:pt x="702000" y="1026604"/>
                </a:cubicBezTo>
                <a:cubicBezTo>
                  <a:pt x="725468" y="1026604"/>
                  <a:pt x="746895" y="1032724"/>
                  <a:pt x="766282" y="1045985"/>
                </a:cubicBezTo>
                <a:cubicBezTo>
                  <a:pt x="766282" y="954179"/>
                  <a:pt x="766282" y="954179"/>
                  <a:pt x="766282" y="954179"/>
                </a:cubicBezTo>
                <a:close/>
                <a:moveTo>
                  <a:pt x="512302" y="954179"/>
                </a:moveTo>
                <a:lnTo>
                  <a:pt x="565551" y="954179"/>
                </a:lnTo>
                <a:lnTo>
                  <a:pt x="565551" y="1009145"/>
                </a:lnTo>
                <a:lnTo>
                  <a:pt x="512302" y="1009145"/>
                </a:lnTo>
                <a:close/>
                <a:moveTo>
                  <a:pt x="430753" y="954179"/>
                </a:moveTo>
                <a:cubicBezTo>
                  <a:pt x="484819" y="954179"/>
                  <a:pt x="484819" y="954179"/>
                  <a:pt x="484819" y="954179"/>
                </a:cubicBezTo>
                <a:cubicBezTo>
                  <a:pt x="484819" y="1247958"/>
                  <a:pt x="484819" y="1247958"/>
                  <a:pt x="484819" y="1247958"/>
                </a:cubicBezTo>
                <a:cubicBezTo>
                  <a:pt x="430753" y="1247958"/>
                  <a:pt x="430753" y="1247958"/>
                  <a:pt x="430753" y="1247958"/>
                </a:cubicBezTo>
                <a:cubicBezTo>
                  <a:pt x="430753" y="1233677"/>
                  <a:pt x="430753" y="1233677"/>
                  <a:pt x="430753" y="1233677"/>
                </a:cubicBezTo>
                <a:cubicBezTo>
                  <a:pt x="411371" y="1245918"/>
                  <a:pt x="389949" y="1253058"/>
                  <a:pt x="365466" y="1253058"/>
                </a:cubicBezTo>
                <a:cubicBezTo>
                  <a:pt x="303239" y="1253058"/>
                  <a:pt x="251213" y="1202055"/>
                  <a:pt x="251213" y="1139831"/>
                </a:cubicBezTo>
                <a:cubicBezTo>
                  <a:pt x="251213" y="1076587"/>
                  <a:pt x="303239" y="1026604"/>
                  <a:pt x="365466" y="1026604"/>
                </a:cubicBezTo>
                <a:cubicBezTo>
                  <a:pt x="389949" y="1026604"/>
                  <a:pt x="411371" y="1032724"/>
                  <a:pt x="430753" y="1045985"/>
                </a:cubicBezTo>
                <a:cubicBezTo>
                  <a:pt x="430753" y="954179"/>
                  <a:pt x="430753" y="954179"/>
                  <a:pt x="430753" y="954179"/>
                </a:cubicBezTo>
                <a:close/>
                <a:moveTo>
                  <a:pt x="743767" y="779403"/>
                </a:moveTo>
                <a:cubicBezTo>
                  <a:pt x="743767" y="779403"/>
                  <a:pt x="743767" y="779403"/>
                  <a:pt x="1000985" y="779403"/>
                </a:cubicBezTo>
                <a:cubicBezTo>
                  <a:pt x="910142" y="846884"/>
                  <a:pt x="811134" y="881647"/>
                  <a:pt x="735601" y="886759"/>
                </a:cubicBezTo>
                <a:cubicBezTo>
                  <a:pt x="735601" y="859153"/>
                  <a:pt x="735601" y="820301"/>
                  <a:pt x="743767" y="779403"/>
                </a:cubicBezTo>
                <a:close/>
                <a:moveTo>
                  <a:pt x="566409" y="779403"/>
                </a:moveTo>
                <a:cubicBezTo>
                  <a:pt x="566409" y="779403"/>
                  <a:pt x="566409" y="779403"/>
                  <a:pt x="728731" y="779403"/>
                </a:cubicBezTo>
                <a:cubicBezTo>
                  <a:pt x="703209" y="828358"/>
                  <a:pt x="674624" y="866093"/>
                  <a:pt x="648081" y="893630"/>
                </a:cubicBezTo>
                <a:cubicBezTo>
                  <a:pt x="618475" y="866093"/>
                  <a:pt x="593973" y="828358"/>
                  <a:pt x="566409" y="779403"/>
                </a:cubicBezTo>
                <a:close/>
                <a:moveTo>
                  <a:pt x="294154" y="779403"/>
                </a:moveTo>
                <a:cubicBezTo>
                  <a:pt x="294154" y="779403"/>
                  <a:pt x="294154" y="779403"/>
                  <a:pt x="554013" y="779403"/>
                </a:cubicBezTo>
                <a:cubicBezTo>
                  <a:pt x="559108" y="820301"/>
                  <a:pt x="559108" y="859153"/>
                  <a:pt x="558089" y="886759"/>
                </a:cubicBezTo>
                <a:cubicBezTo>
                  <a:pt x="484717" y="881647"/>
                  <a:pt x="385869" y="846884"/>
                  <a:pt x="294154" y="779403"/>
                </a:cubicBezTo>
                <a:close/>
                <a:moveTo>
                  <a:pt x="178639" y="685788"/>
                </a:moveTo>
                <a:cubicBezTo>
                  <a:pt x="178639" y="685788"/>
                  <a:pt x="178639" y="685788"/>
                  <a:pt x="1116500" y="685788"/>
                </a:cubicBezTo>
                <a:cubicBezTo>
                  <a:pt x="1104254" y="703146"/>
                  <a:pt x="1084864" y="720504"/>
                  <a:pt x="1064454" y="731736"/>
                </a:cubicBezTo>
                <a:cubicBezTo>
                  <a:pt x="1064454" y="731736"/>
                  <a:pt x="1064454" y="731736"/>
                  <a:pt x="226603" y="731736"/>
                </a:cubicBezTo>
                <a:cubicBezTo>
                  <a:pt x="210275" y="720504"/>
                  <a:pt x="193947" y="703146"/>
                  <a:pt x="178639" y="685788"/>
                </a:cubicBezTo>
                <a:close/>
                <a:moveTo>
                  <a:pt x="103061" y="583586"/>
                </a:moveTo>
                <a:cubicBezTo>
                  <a:pt x="1192938" y="583586"/>
                  <a:pt x="1192938" y="583586"/>
                  <a:pt x="1192938" y="583586"/>
                </a:cubicBezTo>
                <a:cubicBezTo>
                  <a:pt x="1184774" y="598967"/>
                  <a:pt x="1171508" y="620499"/>
                  <a:pt x="1158242" y="633829"/>
                </a:cubicBezTo>
                <a:cubicBezTo>
                  <a:pt x="136737" y="633829"/>
                  <a:pt x="136737" y="633829"/>
                  <a:pt x="136737" y="633829"/>
                </a:cubicBezTo>
                <a:cubicBezTo>
                  <a:pt x="128573" y="623575"/>
                  <a:pt x="111225" y="599992"/>
                  <a:pt x="103061" y="583586"/>
                </a:cubicBezTo>
                <a:close/>
                <a:moveTo>
                  <a:pt x="1287839" y="249924"/>
                </a:moveTo>
                <a:cubicBezTo>
                  <a:pt x="1295999" y="333680"/>
                  <a:pt x="1269479" y="433779"/>
                  <a:pt x="1218479" y="535920"/>
                </a:cubicBezTo>
                <a:cubicBezTo>
                  <a:pt x="1218479" y="535920"/>
                  <a:pt x="1218479" y="535920"/>
                  <a:pt x="842098" y="535920"/>
                </a:cubicBezTo>
                <a:cubicBezTo>
                  <a:pt x="855358" y="511406"/>
                  <a:pt x="873718" y="488935"/>
                  <a:pt x="894118" y="465443"/>
                </a:cubicBezTo>
                <a:cubicBezTo>
                  <a:pt x="1003259" y="336744"/>
                  <a:pt x="1171559" y="258095"/>
                  <a:pt x="1287839" y="249924"/>
                </a:cubicBezTo>
                <a:close/>
                <a:moveTo>
                  <a:pt x="9286" y="249924"/>
                </a:moveTo>
                <a:cubicBezTo>
                  <a:pt x="125566" y="258095"/>
                  <a:pt x="293866" y="336744"/>
                  <a:pt x="404027" y="465443"/>
                </a:cubicBezTo>
                <a:cubicBezTo>
                  <a:pt x="422387" y="488935"/>
                  <a:pt x="441767" y="511406"/>
                  <a:pt x="456047" y="535920"/>
                </a:cubicBezTo>
                <a:cubicBezTo>
                  <a:pt x="456047" y="535920"/>
                  <a:pt x="456047" y="535920"/>
                  <a:pt x="77626" y="535920"/>
                </a:cubicBezTo>
                <a:cubicBezTo>
                  <a:pt x="27646" y="433779"/>
                  <a:pt x="2146" y="333680"/>
                  <a:pt x="9286" y="249924"/>
                </a:cubicBezTo>
                <a:close/>
                <a:moveTo>
                  <a:pt x="647919" y="0"/>
                </a:moveTo>
                <a:cubicBezTo>
                  <a:pt x="735699" y="82685"/>
                  <a:pt x="816334" y="267450"/>
                  <a:pt x="816334" y="445070"/>
                </a:cubicBezTo>
                <a:cubicBezTo>
                  <a:pt x="816334" y="478756"/>
                  <a:pt x="813272" y="506318"/>
                  <a:pt x="811231" y="535921"/>
                </a:cubicBezTo>
                <a:cubicBezTo>
                  <a:pt x="811231" y="535921"/>
                  <a:pt x="811231" y="535921"/>
                  <a:pt x="484608" y="535921"/>
                </a:cubicBezTo>
                <a:cubicBezTo>
                  <a:pt x="480525" y="506318"/>
                  <a:pt x="480525" y="478756"/>
                  <a:pt x="480525" y="445070"/>
                </a:cubicBezTo>
                <a:cubicBezTo>
                  <a:pt x="480525" y="267450"/>
                  <a:pt x="559119" y="82685"/>
                  <a:pt x="647919" y="0"/>
                </a:cubicBezTo>
                <a:close/>
              </a:path>
            </a:pathLst>
          </a:custGeom>
          <a:solidFill>
            <a:schemeClr val="bg1"/>
          </a:solidFill>
        </p:spPr>
        <p:txBody>
          <a:bodyPr wrap="square">
            <a:noAutofit/>
          </a:bodyPr>
          <a:lstStyle>
            <a:lvl1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2pPr>
            <a:lvl3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3pPr>
            <a:lvl4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4pPr>
            <a:lvl5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5pPr>
            <a:lvl6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6pPr>
            <a:lvl7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7pPr>
            <a:lvl8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8pPr>
            <a:lvl9pPr marL="0" indent="0">
              <a:lnSpc>
                <a:spcPct val="100000"/>
              </a:lnSpc>
              <a:spcBef>
                <a:spcPts val="0"/>
              </a:spcBef>
              <a:spcAft>
                <a:spcPts val="0"/>
              </a:spcAft>
              <a:buFont typeface="Arial" panose="020B0604020202020204" pitchFamily="34" charset="0"/>
              <a:buNone/>
              <a:defRPr sz="661" b="0" cap="none" baseline="0">
                <a:solidFill>
                  <a:schemeClr val="tx1">
                    <a:alpha val="0"/>
                  </a:schemeClr>
                </a:solidFill>
                <a:latin typeface="+mn-lt"/>
              </a:defRPr>
            </a:lvl9pPr>
          </a:lstStyle>
          <a:p>
            <a:pPr lvl="0"/>
            <a:r>
              <a:rPr lang="en-US"/>
              <a:t> </a:t>
            </a:r>
          </a:p>
        </p:txBody>
      </p:sp>
      <p:sp>
        <p:nvSpPr>
          <p:cNvPr id="12" name="Title 1">
            <a:extLst>
              <a:ext uri="{FF2B5EF4-FFF2-40B4-BE49-F238E27FC236}">
                <a16:creationId xmlns:a16="http://schemas.microsoft.com/office/drawing/2014/main" id="{76EBA342-E150-45B4-A1B7-02B63FD1F605}"/>
              </a:ext>
            </a:extLst>
          </p:cNvPr>
          <p:cNvSpPr>
            <a:spLocks noGrp="1"/>
          </p:cNvSpPr>
          <p:nvPr>
            <p:ph type="title" hasCustomPrompt="1"/>
          </p:nvPr>
        </p:nvSpPr>
        <p:spPr bwMode="gray">
          <a:xfrm>
            <a:off x="1142542" y="1143087"/>
            <a:ext cx="6477197" cy="2666509"/>
          </a:xfrm>
        </p:spPr>
        <p:txBody>
          <a:bodyPr tIns="0" bIns="144000" anchor="b"/>
          <a:lstStyle>
            <a:lvl1pPr>
              <a:lnSpc>
                <a:spcPct val="75000"/>
              </a:lnSpc>
              <a:defRPr sz="6349" b="1" i="0" spc="26" baseline="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latin typeface="+mj-lt"/>
              </a:defRPr>
            </a:lvl7pPr>
            <a:lvl8pPr>
              <a:lnSpc>
                <a:spcPct val="75000"/>
              </a:lnSpc>
              <a:defRPr sz="6349" b="1" spc="26" baseline="0">
                <a:solidFill>
                  <a:schemeClr val="bg1"/>
                </a:solidFill>
                <a:latin typeface="+mj-lt"/>
              </a:defRPr>
            </a:lvl8pPr>
            <a:lvl9pPr algn="l">
              <a:lnSpc>
                <a:spcPct val="75000"/>
              </a:lnSpc>
              <a:defRPr sz="6349" b="1" spc="26" baseline="0">
                <a:solidFill>
                  <a:schemeClr val="bg1"/>
                </a:solidFill>
                <a:latin typeface="+mj-lt"/>
              </a:defRPr>
            </a:lvl9pPr>
          </a:lstStyle>
          <a:p>
            <a:pPr lvl="0"/>
            <a:r>
              <a:rPr lang="en-US" noProof="0"/>
              <a:t>Title of your presentation</a:t>
            </a:r>
            <a:endParaRPr lang="en-US"/>
          </a:p>
        </p:txBody>
      </p:sp>
      <p:sp>
        <p:nvSpPr>
          <p:cNvPr id="13" name="Subtitle 2">
            <a:extLst>
              <a:ext uri="{FF2B5EF4-FFF2-40B4-BE49-F238E27FC236}">
                <a16:creationId xmlns:a16="http://schemas.microsoft.com/office/drawing/2014/main" id="{C94A67DA-B0E5-465A-9E54-5F95AD793832}"/>
              </a:ext>
            </a:extLst>
          </p:cNvPr>
          <p:cNvSpPr>
            <a:spLocks noGrp="1"/>
          </p:cNvSpPr>
          <p:nvPr>
            <p:ph type="subTitle" idx="1"/>
          </p:nvPr>
        </p:nvSpPr>
        <p:spPr bwMode="gray">
          <a:xfrm>
            <a:off x="1142542" y="3809596"/>
            <a:ext cx="4191412" cy="762233"/>
          </a:xfrm>
        </p:spPr>
        <p:txBody>
          <a:bodyPr tIns="0" anchor="t" anchorCtr="0"/>
          <a:lstStyle>
            <a:lvl1pPr marL="0" indent="0" algn="l">
              <a:lnSpc>
                <a:spcPct val="75000"/>
              </a:lnSpc>
              <a:spcBef>
                <a:spcPts val="0"/>
              </a:spcBef>
              <a:spcAft>
                <a:spcPts val="0"/>
              </a:spcAft>
              <a:buNone/>
              <a:defRPr sz="1852" b="0" i="0" cap="all" spc="26" baseline="0">
                <a:solidFill>
                  <a:schemeClr val="bg1"/>
                </a:solidFill>
                <a:latin typeface="+mj-lt"/>
                <a:cs typeface="AdihausDIN" panose="020B0504020101020102" pitchFamily="34" charset="0"/>
              </a:defRPr>
            </a:lvl1pPr>
            <a:lvl2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2pPr>
            <a:lvl3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3pPr>
            <a:lvl4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4pPr>
            <a:lvl5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5pPr>
            <a:lvl6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6pPr>
            <a:lvl7pPr marL="0" indent="0" algn="l">
              <a:lnSpc>
                <a:spcPct val="75000"/>
              </a:lnSpc>
              <a:spcBef>
                <a:spcPts val="0"/>
              </a:spcBef>
              <a:spcAft>
                <a:spcPts val="0"/>
              </a:spcAft>
              <a:buNone/>
              <a:defRPr sz="1852" b="0" cap="all" spc="26" baseline="0">
                <a:solidFill>
                  <a:schemeClr val="bg1"/>
                </a:solidFill>
                <a:latin typeface="+mj-lt"/>
              </a:defRPr>
            </a:lvl7pPr>
            <a:lvl8pPr marL="0" indent="0" algn="l">
              <a:lnSpc>
                <a:spcPct val="75000"/>
              </a:lnSpc>
              <a:spcBef>
                <a:spcPts val="0"/>
              </a:spcBef>
              <a:spcAft>
                <a:spcPts val="0"/>
              </a:spcAft>
              <a:buFont typeface="AdihausDIN" panose="020B0604020202020204" pitchFamily="34" charset="0"/>
              <a:buNone/>
              <a:defRPr sz="1852" b="0" cap="all" spc="26" baseline="0">
                <a:solidFill>
                  <a:schemeClr val="bg1"/>
                </a:solidFill>
                <a:latin typeface="+mj-lt"/>
              </a:defRPr>
            </a:lvl8pPr>
            <a:lvl9pPr marL="0" indent="0" algn="l">
              <a:lnSpc>
                <a:spcPct val="75000"/>
              </a:lnSpc>
              <a:spcBef>
                <a:spcPts val="0"/>
              </a:spcBef>
              <a:spcAft>
                <a:spcPts val="0"/>
              </a:spcAft>
              <a:buNone/>
              <a:defRPr sz="1852" b="0" cap="all" spc="26" baseline="0">
                <a:solidFill>
                  <a:schemeClr val="bg1"/>
                </a:solidFill>
                <a:latin typeface="+mj-lt"/>
              </a:defRPr>
            </a:lvl9pPr>
          </a:lstStyle>
          <a:p>
            <a:pPr lvl="0"/>
            <a:r>
              <a:rPr lang="en-US" noProof="0"/>
              <a:t>Click to edit Master subtitle style</a:t>
            </a:r>
          </a:p>
        </p:txBody>
      </p:sp>
    </p:spTree>
    <p:extLst>
      <p:ext uri="{BB962C8B-B14F-4D97-AF65-F5344CB8AC3E}">
        <p14:creationId xmlns:p14="http://schemas.microsoft.com/office/powerpoint/2010/main" val="318603247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142699" y="1143341"/>
            <a:ext cx="1524114" cy="761886"/>
          </a:xfrm>
        </p:spPr>
        <p:txBody>
          <a:bodyPr lIns="0" anchor="t"/>
          <a:lstStyle>
            <a:lvl1pPr algn="l">
              <a:lnSpc>
                <a:spcPct val="75000"/>
              </a:lnSpc>
              <a:defRPr sz="2381" b="1" i="0" cap="all" spc="26" baseline="0">
                <a:solidFill>
                  <a:schemeClr val="tx1"/>
                </a:solidFill>
                <a:latin typeface="+mj-lt"/>
              </a:defRPr>
            </a:lvl1pPr>
            <a:lvl2pPr>
              <a:lnSpc>
                <a:spcPct val="75000"/>
              </a:lnSpc>
              <a:defRPr b="1" spc="26" baseline="0">
                <a:latin typeface="+mj-lt"/>
              </a:defRPr>
            </a:lvl2pPr>
            <a:lvl3pPr>
              <a:lnSpc>
                <a:spcPct val="75000"/>
              </a:lnSpc>
              <a:defRPr b="1" spc="26" baseline="0">
                <a:latin typeface="+mj-lt"/>
              </a:defRPr>
            </a:lvl3pPr>
            <a:lvl4pPr>
              <a:lnSpc>
                <a:spcPct val="75000"/>
              </a:lnSpc>
              <a:defRPr b="1" spc="26" baseline="0">
                <a:latin typeface="+mj-lt"/>
              </a:defRPr>
            </a:lvl4pPr>
            <a:lvl5pPr>
              <a:lnSpc>
                <a:spcPct val="75000"/>
              </a:lnSpc>
              <a:defRPr b="1" spc="26" baseline="0">
                <a:latin typeface="+mj-lt"/>
              </a:defRPr>
            </a:lvl5pPr>
            <a:lvl6pPr>
              <a:lnSpc>
                <a:spcPct val="75000"/>
              </a:lnSpc>
              <a:defRPr b="1" spc="26" baseline="0"/>
            </a:lvl6pPr>
            <a:lvl7pPr>
              <a:lnSpc>
                <a:spcPct val="75000"/>
              </a:lnSpc>
              <a:defRPr b="1" spc="26" baseline="0"/>
            </a:lvl7pPr>
            <a:lvl8pPr>
              <a:lnSpc>
                <a:spcPct val="75000"/>
              </a:lnSpc>
              <a:defRPr b="1" spc="26" baseline="0"/>
            </a:lvl8pPr>
            <a:lvl9pPr algn="l">
              <a:lnSpc>
                <a:spcPct val="75000"/>
              </a:lnSpc>
              <a:defRPr b="1" spc="26" baseline="0"/>
            </a:lvl9pPr>
          </a:lstStyle>
          <a:p>
            <a:pPr lvl="0"/>
            <a:r>
              <a:rPr lang="en-US" noProof="0"/>
              <a:t>Content</a:t>
            </a:r>
            <a:endParaRPr lang="en-US"/>
          </a:p>
        </p:txBody>
      </p:sp>
      <p:sp>
        <p:nvSpPr>
          <p:cNvPr id="6" name="Text Placeholder 5"/>
          <p:cNvSpPr>
            <a:spLocks noGrp="1"/>
          </p:cNvSpPr>
          <p:nvPr>
            <p:ph type="body" sz="quarter" idx="10" hasCustomPrompt="1"/>
          </p:nvPr>
        </p:nvSpPr>
        <p:spPr bwMode="gray">
          <a:xfrm>
            <a:off x="3047835" y="1143342"/>
            <a:ext cx="8001468" cy="4571317"/>
          </a:xfrm>
        </p:spPr>
        <p:txBody>
          <a:bodyPr anchor="t" anchorCtr="0">
            <a:normAutofit/>
          </a:bodyPr>
          <a:lstStyle>
            <a:lvl1pPr marL="380938" indent="-380938" algn="l">
              <a:lnSpc>
                <a:spcPct val="75000"/>
              </a:lnSpc>
              <a:spcBef>
                <a:spcPts val="1587"/>
              </a:spcBef>
              <a:spcAft>
                <a:spcPts val="0"/>
              </a:spcAft>
              <a:buClrTx/>
              <a:buSzPct val="100000"/>
              <a:buFont typeface="+mj-lt"/>
              <a:buAutoNum type="arabicPeriod"/>
              <a:defRPr sz="3704" b="1" i="0" cap="all" spc="26" baseline="0">
                <a:solidFill>
                  <a:schemeClr val="tx1"/>
                </a:solidFill>
                <a:latin typeface="+mj-lt"/>
              </a:defRPr>
            </a:lvl1pPr>
            <a:lvl2pPr marL="380938" indent="0" algn="l">
              <a:lnSpc>
                <a:spcPct val="90000"/>
              </a:lnSpc>
              <a:spcBef>
                <a:spcPts val="0"/>
              </a:spcBef>
              <a:spcAft>
                <a:spcPts val="0"/>
              </a:spcAft>
              <a:buClrTx/>
              <a:buSzPct val="90000"/>
              <a:buFont typeface="+mj-lt"/>
              <a:buNone/>
              <a:defRPr sz="1587" b="0" i="0" cap="none" spc="0" normalizeH="0" baseline="0">
                <a:solidFill>
                  <a:schemeClr val="tx1"/>
                </a:solidFill>
                <a:latin typeface="+mn-lt"/>
                <a:cs typeface="AdihausDIN" panose="020B0504020101020102" pitchFamily="34" charset="0"/>
              </a:defRPr>
            </a:lvl2pPr>
            <a:lvl3pPr marL="380938" indent="0" algn="l">
              <a:lnSpc>
                <a:spcPct val="90000"/>
              </a:lnSpc>
              <a:spcBef>
                <a:spcPts val="0"/>
              </a:spcBef>
              <a:spcAft>
                <a:spcPts val="0"/>
              </a:spcAft>
              <a:buClrTx/>
              <a:buSzPct val="90000"/>
              <a:buFont typeface="+mj-lt"/>
              <a:buNone/>
              <a:defRPr sz="1587" b="0" i="0" cap="none" spc="0" baseline="0">
                <a:solidFill>
                  <a:schemeClr val="tx1"/>
                </a:solidFill>
                <a:latin typeface="+mn-lt"/>
                <a:cs typeface="AdihausDIN" panose="020B0504020101020102" pitchFamily="34" charset="0"/>
              </a:defRPr>
            </a:lvl3pPr>
            <a:lvl4pPr marL="380938" indent="0" algn="l">
              <a:lnSpc>
                <a:spcPct val="90000"/>
              </a:lnSpc>
              <a:spcBef>
                <a:spcPts val="0"/>
              </a:spcBef>
              <a:spcAft>
                <a:spcPts val="0"/>
              </a:spcAft>
              <a:buClrTx/>
              <a:buSzPct val="90000"/>
              <a:buFont typeface="+mj-lt"/>
              <a:buNone/>
              <a:defRPr sz="1587" b="0" i="0" cap="none" spc="0" baseline="0">
                <a:solidFill>
                  <a:schemeClr val="tx1"/>
                </a:solidFill>
                <a:latin typeface="+mn-lt"/>
                <a:cs typeface="AdihausDIN" panose="020B0504020101020102" pitchFamily="34" charset="0"/>
              </a:defRPr>
            </a:lvl4pPr>
            <a:lvl5pPr marL="380938" indent="0" algn="l">
              <a:lnSpc>
                <a:spcPct val="90000"/>
              </a:lnSpc>
              <a:spcBef>
                <a:spcPts val="0"/>
              </a:spcBef>
              <a:spcAft>
                <a:spcPts val="0"/>
              </a:spcAft>
              <a:buClrTx/>
              <a:buSzPct val="90000"/>
              <a:buFont typeface="+mj-lt"/>
              <a:buNone/>
              <a:defRPr sz="1587" b="0" i="0" cap="none" spc="0" baseline="0">
                <a:solidFill>
                  <a:schemeClr val="tx1"/>
                </a:solidFill>
                <a:latin typeface="+mn-lt"/>
                <a:cs typeface="AdihausDIN" panose="020B0504020101020102" pitchFamily="34" charset="0"/>
              </a:defRPr>
            </a:lvl5pPr>
            <a:lvl6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6pPr>
            <a:lvl7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7pPr>
            <a:lvl8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8pPr>
            <a:lvl9pPr marL="380938" indent="0" algn="l">
              <a:lnSpc>
                <a:spcPct val="90000"/>
              </a:lnSpc>
              <a:spcBef>
                <a:spcPts val="0"/>
              </a:spcBef>
              <a:spcAft>
                <a:spcPts val="0"/>
              </a:spcAft>
              <a:buClrTx/>
              <a:buFont typeface="+mj-lt"/>
              <a:buNone/>
              <a:defRPr sz="1587" b="0" cap="none" spc="0" baseline="0">
                <a:solidFill>
                  <a:schemeClr val="tx1"/>
                </a:solidFill>
                <a:latin typeface="+mn-lt"/>
                <a:cs typeface="AdihausDIN" panose="020B0504020101020102" pitchFamily="34" charset="0"/>
              </a:defRPr>
            </a:lvl9pPr>
          </a:lstStyle>
          <a:p>
            <a:pPr lvl="0"/>
            <a:r>
              <a:rPr lang="en-US" noProof="0"/>
              <a:t>ADD an AGENDA POINT HERE</a:t>
            </a:r>
            <a:endParaRPr lang="en-US"/>
          </a:p>
          <a:p>
            <a:pPr lvl="1"/>
            <a:r>
              <a:rPr lang="en-US" noProof="0"/>
              <a:t>Speaker, time or additional information</a:t>
            </a:r>
            <a:endParaRPr lang="en-US"/>
          </a:p>
        </p:txBody>
      </p:sp>
      <p:sp>
        <p:nvSpPr>
          <p:cNvPr id="7" name="Date Placeholder 6">
            <a:extLst>
              <a:ext uri="{FF2B5EF4-FFF2-40B4-BE49-F238E27FC236}">
                <a16:creationId xmlns:a16="http://schemas.microsoft.com/office/drawing/2014/main" id="{06DAEFB2-DCCD-4136-9272-588838BFA055}"/>
              </a:ext>
            </a:extLst>
          </p:cNvPr>
          <p:cNvSpPr>
            <a:spLocks noGrp="1"/>
          </p:cNvSpPr>
          <p:nvPr>
            <p:ph type="dt" sz="half" idx="11"/>
          </p:nvPr>
        </p:nvSpPr>
        <p:spPr/>
        <p:txBody>
          <a:bodyPr/>
          <a:lstStyle/>
          <a:p>
            <a:fld id="{8E5D5D61-D513-4CCF-AC6B-79215AEA783D}" type="datetime5">
              <a:rPr lang="en-US" smtClean="0"/>
              <a:t>6-Oct-21</a:t>
            </a:fld>
            <a:endParaRPr lang="en-US"/>
          </a:p>
        </p:txBody>
      </p:sp>
      <p:sp>
        <p:nvSpPr>
          <p:cNvPr id="8" name="Footer Placeholder 7">
            <a:extLst>
              <a:ext uri="{FF2B5EF4-FFF2-40B4-BE49-F238E27FC236}">
                <a16:creationId xmlns:a16="http://schemas.microsoft.com/office/drawing/2014/main" id="{8B0AD181-9CB9-45A2-AEC3-7708B57344D1}"/>
              </a:ext>
            </a:extLst>
          </p:cNvPr>
          <p:cNvSpPr>
            <a:spLocks noGrp="1"/>
          </p:cNvSpPr>
          <p:nvPr>
            <p:ph type="ftr" sz="quarter" idx="12"/>
          </p:nvPr>
        </p:nvSpPr>
        <p:spPr/>
        <p:txBody>
          <a:bodyPr/>
          <a:lstStyle/>
          <a:p>
            <a:pPr defTabSz="1218764">
              <a:lnSpc>
                <a:spcPct val="80000"/>
              </a:lnSpc>
            </a:pPr>
            <a:r>
              <a:rPr lang="de-DE"/>
              <a:t>FOOTER / PRESENTATION NAME</a:t>
            </a:r>
          </a:p>
        </p:txBody>
      </p:sp>
      <p:sp>
        <p:nvSpPr>
          <p:cNvPr id="9" name="Slide Number Placeholder 8">
            <a:extLst>
              <a:ext uri="{FF2B5EF4-FFF2-40B4-BE49-F238E27FC236}">
                <a16:creationId xmlns:a16="http://schemas.microsoft.com/office/drawing/2014/main" id="{0065CC93-1CF1-471C-BB01-D88B01D4309C}"/>
              </a:ext>
            </a:extLst>
          </p:cNvPr>
          <p:cNvSpPr>
            <a:spLocks noGrp="1"/>
          </p:cNvSpPr>
          <p:nvPr>
            <p:ph type="sldNum" sz="quarter" idx="13"/>
          </p:nvPr>
        </p:nvSpPr>
        <p:spPr/>
        <p:txBody>
          <a:body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25374245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C3C6BED9-745A-4437-B862-97F8C930B302}"/>
              </a:ext>
            </a:extLst>
          </p:cNvPr>
          <p:cNvSpPr>
            <a:spLocks noGrp="1"/>
          </p:cNvSpPr>
          <p:nvPr>
            <p:ph type="pic" sz="quarter" idx="15"/>
          </p:nvPr>
        </p:nvSpPr>
        <p:spPr bwMode="gray">
          <a:xfrm>
            <a:off x="94218" y="95379"/>
            <a:ext cx="12003565" cy="6667244"/>
          </a:xfrm>
          <a:custGeom>
            <a:avLst/>
            <a:gdLst/>
            <a:ahLst/>
            <a:cxnLst/>
            <a:rect l="l" t="t" r="r" b="b"/>
            <a:pathLst>
              <a:path w="2953414" h="4932102">
                <a:moveTo>
                  <a:pt x="0" y="0"/>
                </a:moveTo>
                <a:lnTo>
                  <a:pt x="2953414" y="0"/>
                </a:lnTo>
                <a:lnTo>
                  <a:pt x="2953414" y="4932102"/>
                </a:lnTo>
                <a:lnTo>
                  <a:pt x="0" y="4932102"/>
                </a:lnTo>
                <a:close/>
              </a:path>
            </a:pathLst>
          </a:custGeom>
          <a:solidFill>
            <a:schemeClr val="accent3"/>
          </a:solidFill>
          <a:ln>
            <a:noFill/>
          </a:ln>
        </p:spPr>
        <p:txBody>
          <a:bodyPr tIns="0" anchor="ctr" anchorCtr="0"/>
          <a:lstStyle>
            <a:lvl1pPr algn="ctr">
              <a:lnSpc>
                <a:spcPct val="100000"/>
              </a:lnSpc>
              <a:spcAft>
                <a:spcPts val="0"/>
              </a:spcAft>
              <a:defRPr sz="1058">
                <a:solidFill>
                  <a:schemeClr val="bg1"/>
                </a:solidFill>
              </a:defRPr>
            </a:lvl1pPr>
          </a:lstStyle>
          <a:p>
            <a:pPr lvl="0"/>
            <a:r>
              <a:rPr lang="en-US" noProof="0"/>
              <a:t>Click icon to add picture</a:t>
            </a:r>
          </a:p>
        </p:txBody>
      </p:sp>
      <p:sp>
        <p:nvSpPr>
          <p:cNvPr id="3" name="Titel 2"/>
          <p:cNvSpPr>
            <a:spLocks noGrp="1"/>
          </p:cNvSpPr>
          <p:nvPr>
            <p:ph type="title" hasCustomPrompt="1"/>
          </p:nvPr>
        </p:nvSpPr>
        <p:spPr bwMode="gray">
          <a:xfrm>
            <a:off x="1142148" y="1523498"/>
            <a:ext cx="6478082" cy="3048457"/>
          </a:xfrm>
        </p:spPr>
        <p:txBody>
          <a:bodyPr/>
          <a:lstStyle>
            <a:lvl1pPr algn="l">
              <a:lnSpc>
                <a:spcPct val="75000"/>
              </a:lnSpc>
              <a:defRPr sz="6349" b="1" i="0">
                <a:solidFill>
                  <a:schemeClr val="bg1"/>
                </a:solidFill>
                <a:latin typeface="+mj-lt"/>
              </a:defRPr>
            </a:lvl1pPr>
            <a:lvl2pPr>
              <a:lnSpc>
                <a:spcPct val="75000"/>
              </a:lnSpc>
              <a:defRPr sz="6349" b="1" spc="26" baseline="0">
                <a:solidFill>
                  <a:schemeClr val="bg1"/>
                </a:solidFill>
                <a:latin typeface="+mj-lt"/>
              </a:defRPr>
            </a:lvl2pPr>
            <a:lvl3pPr>
              <a:lnSpc>
                <a:spcPct val="75000"/>
              </a:lnSpc>
              <a:defRPr sz="6349" b="1" spc="26" baseline="0">
                <a:solidFill>
                  <a:schemeClr val="bg1"/>
                </a:solidFill>
                <a:latin typeface="+mj-lt"/>
              </a:defRPr>
            </a:lvl3pPr>
            <a:lvl4pPr>
              <a:lnSpc>
                <a:spcPct val="75000"/>
              </a:lnSpc>
              <a:defRPr sz="6349" b="1" spc="26" baseline="0">
                <a:solidFill>
                  <a:schemeClr val="bg1"/>
                </a:solidFill>
                <a:latin typeface="+mj-lt"/>
              </a:defRPr>
            </a:lvl4pPr>
            <a:lvl5pPr>
              <a:lnSpc>
                <a:spcPct val="75000"/>
              </a:lnSpc>
              <a:defRPr sz="6349" b="1" spc="26" baseline="0">
                <a:solidFill>
                  <a:schemeClr val="bg1"/>
                </a:solidFill>
                <a:latin typeface="+mj-lt"/>
              </a:defRPr>
            </a:lvl5pPr>
            <a:lvl6pPr>
              <a:lnSpc>
                <a:spcPct val="75000"/>
              </a:lnSpc>
              <a:defRPr sz="6349" b="1" spc="26" baseline="0">
                <a:solidFill>
                  <a:schemeClr val="bg1"/>
                </a:solidFill>
                <a:latin typeface="+mj-lt"/>
              </a:defRPr>
            </a:lvl6pPr>
            <a:lvl7pPr>
              <a:lnSpc>
                <a:spcPct val="75000"/>
              </a:lnSpc>
              <a:defRPr sz="6349" b="1" spc="26" baseline="0">
                <a:solidFill>
                  <a:schemeClr val="bg1"/>
                </a:solidFill>
              </a:defRPr>
            </a:lvl7pPr>
            <a:lvl8pPr algn="l">
              <a:lnSpc>
                <a:spcPct val="75000"/>
              </a:lnSpc>
              <a:defRPr sz="6349" b="1" spc="26" baseline="0">
                <a:solidFill>
                  <a:schemeClr val="bg1"/>
                </a:solidFill>
              </a:defRPr>
            </a:lvl8pPr>
            <a:lvl9pPr algn="l">
              <a:lnSpc>
                <a:spcPct val="75000"/>
              </a:lnSpc>
              <a:defRPr sz="6349" b="1" spc="26" baseline="0">
                <a:solidFill>
                  <a:schemeClr val="bg1"/>
                </a:solidFill>
              </a:defRPr>
            </a:lvl9pPr>
          </a:lstStyle>
          <a:p>
            <a:pPr lvl="0"/>
            <a:r>
              <a:rPr lang="en-US"/>
              <a:t>This is a divider page. Fill this textbox </a:t>
            </a:r>
            <a:br>
              <a:rPr lang="en-US"/>
            </a:br>
            <a:r>
              <a:rPr lang="en-US"/>
              <a:t>with the name of the chapter.</a:t>
            </a:r>
          </a:p>
        </p:txBody>
      </p:sp>
      <p:sp>
        <p:nvSpPr>
          <p:cNvPr id="8" name="Text Placeholder 3"/>
          <p:cNvSpPr>
            <a:spLocks noGrp="1"/>
          </p:cNvSpPr>
          <p:nvPr>
            <p:ph type="body" sz="quarter" idx="18" hasCustomPrompt="1"/>
          </p:nvPr>
        </p:nvSpPr>
        <p:spPr bwMode="gray">
          <a:xfrm>
            <a:off x="1142849" y="1143087"/>
            <a:ext cx="3429196" cy="380065"/>
          </a:xfrm>
        </p:spPr>
        <p:txBody>
          <a:bodyPr anchor="t"/>
          <a:lstStyle>
            <a:lvl1pPr marL="0" indent="0" algn="l">
              <a:lnSpc>
                <a:spcPct val="75000"/>
              </a:lnSpc>
              <a:spcAft>
                <a:spcPts val="0"/>
              </a:spcAft>
              <a:buFont typeface="Arial" panose="020B0604020202020204" pitchFamily="34" charset="0"/>
              <a:buNone/>
              <a:defRPr sz="2381" b="0" cap="all" spc="26" baseline="0">
                <a:solidFill>
                  <a:schemeClr val="bg1"/>
                </a:solidFill>
                <a:latin typeface="+mj-lt"/>
              </a:defRPr>
            </a:lvl1pPr>
            <a:lvl2pPr marL="0" indent="0" algn="l">
              <a:lnSpc>
                <a:spcPct val="75000"/>
              </a:lnSpc>
              <a:spcBef>
                <a:spcPts val="0"/>
              </a:spcBef>
              <a:spcAft>
                <a:spcPts val="0"/>
              </a:spcAft>
              <a:buNone/>
              <a:defRPr sz="2381" b="0" cap="all" spc="26" baseline="0">
                <a:solidFill>
                  <a:schemeClr val="bg1"/>
                </a:solidFill>
                <a:latin typeface="+mj-lt"/>
              </a:defRPr>
            </a:lvl2pPr>
            <a:lvl3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3pPr>
            <a:lvl4pPr marL="0" indent="0" algn="l">
              <a:lnSpc>
                <a:spcPct val="75000"/>
              </a:lnSpc>
              <a:spcBef>
                <a:spcPts val="0"/>
              </a:spcBef>
              <a:spcAft>
                <a:spcPts val="0"/>
              </a:spcAft>
              <a:buNone/>
              <a:defRPr sz="2381" b="0" cap="all" spc="26" baseline="0">
                <a:solidFill>
                  <a:schemeClr val="bg1"/>
                </a:solidFill>
                <a:latin typeface="+mj-lt"/>
              </a:defRPr>
            </a:lvl4pPr>
            <a:lvl5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5pPr>
            <a:lvl6pPr marL="0" indent="0" algn="l">
              <a:lnSpc>
                <a:spcPct val="75000"/>
              </a:lnSpc>
              <a:spcBef>
                <a:spcPts val="0"/>
              </a:spcBef>
              <a:spcAft>
                <a:spcPts val="0"/>
              </a:spcAft>
              <a:buFont typeface="Arial" panose="020B0604020202020204" pitchFamily="34" charset="0"/>
              <a:buNone/>
              <a:defRPr sz="2381" b="0" cap="all" baseline="0">
                <a:solidFill>
                  <a:schemeClr val="bg1"/>
                </a:solidFill>
                <a:latin typeface="+mj-lt"/>
              </a:defRPr>
            </a:lvl6pPr>
            <a:lvl7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7pPr>
            <a:lvl8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8pPr>
            <a:lvl9pPr marL="0" indent="0" algn="l">
              <a:lnSpc>
                <a:spcPct val="75000"/>
              </a:lnSpc>
              <a:spcBef>
                <a:spcPts val="0"/>
              </a:spcBef>
              <a:spcAft>
                <a:spcPts val="0"/>
              </a:spcAft>
              <a:buFont typeface="Arial" panose="020B0604020202020204" pitchFamily="34" charset="0"/>
              <a:buNone/>
              <a:defRPr sz="2381" b="0" cap="all" spc="26" baseline="0">
                <a:solidFill>
                  <a:schemeClr val="bg1"/>
                </a:solidFill>
                <a:latin typeface="+mj-lt"/>
              </a:defRPr>
            </a:lvl9pPr>
          </a:lstStyle>
          <a:p>
            <a:pPr lvl="0"/>
            <a:r>
              <a:rPr lang="en-US"/>
              <a:t>Chapter ##</a:t>
            </a:r>
          </a:p>
        </p:txBody>
      </p:sp>
    </p:spTree>
    <p:extLst>
      <p:ext uri="{BB962C8B-B14F-4D97-AF65-F5344CB8AC3E}">
        <p14:creationId xmlns:p14="http://schemas.microsoft.com/office/powerpoint/2010/main" val="20224622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CCCEE-BB18-471D-B0A7-7E46E3084CD1}"/>
              </a:ext>
            </a:extLst>
          </p:cNvPr>
          <p:cNvSpPr>
            <a:spLocks noGrp="1"/>
          </p:cNvSpPr>
          <p:nvPr>
            <p:ph type="title"/>
          </p:nvPr>
        </p:nvSpPr>
        <p:spPr bwMode="gray"/>
        <p:txBody>
          <a:bodyPr/>
          <a:lstStyle>
            <a:lvl1pPr>
              <a:defRPr/>
            </a:lvl1pPr>
          </a:lstStyle>
          <a:p>
            <a:r>
              <a:rPr lang="en-US"/>
              <a:t>Click to edit Master title style</a:t>
            </a:r>
          </a:p>
        </p:txBody>
      </p:sp>
      <p:sp>
        <p:nvSpPr>
          <p:cNvPr id="5" name="Slide Number Placeholder 4">
            <a:extLst>
              <a:ext uri="{FF2B5EF4-FFF2-40B4-BE49-F238E27FC236}">
                <a16:creationId xmlns:a16="http://schemas.microsoft.com/office/drawing/2014/main" id="{48BE99E7-3046-4107-A593-19BA37D0AE65}"/>
              </a:ext>
            </a:extLst>
          </p:cNvPr>
          <p:cNvSpPr>
            <a:spLocks noGrp="1"/>
          </p:cNvSpPr>
          <p:nvPr>
            <p:ph type="sldNum" sz="quarter" idx="12"/>
          </p:nvPr>
        </p:nvSpPr>
        <p:spPr bwMode="gray"/>
        <p:txBody>
          <a:bodyPr/>
          <a:lstStyle/>
          <a:p>
            <a:pPr>
              <a:defRPr/>
            </a:pPr>
            <a:fld id="{66C8B3C2-955F-42B1-8DED-EE47D723596C}" type="slidenum">
              <a:rPr lang="en-US" noProof="0" smtClean="0"/>
              <a:pPr>
                <a:defRPr/>
              </a:pPr>
              <a:t>‹#›</a:t>
            </a:fld>
            <a:endParaRPr lang="en-US" noProof="0"/>
          </a:p>
        </p:txBody>
      </p:sp>
      <p:sp>
        <p:nvSpPr>
          <p:cNvPr id="3" name="Date Placeholder 2">
            <a:extLst>
              <a:ext uri="{FF2B5EF4-FFF2-40B4-BE49-F238E27FC236}">
                <a16:creationId xmlns:a16="http://schemas.microsoft.com/office/drawing/2014/main" id="{84CAE2D6-B5EF-4F25-B3BE-F859CCD73E50}"/>
              </a:ext>
            </a:extLst>
          </p:cNvPr>
          <p:cNvSpPr>
            <a:spLocks noGrp="1"/>
          </p:cNvSpPr>
          <p:nvPr>
            <p:ph type="dt" sz="half" idx="13"/>
          </p:nvPr>
        </p:nvSpPr>
        <p:spPr/>
        <p:txBody>
          <a:bodyPr/>
          <a:lstStyle/>
          <a:p>
            <a:fld id="{9DB62C0C-858C-4375-A9B0-467F84150AE8}" type="datetime5">
              <a:rPr lang="en-US" smtClean="0"/>
              <a:t>6-Oct-21</a:t>
            </a:fld>
            <a:endParaRPr lang="en-US"/>
          </a:p>
        </p:txBody>
      </p:sp>
      <p:sp>
        <p:nvSpPr>
          <p:cNvPr id="4" name="Footer Placeholder 3">
            <a:extLst>
              <a:ext uri="{FF2B5EF4-FFF2-40B4-BE49-F238E27FC236}">
                <a16:creationId xmlns:a16="http://schemas.microsoft.com/office/drawing/2014/main" id="{6E6FB8C4-B84D-4414-ABD9-4D96C25B8B7A}"/>
              </a:ext>
            </a:extLst>
          </p:cNvPr>
          <p:cNvSpPr>
            <a:spLocks noGrp="1"/>
          </p:cNvSpPr>
          <p:nvPr>
            <p:ph type="ftr" sz="quarter" idx="14"/>
          </p:nvPr>
        </p:nvSpPr>
        <p:spPr/>
        <p:txBody>
          <a:bodyPr/>
          <a:lstStyle/>
          <a:p>
            <a:pPr defTabSz="1218764">
              <a:lnSpc>
                <a:spcPct val="80000"/>
              </a:lnSpc>
            </a:pPr>
            <a:r>
              <a:rPr lang="de-DE"/>
              <a:t>FOOTER / PRESENTATION NAME</a:t>
            </a:r>
          </a:p>
        </p:txBody>
      </p:sp>
      <p:sp>
        <p:nvSpPr>
          <p:cNvPr id="6" name="Text Placeholder 15">
            <a:extLst>
              <a:ext uri="{FF2B5EF4-FFF2-40B4-BE49-F238E27FC236}">
                <a16:creationId xmlns:a16="http://schemas.microsoft.com/office/drawing/2014/main" id="{E837DF00-6E86-498E-B339-662636A39711}"/>
              </a:ext>
            </a:extLst>
          </p:cNvPr>
          <p:cNvSpPr>
            <a:spLocks noGrp="1"/>
          </p:cNvSpPr>
          <p:nvPr>
            <p:ph type="body" sz="quarter" idx="29"/>
          </p:nvPr>
        </p:nvSpPr>
        <p:spPr bwMode="gray">
          <a:xfrm>
            <a:off x="380670" y="784272"/>
            <a:ext cx="10286542"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1158833098"/>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16" name="Text Placeholder 15"/>
          <p:cNvSpPr>
            <a:spLocks noGrp="1"/>
          </p:cNvSpPr>
          <p:nvPr>
            <p:ph type="body" sz="quarter" idx="25"/>
          </p:nvPr>
        </p:nvSpPr>
        <p:spPr bwMode="gray">
          <a:xfrm>
            <a:off x="380670" y="1524284"/>
            <a:ext cx="8001469" cy="45714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5F191EB-D249-41BF-9D6B-80504B2736D8}"/>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BAB6CD1F-3B5B-4B59-A9F6-256DD84CEE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C52B199-2206-4D3D-BC84-D1FA2CCF450E}"/>
              </a:ext>
            </a:extLst>
          </p:cNvPr>
          <p:cNvSpPr>
            <a:spLocks noGrp="1"/>
          </p:cNvSpPr>
          <p:nvPr>
            <p:ph type="dt" sz="half" idx="30"/>
          </p:nvPr>
        </p:nvSpPr>
        <p:spPr/>
        <p:txBody>
          <a:bodyPr/>
          <a:lstStyle/>
          <a:p>
            <a:fld id="{B93B4C03-224F-4B67-AA19-AC08717B62A7}" type="datetime5">
              <a:rPr lang="en-US" smtClean="0"/>
              <a:t>6-Oct-21</a:t>
            </a:fld>
            <a:endParaRPr lang="en-US"/>
          </a:p>
        </p:txBody>
      </p:sp>
      <p:sp>
        <p:nvSpPr>
          <p:cNvPr id="4" name="Footer Placeholder 3">
            <a:extLst>
              <a:ext uri="{FF2B5EF4-FFF2-40B4-BE49-F238E27FC236}">
                <a16:creationId xmlns:a16="http://schemas.microsoft.com/office/drawing/2014/main" id="{54F2F4FF-1657-47A8-8899-25727D9E9201}"/>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9" name="Text Placeholder 15">
            <a:extLst>
              <a:ext uri="{FF2B5EF4-FFF2-40B4-BE49-F238E27FC236}">
                <a16:creationId xmlns:a16="http://schemas.microsoft.com/office/drawing/2014/main" id="{4623F181-7AAA-40D1-941D-32DC32669AF1}"/>
              </a:ext>
            </a:extLst>
          </p:cNvPr>
          <p:cNvSpPr>
            <a:spLocks noGrp="1"/>
          </p:cNvSpPr>
          <p:nvPr>
            <p:ph type="body" sz="quarter" idx="29"/>
          </p:nvPr>
        </p:nvSpPr>
        <p:spPr bwMode="gray">
          <a:xfrm>
            <a:off x="380670" y="784272"/>
            <a:ext cx="10286542"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51478594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ig Title + Text">
    <p:spTree>
      <p:nvGrpSpPr>
        <p:cNvPr id="1" name=""/>
        <p:cNvGrpSpPr/>
        <p:nvPr/>
      </p:nvGrpSpPr>
      <p:grpSpPr>
        <a:xfrm>
          <a:off x="0" y="0"/>
          <a:ext cx="0" cy="0"/>
          <a:chOff x="0" y="0"/>
          <a:chExt cx="0" cy="0"/>
        </a:xfrm>
      </p:grpSpPr>
      <p:sp>
        <p:nvSpPr>
          <p:cNvPr id="16" name="Text Placeholder 15"/>
          <p:cNvSpPr>
            <a:spLocks noGrp="1"/>
          </p:cNvSpPr>
          <p:nvPr>
            <p:ph type="body" sz="quarter" idx="25"/>
          </p:nvPr>
        </p:nvSpPr>
        <p:spPr bwMode="gray">
          <a:xfrm>
            <a:off x="8001328" y="2667029"/>
            <a:ext cx="2664177" cy="3048671"/>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CE06E7D-B6FA-45B6-BAC5-48D084D08246}"/>
              </a:ext>
            </a:extLst>
          </p:cNvPr>
          <p:cNvSpPr>
            <a:spLocks noGrp="1"/>
          </p:cNvSpPr>
          <p:nvPr>
            <p:ph type="title" hasCustomPrompt="1"/>
          </p:nvPr>
        </p:nvSpPr>
        <p:spPr bwMode="gray">
          <a:xfrm>
            <a:off x="380672" y="381456"/>
            <a:ext cx="6477195" cy="5333532"/>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This is a slide for typo only. You can use it for a big long key message or for a quote. Increase font size </a:t>
            </a:r>
            <a:br>
              <a:rPr lang="en-US"/>
            </a:br>
            <a:r>
              <a:rPr lang="en-US"/>
              <a:t>if necessary, </a:t>
            </a:r>
            <a:br>
              <a:rPr lang="en-US"/>
            </a:br>
            <a:r>
              <a:rPr lang="en-US"/>
              <a:t>don’t decrease it.</a:t>
            </a:r>
          </a:p>
        </p:txBody>
      </p:sp>
      <p:sp>
        <p:nvSpPr>
          <p:cNvPr id="7" name="Slide Number Placeholder 6">
            <a:extLst>
              <a:ext uri="{FF2B5EF4-FFF2-40B4-BE49-F238E27FC236}">
                <a16:creationId xmlns:a16="http://schemas.microsoft.com/office/drawing/2014/main" id="{25F191EB-D249-41BF-9D6B-80504B2736D8}"/>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Date Placeholder 1">
            <a:extLst>
              <a:ext uri="{FF2B5EF4-FFF2-40B4-BE49-F238E27FC236}">
                <a16:creationId xmlns:a16="http://schemas.microsoft.com/office/drawing/2014/main" id="{99FB6C60-CD6F-4CF8-A760-16499423B78F}"/>
              </a:ext>
            </a:extLst>
          </p:cNvPr>
          <p:cNvSpPr>
            <a:spLocks noGrp="1"/>
          </p:cNvSpPr>
          <p:nvPr>
            <p:ph type="dt" sz="half" idx="29"/>
          </p:nvPr>
        </p:nvSpPr>
        <p:spPr/>
        <p:txBody>
          <a:bodyPr/>
          <a:lstStyle/>
          <a:p>
            <a:fld id="{00842F54-1BF9-484D-8B80-3D541F9B59D7}" type="datetime5">
              <a:rPr lang="en-US" smtClean="0"/>
              <a:t>6-Oct-21</a:t>
            </a:fld>
            <a:endParaRPr lang="en-US"/>
          </a:p>
        </p:txBody>
      </p:sp>
      <p:sp>
        <p:nvSpPr>
          <p:cNvPr id="3" name="Footer Placeholder 2">
            <a:extLst>
              <a:ext uri="{FF2B5EF4-FFF2-40B4-BE49-F238E27FC236}">
                <a16:creationId xmlns:a16="http://schemas.microsoft.com/office/drawing/2014/main" id="{9970DF54-8C2C-40EF-B81E-43566D7FF439}"/>
              </a:ext>
            </a:extLst>
          </p:cNvPr>
          <p:cNvSpPr>
            <a:spLocks noGrp="1"/>
          </p:cNvSpPr>
          <p:nvPr>
            <p:ph type="ftr" sz="quarter" idx="30"/>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213782117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239591" y="381455"/>
            <a:ext cx="4571758" cy="609548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Text Placeholder 3"/>
          <p:cNvSpPr>
            <a:spLocks noGrp="1"/>
          </p:cNvSpPr>
          <p:nvPr>
            <p:ph type="body" sz="quarter" idx="18"/>
          </p:nvPr>
        </p:nvSpPr>
        <p:spPr bwMode="gray">
          <a:xfrm>
            <a:off x="380672" y="1524284"/>
            <a:ext cx="6096394" cy="4571658"/>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9" name="Slide Number Placeholder 8">
            <a:extLst>
              <a:ext uri="{FF2B5EF4-FFF2-40B4-BE49-F238E27FC236}">
                <a16:creationId xmlns:a16="http://schemas.microsoft.com/office/drawing/2014/main" id="{44BAF595-D6B0-4115-BF0C-7AB35F6E2A3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3421B617-5265-4D13-89ED-EF79F42F8929}"/>
              </a:ext>
            </a:extLst>
          </p:cNvPr>
          <p:cNvSpPr>
            <a:spLocks noGrp="1"/>
          </p:cNvSpPr>
          <p:nvPr>
            <p:ph type="title"/>
          </p:nvPr>
        </p:nvSpPr>
        <p:spPr>
          <a:xfrm>
            <a:off x="380672" y="381455"/>
            <a:ext cx="6096394" cy="380943"/>
          </a:xfrm>
        </p:spPr>
        <p:txBody>
          <a:bodyPr/>
          <a:lstStyle/>
          <a:p>
            <a:r>
              <a:rPr lang="en-US"/>
              <a:t>Click to edit Master title style</a:t>
            </a:r>
          </a:p>
        </p:txBody>
      </p:sp>
      <p:sp>
        <p:nvSpPr>
          <p:cNvPr id="2" name="Date Placeholder 1">
            <a:extLst>
              <a:ext uri="{FF2B5EF4-FFF2-40B4-BE49-F238E27FC236}">
                <a16:creationId xmlns:a16="http://schemas.microsoft.com/office/drawing/2014/main" id="{E1CFE3F8-3917-4ACF-87DB-524464255882}"/>
              </a:ext>
            </a:extLst>
          </p:cNvPr>
          <p:cNvSpPr>
            <a:spLocks noGrp="1"/>
          </p:cNvSpPr>
          <p:nvPr>
            <p:ph type="dt" sz="half" idx="30"/>
          </p:nvPr>
        </p:nvSpPr>
        <p:spPr/>
        <p:txBody>
          <a:bodyPr/>
          <a:lstStyle/>
          <a:p>
            <a:fld id="{23B4EE02-26C1-487D-A2E9-4F765C15A577}" type="datetime5">
              <a:rPr lang="en-US" smtClean="0"/>
              <a:t>6-Oct-21</a:t>
            </a:fld>
            <a:endParaRPr lang="en-US"/>
          </a:p>
        </p:txBody>
      </p:sp>
      <p:sp>
        <p:nvSpPr>
          <p:cNvPr id="3" name="Footer Placeholder 2">
            <a:extLst>
              <a:ext uri="{FF2B5EF4-FFF2-40B4-BE49-F238E27FC236}">
                <a16:creationId xmlns:a16="http://schemas.microsoft.com/office/drawing/2014/main" id="{C7956A2A-A273-4213-956D-A82C498BE45E}"/>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2" name="Text Placeholder 15">
            <a:extLst>
              <a:ext uri="{FF2B5EF4-FFF2-40B4-BE49-F238E27FC236}">
                <a16:creationId xmlns:a16="http://schemas.microsoft.com/office/drawing/2014/main" id="{B22B632F-0E6C-41B5-A2ED-619CB5FC9183}"/>
              </a:ext>
            </a:extLst>
          </p:cNvPr>
          <p:cNvSpPr>
            <a:spLocks noGrp="1"/>
          </p:cNvSpPr>
          <p:nvPr>
            <p:ph type="body" sz="quarter" idx="29"/>
          </p:nvPr>
        </p:nvSpPr>
        <p:spPr bwMode="gray">
          <a:xfrm>
            <a:off x="380670" y="784272"/>
            <a:ext cx="6096527"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119079039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00C2784-335E-4A32-B278-D41B81C73AAF}" type="datetime5">
              <a:rPr lang="en-US" smtClean="0"/>
              <a:t>6-Oct-21</a:t>
            </a:fld>
            <a:endParaRPr lang="en-US"/>
          </a:p>
        </p:txBody>
      </p:sp>
      <p:sp>
        <p:nvSpPr>
          <p:cNvPr id="5" name="Footer Placeholder 4"/>
          <p:cNvSpPr>
            <a:spLocks noGrp="1"/>
          </p:cNvSpPr>
          <p:nvPr>
            <p:ph type="ftr" sz="quarter" idx="11"/>
          </p:nvPr>
        </p:nvSpPr>
        <p:spPr/>
        <p:txBody>
          <a:bodyPr/>
          <a:lstStyle/>
          <a:p>
            <a:r>
              <a:rPr lang="en-US"/>
              <a:t>FOOTER / PRESENTATION NAME</a:t>
            </a:r>
          </a:p>
        </p:txBody>
      </p:sp>
      <p:sp>
        <p:nvSpPr>
          <p:cNvPr id="6" name="Slide Number Placeholder 5"/>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10009299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477197" y="1"/>
            <a:ext cx="571480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Picture Placeholder 3"/>
          <p:cNvSpPr>
            <a:spLocks noGrp="1"/>
          </p:cNvSpPr>
          <p:nvPr>
            <p:ph type="pic" sz="quarter" idx="18"/>
          </p:nvPr>
        </p:nvSpPr>
        <p:spPr>
          <a:xfrm>
            <a:off x="5714978" y="1143349"/>
            <a:ext cx="4952234" cy="45723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2" name="Text Placeholder 11"/>
          <p:cNvSpPr>
            <a:spLocks noGrp="1"/>
          </p:cNvSpPr>
          <p:nvPr>
            <p:ph type="body" sz="quarter" idx="19"/>
          </p:nvPr>
        </p:nvSpPr>
        <p:spPr>
          <a:xfrm>
            <a:off x="760293" y="1524467"/>
            <a:ext cx="4192116"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4"/>
          </p:nvPr>
        </p:nvSpPr>
        <p:spPr/>
        <p:txBody>
          <a:bodyPr/>
          <a:lstStyle/>
          <a:p>
            <a:pPr>
              <a:defRPr/>
            </a:pPr>
            <a:fld id="{6955041E-0DD8-459A-A6C8-1308053EED11}" type="datetime5">
              <a:rPr lang="en-US" smtClean="0"/>
              <a:t>6-Oct-21</a:t>
            </a:fld>
            <a:endParaRPr lang="en-US" dirty="0"/>
          </a:p>
        </p:txBody>
      </p:sp>
      <p:sp>
        <p:nvSpPr>
          <p:cNvPr id="6" name="Footer Placeholder 5"/>
          <p:cNvSpPr>
            <a:spLocks noGrp="1"/>
          </p:cNvSpPr>
          <p:nvPr>
            <p:ph type="ftr" sz="quarter" idx="25"/>
          </p:nvPr>
        </p:nvSpPr>
        <p:spPr/>
        <p:txBody>
          <a:bodyPr/>
          <a:lstStyle/>
          <a:p>
            <a:pPr>
              <a:defRPr/>
            </a:pPr>
            <a:r>
              <a:rPr lang="en-US"/>
              <a:t>FOOTER / PRESENTATION NAME</a:t>
            </a:r>
            <a:endParaRPr lang="en-US" dirty="0"/>
          </a:p>
        </p:txBody>
      </p:sp>
      <p:sp>
        <p:nvSpPr>
          <p:cNvPr id="7" name="Slide Number Placeholder 6"/>
          <p:cNvSpPr>
            <a:spLocks noGrp="1"/>
          </p:cNvSpPr>
          <p:nvPr>
            <p:ph type="sldNum" sz="quarter" idx="26"/>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4192845889"/>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 2 Images (S)">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7238942" y="381455"/>
            <a:ext cx="4572407" cy="304754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6096394"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11" name="Picture Placeholder 3"/>
          <p:cNvSpPr>
            <a:spLocks noGrp="1"/>
          </p:cNvSpPr>
          <p:nvPr>
            <p:ph type="pic" sz="quarter" idx="23"/>
          </p:nvPr>
        </p:nvSpPr>
        <p:spPr bwMode="gray">
          <a:xfrm>
            <a:off x="7239592" y="3429002"/>
            <a:ext cx="4571758" cy="30479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D766EDC9-03D1-4091-B158-5A202037D7A7}"/>
              </a:ext>
            </a:extLst>
          </p:cNvPr>
          <p:cNvSpPr>
            <a:spLocks noGrp="1"/>
          </p:cNvSpPr>
          <p:nvPr>
            <p:ph type="title"/>
          </p:nvPr>
        </p:nvSpPr>
        <p:spPr>
          <a:xfrm>
            <a:off x="380673" y="381455"/>
            <a:ext cx="6096525" cy="380943"/>
          </a:xfrm>
        </p:spPr>
        <p:txBody>
          <a:bodyPr/>
          <a:lstStyle/>
          <a:p>
            <a:r>
              <a:rPr lang="en-US"/>
              <a:t>Click to edit Master title style</a:t>
            </a:r>
          </a:p>
        </p:txBody>
      </p:sp>
      <p:sp>
        <p:nvSpPr>
          <p:cNvPr id="2" name="Date Placeholder 1">
            <a:extLst>
              <a:ext uri="{FF2B5EF4-FFF2-40B4-BE49-F238E27FC236}">
                <a16:creationId xmlns:a16="http://schemas.microsoft.com/office/drawing/2014/main" id="{C0556352-B1B7-4996-95C4-C8CC0BAE3329}"/>
              </a:ext>
            </a:extLst>
          </p:cNvPr>
          <p:cNvSpPr>
            <a:spLocks noGrp="1"/>
          </p:cNvSpPr>
          <p:nvPr>
            <p:ph type="dt" sz="half" idx="30"/>
          </p:nvPr>
        </p:nvSpPr>
        <p:spPr/>
        <p:txBody>
          <a:bodyPr/>
          <a:lstStyle/>
          <a:p>
            <a:fld id="{E82FA46B-35DA-4B06-B8FE-ABBF45793048}" type="datetime5">
              <a:rPr lang="en-US" smtClean="0"/>
              <a:t>6-Oct-21</a:t>
            </a:fld>
            <a:endParaRPr lang="en-US"/>
          </a:p>
        </p:txBody>
      </p:sp>
      <p:sp>
        <p:nvSpPr>
          <p:cNvPr id="3" name="Footer Placeholder 2">
            <a:extLst>
              <a:ext uri="{FF2B5EF4-FFF2-40B4-BE49-F238E27FC236}">
                <a16:creationId xmlns:a16="http://schemas.microsoft.com/office/drawing/2014/main" id="{6AA4A238-EB94-4695-B096-A261F0D88447}"/>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3" name="Text Placeholder 15">
            <a:extLst>
              <a:ext uri="{FF2B5EF4-FFF2-40B4-BE49-F238E27FC236}">
                <a16:creationId xmlns:a16="http://schemas.microsoft.com/office/drawing/2014/main" id="{3C94E3D7-F386-4B34-AB31-0E8D9F4ABF43}"/>
              </a:ext>
            </a:extLst>
          </p:cNvPr>
          <p:cNvSpPr>
            <a:spLocks noGrp="1"/>
          </p:cNvSpPr>
          <p:nvPr>
            <p:ph type="body" sz="quarter" idx="29"/>
          </p:nvPr>
        </p:nvSpPr>
        <p:spPr bwMode="gray">
          <a:xfrm>
            <a:off x="380670" y="784272"/>
            <a:ext cx="6096527"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291676562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 4 Images (S)">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7239196" y="381455"/>
            <a:ext cx="2286395" cy="304842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1" name="Picture Placeholder 3"/>
          <p:cNvSpPr>
            <a:spLocks noGrp="1"/>
          </p:cNvSpPr>
          <p:nvPr>
            <p:ph type="pic" sz="quarter" idx="23"/>
          </p:nvPr>
        </p:nvSpPr>
        <p:spPr bwMode="gray">
          <a:xfrm>
            <a:off x="9525590" y="381455"/>
            <a:ext cx="2285758" cy="3047547"/>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bwMode="gray">
          <a:xfrm>
            <a:off x="7239196" y="3429002"/>
            <a:ext cx="2286395" cy="304793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bwMode="gray">
          <a:xfrm>
            <a:off x="9525590" y="3429001"/>
            <a:ext cx="2285758" cy="3048933"/>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6096394"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A35A2365-FCDD-467A-88B6-124DF709D9B1}"/>
              </a:ext>
            </a:extLst>
          </p:cNvPr>
          <p:cNvSpPr>
            <a:spLocks noGrp="1"/>
          </p:cNvSpPr>
          <p:nvPr>
            <p:ph type="title"/>
          </p:nvPr>
        </p:nvSpPr>
        <p:spPr>
          <a:xfrm>
            <a:off x="380673" y="381455"/>
            <a:ext cx="6096525" cy="380943"/>
          </a:xfrm>
        </p:spPr>
        <p:txBody>
          <a:bodyPr/>
          <a:lstStyle/>
          <a:p>
            <a:r>
              <a:rPr lang="en-US"/>
              <a:t>Click to edit Master title style</a:t>
            </a:r>
          </a:p>
        </p:txBody>
      </p:sp>
      <p:sp>
        <p:nvSpPr>
          <p:cNvPr id="2" name="Date Placeholder 1">
            <a:extLst>
              <a:ext uri="{FF2B5EF4-FFF2-40B4-BE49-F238E27FC236}">
                <a16:creationId xmlns:a16="http://schemas.microsoft.com/office/drawing/2014/main" id="{2DCB82FC-8D1A-4104-9C4E-A21C40F9C5B0}"/>
              </a:ext>
            </a:extLst>
          </p:cNvPr>
          <p:cNvSpPr>
            <a:spLocks noGrp="1"/>
          </p:cNvSpPr>
          <p:nvPr>
            <p:ph type="dt" sz="half" idx="30"/>
          </p:nvPr>
        </p:nvSpPr>
        <p:spPr/>
        <p:txBody>
          <a:bodyPr/>
          <a:lstStyle/>
          <a:p>
            <a:fld id="{40C7269B-2B63-4376-924D-56901CDB2602}" type="datetime5">
              <a:rPr lang="en-US" smtClean="0"/>
              <a:t>6-Oct-21</a:t>
            </a:fld>
            <a:endParaRPr lang="en-US"/>
          </a:p>
        </p:txBody>
      </p:sp>
      <p:sp>
        <p:nvSpPr>
          <p:cNvPr id="3" name="Footer Placeholder 2">
            <a:extLst>
              <a:ext uri="{FF2B5EF4-FFF2-40B4-BE49-F238E27FC236}">
                <a16:creationId xmlns:a16="http://schemas.microsoft.com/office/drawing/2014/main" id="{69C5D8D5-3D06-4B24-AF6B-60DE54052214}"/>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4" name="Text Placeholder 15">
            <a:extLst>
              <a:ext uri="{FF2B5EF4-FFF2-40B4-BE49-F238E27FC236}">
                <a16:creationId xmlns:a16="http://schemas.microsoft.com/office/drawing/2014/main" id="{B444F0F1-83F3-46A2-B21B-6FAD549A6EDC}"/>
              </a:ext>
            </a:extLst>
          </p:cNvPr>
          <p:cNvSpPr>
            <a:spLocks noGrp="1"/>
          </p:cNvSpPr>
          <p:nvPr>
            <p:ph type="body" sz="quarter" idx="29"/>
          </p:nvPr>
        </p:nvSpPr>
        <p:spPr bwMode="gray">
          <a:xfrm>
            <a:off x="380670" y="784272"/>
            <a:ext cx="6096527"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22694796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714804" y="381455"/>
            <a:ext cx="6096545" cy="6095091"/>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Text Placeholder 3"/>
          <p:cNvSpPr>
            <a:spLocks noGrp="1"/>
          </p:cNvSpPr>
          <p:nvPr>
            <p:ph type="body" sz="quarter" idx="18"/>
          </p:nvPr>
        </p:nvSpPr>
        <p:spPr bwMode="gray">
          <a:xfrm>
            <a:off x="380672" y="1524284"/>
            <a:ext cx="4572132" cy="4571483"/>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9" name="Slide Number Placeholder 8">
            <a:extLst>
              <a:ext uri="{FF2B5EF4-FFF2-40B4-BE49-F238E27FC236}">
                <a16:creationId xmlns:a16="http://schemas.microsoft.com/office/drawing/2014/main" id="{95237B40-96CE-407E-9B62-DBF5BCDCA0B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ACE61CAB-1CD3-40DC-9357-7B9E256CA5B2}"/>
              </a:ext>
            </a:extLst>
          </p:cNvPr>
          <p:cNvSpPr>
            <a:spLocks noGrp="1"/>
          </p:cNvSpPr>
          <p:nvPr>
            <p:ph type="title"/>
          </p:nvPr>
        </p:nvSpPr>
        <p:spPr>
          <a:xfrm>
            <a:off x="380672" y="381455"/>
            <a:ext cx="4572132" cy="380943"/>
          </a:xfrm>
        </p:spPr>
        <p:txBody>
          <a:bodyPr/>
          <a:lstStyle/>
          <a:p>
            <a:r>
              <a:rPr lang="en-US"/>
              <a:t>Click to edit Master title style</a:t>
            </a:r>
          </a:p>
        </p:txBody>
      </p:sp>
      <p:sp>
        <p:nvSpPr>
          <p:cNvPr id="2" name="Date Placeholder 1">
            <a:extLst>
              <a:ext uri="{FF2B5EF4-FFF2-40B4-BE49-F238E27FC236}">
                <a16:creationId xmlns:a16="http://schemas.microsoft.com/office/drawing/2014/main" id="{02F49623-D6E8-4FD8-AAA6-48512F1833AF}"/>
              </a:ext>
            </a:extLst>
          </p:cNvPr>
          <p:cNvSpPr>
            <a:spLocks noGrp="1"/>
          </p:cNvSpPr>
          <p:nvPr>
            <p:ph type="dt" sz="half" idx="30"/>
          </p:nvPr>
        </p:nvSpPr>
        <p:spPr/>
        <p:txBody>
          <a:bodyPr/>
          <a:lstStyle/>
          <a:p>
            <a:fld id="{ED41F8F4-FB7B-4CC6-8EB5-BDD4D3B8AA53}" type="datetime5">
              <a:rPr lang="en-US" smtClean="0"/>
              <a:t>6-Oct-21</a:t>
            </a:fld>
            <a:endParaRPr lang="en-US"/>
          </a:p>
        </p:txBody>
      </p:sp>
      <p:sp>
        <p:nvSpPr>
          <p:cNvPr id="3" name="Footer Placeholder 2">
            <a:extLst>
              <a:ext uri="{FF2B5EF4-FFF2-40B4-BE49-F238E27FC236}">
                <a16:creationId xmlns:a16="http://schemas.microsoft.com/office/drawing/2014/main" id="{2AEE9A4F-6859-49C5-BEE3-A08CC29FCE26}"/>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2" name="Text Placeholder 15">
            <a:extLst>
              <a:ext uri="{FF2B5EF4-FFF2-40B4-BE49-F238E27FC236}">
                <a16:creationId xmlns:a16="http://schemas.microsoft.com/office/drawing/2014/main" id="{9C3F0764-86DD-4CAC-8532-ABAA551BB6DA}"/>
              </a:ext>
            </a:extLst>
          </p:cNvPr>
          <p:cNvSpPr>
            <a:spLocks noGrp="1"/>
          </p:cNvSpPr>
          <p:nvPr>
            <p:ph type="body" sz="quarter" idx="29"/>
          </p:nvPr>
        </p:nvSpPr>
        <p:spPr bwMode="gray">
          <a:xfrm>
            <a:off x="380671" y="784272"/>
            <a:ext cx="4572133"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167738318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xt + 2 Images (M)">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5714068" y="381455"/>
            <a:ext cx="6097282" cy="304754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4572132"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11" name="Picture Placeholder 3"/>
          <p:cNvSpPr>
            <a:spLocks noGrp="1"/>
          </p:cNvSpPr>
          <p:nvPr>
            <p:ph type="pic" sz="quarter" idx="23"/>
          </p:nvPr>
        </p:nvSpPr>
        <p:spPr bwMode="gray">
          <a:xfrm>
            <a:off x="5714935" y="3429002"/>
            <a:ext cx="6096415" cy="30479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53C7E6E0-F836-4EAB-8A75-37AAF7FDD02F}"/>
              </a:ext>
            </a:extLst>
          </p:cNvPr>
          <p:cNvSpPr>
            <a:spLocks noGrp="1"/>
          </p:cNvSpPr>
          <p:nvPr>
            <p:ph type="title"/>
          </p:nvPr>
        </p:nvSpPr>
        <p:spPr>
          <a:xfrm>
            <a:off x="380672" y="381455"/>
            <a:ext cx="4572132" cy="380943"/>
          </a:xfrm>
        </p:spPr>
        <p:txBody>
          <a:bodyPr/>
          <a:lstStyle/>
          <a:p>
            <a:r>
              <a:rPr lang="en-US"/>
              <a:t>Click to edit Master title style</a:t>
            </a:r>
          </a:p>
        </p:txBody>
      </p:sp>
      <p:sp>
        <p:nvSpPr>
          <p:cNvPr id="2" name="Date Placeholder 1">
            <a:extLst>
              <a:ext uri="{FF2B5EF4-FFF2-40B4-BE49-F238E27FC236}">
                <a16:creationId xmlns:a16="http://schemas.microsoft.com/office/drawing/2014/main" id="{AD360260-EB3C-4A05-874E-6BB4FE9A35AA}"/>
              </a:ext>
            </a:extLst>
          </p:cNvPr>
          <p:cNvSpPr>
            <a:spLocks noGrp="1"/>
          </p:cNvSpPr>
          <p:nvPr>
            <p:ph type="dt" sz="half" idx="30"/>
          </p:nvPr>
        </p:nvSpPr>
        <p:spPr/>
        <p:txBody>
          <a:bodyPr/>
          <a:lstStyle/>
          <a:p>
            <a:fld id="{88F8F062-D6AB-491B-A3DF-F4E0A9E92126}" type="datetime5">
              <a:rPr lang="en-US" smtClean="0"/>
              <a:t>6-Oct-21</a:t>
            </a:fld>
            <a:endParaRPr lang="en-US"/>
          </a:p>
        </p:txBody>
      </p:sp>
      <p:sp>
        <p:nvSpPr>
          <p:cNvPr id="3" name="Footer Placeholder 2">
            <a:extLst>
              <a:ext uri="{FF2B5EF4-FFF2-40B4-BE49-F238E27FC236}">
                <a16:creationId xmlns:a16="http://schemas.microsoft.com/office/drawing/2014/main" id="{EE3356E6-58B4-4E8A-992C-DA8DBA4537F0}"/>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3" name="Text Placeholder 15">
            <a:extLst>
              <a:ext uri="{FF2B5EF4-FFF2-40B4-BE49-F238E27FC236}">
                <a16:creationId xmlns:a16="http://schemas.microsoft.com/office/drawing/2014/main" id="{C377903C-2A71-494B-BCBB-A6A16110065E}"/>
              </a:ext>
            </a:extLst>
          </p:cNvPr>
          <p:cNvSpPr>
            <a:spLocks noGrp="1"/>
          </p:cNvSpPr>
          <p:nvPr>
            <p:ph type="body" sz="quarter" idx="29"/>
          </p:nvPr>
        </p:nvSpPr>
        <p:spPr bwMode="gray">
          <a:xfrm>
            <a:off x="380671" y="784272"/>
            <a:ext cx="4572133"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309253926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ext + 4 Images (M)">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5714936" y="381455"/>
            <a:ext cx="3048525" cy="304842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1" name="Picture Placeholder 3"/>
          <p:cNvSpPr>
            <a:spLocks noGrp="1"/>
          </p:cNvSpPr>
          <p:nvPr>
            <p:ph type="pic" sz="quarter" idx="23"/>
          </p:nvPr>
        </p:nvSpPr>
        <p:spPr bwMode="gray">
          <a:xfrm>
            <a:off x="8763461" y="381455"/>
            <a:ext cx="3047888" cy="3047547"/>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bwMode="gray">
          <a:xfrm>
            <a:off x="5714934" y="3429002"/>
            <a:ext cx="3048525" cy="304793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bwMode="gray">
          <a:xfrm>
            <a:off x="8763459" y="3429001"/>
            <a:ext cx="3047890" cy="3048933"/>
          </a:xfrm>
          <a:solidFill>
            <a:schemeClr val="bg2"/>
          </a:solidFill>
        </p:spPr>
        <p:txBody>
          <a:bodyPr anchor="ctr"/>
          <a:lstStyle>
            <a:lvl1pPr algn="ctr">
              <a:defRPr sz="1058" b="0">
                <a:solidFill>
                  <a:schemeClr val="bg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4572131"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19FDA791-2B53-4DAE-A578-997573735556}"/>
              </a:ext>
            </a:extLst>
          </p:cNvPr>
          <p:cNvSpPr>
            <a:spLocks noGrp="1"/>
          </p:cNvSpPr>
          <p:nvPr>
            <p:ph type="title"/>
          </p:nvPr>
        </p:nvSpPr>
        <p:spPr>
          <a:xfrm>
            <a:off x="380672" y="381455"/>
            <a:ext cx="4572132" cy="380943"/>
          </a:xfrm>
        </p:spPr>
        <p:txBody>
          <a:bodyPr/>
          <a:lstStyle/>
          <a:p>
            <a:r>
              <a:rPr lang="en-US"/>
              <a:t>Click to edit Master title style</a:t>
            </a:r>
          </a:p>
        </p:txBody>
      </p:sp>
      <p:sp>
        <p:nvSpPr>
          <p:cNvPr id="3" name="Date Placeholder 2">
            <a:extLst>
              <a:ext uri="{FF2B5EF4-FFF2-40B4-BE49-F238E27FC236}">
                <a16:creationId xmlns:a16="http://schemas.microsoft.com/office/drawing/2014/main" id="{8585D6F7-F27C-4FF5-BB32-CFA80B2B0750}"/>
              </a:ext>
            </a:extLst>
          </p:cNvPr>
          <p:cNvSpPr>
            <a:spLocks noGrp="1"/>
          </p:cNvSpPr>
          <p:nvPr>
            <p:ph type="dt" sz="half" idx="30"/>
          </p:nvPr>
        </p:nvSpPr>
        <p:spPr/>
        <p:txBody>
          <a:bodyPr/>
          <a:lstStyle/>
          <a:p>
            <a:fld id="{31CF8D97-3933-4E42-B3B5-D7F728A5E0E3}" type="datetime5">
              <a:rPr lang="en-US" smtClean="0"/>
              <a:t>6-Oct-21</a:t>
            </a:fld>
            <a:endParaRPr lang="en-US"/>
          </a:p>
        </p:txBody>
      </p:sp>
      <p:sp>
        <p:nvSpPr>
          <p:cNvPr id="5" name="Footer Placeholder 4">
            <a:extLst>
              <a:ext uri="{FF2B5EF4-FFF2-40B4-BE49-F238E27FC236}">
                <a16:creationId xmlns:a16="http://schemas.microsoft.com/office/drawing/2014/main" id="{7DACAD67-F557-4ADE-81FD-4289E26802E5}"/>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4" name="Text Placeholder 15">
            <a:extLst>
              <a:ext uri="{FF2B5EF4-FFF2-40B4-BE49-F238E27FC236}">
                <a16:creationId xmlns:a16="http://schemas.microsoft.com/office/drawing/2014/main" id="{3612D3A3-A05C-41B1-B6A6-4FBFCC892119}"/>
              </a:ext>
            </a:extLst>
          </p:cNvPr>
          <p:cNvSpPr>
            <a:spLocks noGrp="1"/>
          </p:cNvSpPr>
          <p:nvPr>
            <p:ph type="body" sz="quarter" idx="29"/>
          </p:nvPr>
        </p:nvSpPr>
        <p:spPr bwMode="gray">
          <a:xfrm>
            <a:off x="380671" y="784272"/>
            <a:ext cx="4572133"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346760685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ext + Image (L)">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4190904" y="381455"/>
            <a:ext cx="7620445" cy="6095091"/>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Text Placeholder 3"/>
          <p:cNvSpPr>
            <a:spLocks noGrp="1"/>
          </p:cNvSpPr>
          <p:nvPr>
            <p:ph type="body" sz="quarter" idx="18"/>
          </p:nvPr>
        </p:nvSpPr>
        <p:spPr bwMode="gray">
          <a:xfrm>
            <a:off x="380672" y="1524284"/>
            <a:ext cx="3047870" cy="4571483"/>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9" name="Slide Number Placeholder 8">
            <a:extLst>
              <a:ext uri="{FF2B5EF4-FFF2-40B4-BE49-F238E27FC236}">
                <a16:creationId xmlns:a16="http://schemas.microsoft.com/office/drawing/2014/main" id="{95237B40-96CE-407E-9B62-DBF5BCDCA0BC}"/>
              </a:ext>
            </a:extLst>
          </p:cNvPr>
          <p:cNvSpPr>
            <a:spLocks noGrp="1"/>
          </p:cNvSpPr>
          <p:nvPr>
            <p:ph type="sldNum" sz="quarter" idx="21"/>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C6B79386-AA9E-4FAF-845D-D89611646265}"/>
              </a:ext>
            </a:extLst>
          </p:cNvPr>
          <p:cNvSpPr>
            <a:spLocks noGrp="1"/>
          </p:cNvSpPr>
          <p:nvPr>
            <p:ph type="title"/>
          </p:nvPr>
        </p:nvSpPr>
        <p:spPr>
          <a:xfrm>
            <a:off x="380672" y="381455"/>
            <a:ext cx="3047870" cy="380943"/>
          </a:xfrm>
        </p:spPr>
        <p:txBody>
          <a:bodyPr/>
          <a:lstStyle/>
          <a:p>
            <a:r>
              <a:rPr lang="en-US"/>
              <a:t>Click to edit Master title style</a:t>
            </a:r>
          </a:p>
        </p:txBody>
      </p:sp>
      <p:sp>
        <p:nvSpPr>
          <p:cNvPr id="3" name="Date Placeholder 2">
            <a:extLst>
              <a:ext uri="{FF2B5EF4-FFF2-40B4-BE49-F238E27FC236}">
                <a16:creationId xmlns:a16="http://schemas.microsoft.com/office/drawing/2014/main" id="{B7249BBC-123A-4F76-94A8-07D94D51A1F6}"/>
              </a:ext>
            </a:extLst>
          </p:cNvPr>
          <p:cNvSpPr>
            <a:spLocks noGrp="1"/>
          </p:cNvSpPr>
          <p:nvPr>
            <p:ph type="dt" sz="half" idx="30"/>
          </p:nvPr>
        </p:nvSpPr>
        <p:spPr/>
        <p:txBody>
          <a:bodyPr/>
          <a:lstStyle/>
          <a:p>
            <a:fld id="{84694A71-A2AB-4C4B-89A9-F7B9DDC91B67}" type="datetime5">
              <a:rPr lang="en-US" smtClean="0"/>
              <a:t>6-Oct-21</a:t>
            </a:fld>
            <a:endParaRPr lang="en-US"/>
          </a:p>
        </p:txBody>
      </p:sp>
      <p:sp>
        <p:nvSpPr>
          <p:cNvPr id="5" name="Footer Placeholder 4">
            <a:extLst>
              <a:ext uri="{FF2B5EF4-FFF2-40B4-BE49-F238E27FC236}">
                <a16:creationId xmlns:a16="http://schemas.microsoft.com/office/drawing/2014/main" id="{E385FF3D-D193-4372-9A64-46D5247451DD}"/>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1" name="Text Placeholder 15">
            <a:extLst>
              <a:ext uri="{FF2B5EF4-FFF2-40B4-BE49-F238E27FC236}">
                <a16:creationId xmlns:a16="http://schemas.microsoft.com/office/drawing/2014/main" id="{DD649011-4EDF-4409-BCC4-CB4C98BD5DFE}"/>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208745839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ext + 2 Images (L)">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4190673" y="381455"/>
            <a:ext cx="7620678" cy="304754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3047870"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11" name="Picture Placeholder 3"/>
          <p:cNvSpPr>
            <a:spLocks noGrp="1"/>
          </p:cNvSpPr>
          <p:nvPr>
            <p:ph type="pic" sz="quarter" idx="23"/>
          </p:nvPr>
        </p:nvSpPr>
        <p:spPr bwMode="gray">
          <a:xfrm>
            <a:off x="4191757" y="3429002"/>
            <a:ext cx="7619594" cy="30479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9" name="Slide Number Placeholder 8">
            <a:extLst>
              <a:ext uri="{FF2B5EF4-FFF2-40B4-BE49-F238E27FC236}">
                <a16:creationId xmlns:a16="http://schemas.microsoft.com/office/drawing/2014/main" id="{661A6E75-643E-46B3-B88A-A5C3C5966F93}"/>
              </a:ext>
            </a:extLst>
          </p:cNvPr>
          <p:cNvSpPr>
            <a:spLocks noGrp="1"/>
          </p:cNvSpPr>
          <p:nvPr>
            <p:ph type="sldNum" sz="quarter" idx="26"/>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2942EB9E-80E4-4C1F-8DBE-3215D10AEE4D}"/>
              </a:ext>
            </a:extLst>
          </p:cNvPr>
          <p:cNvSpPr>
            <a:spLocks noGrp="1"/>
          </p:cNvSpPr>
          <p:nvPr>
            <p:ph type="title"/>
          </p:nvPr>
        </p:nvSpPr>
        <p:spPr>
          <a:xfrm>
            <a:off x="380672" y="381455"/>
            <a:ext cx="3047870" cy="380943"/>
          </a:xfrm>
        </p:spPr>
        <p:txBody>
          <a:bodyPr/>
          <a:lstStyle/>
          <a:p>
            <a:r>
              <a:rPr lang="en-US"/>
              <a:t>Click to edit Master title style</a:t>
            </a:r>
          </a:p>
        </p:txBody>
      </p:sp>
      <p:sp>
        <p:nvSpPr>
          <p:cNvPr id="3" name="Date Placeholder 2">
            <a:extLst>
              <a:ext uri="{FF2B5EF4-FFF2-40B4-BE49-F238E27FC236}">
                <a16:creationId xmlns:a16="http://schemas.microsoft.com/office/drawing/2014/main" id="{129D6AFD-0772-4D1D-B3F6-1F9614A552EB}"/>
              </a:ext>
            </a:extLst>
          </p:cNvPr>
          <p:cNvSpPr>
            <a:spLocks noGrp="1"/>
          </p:cNvSpPr>
          <p:nvPr>
            <p:ph type="dt" sz="half" idx="30"/>
          </p:nvPr>
        </p:nvSpPr>
        <p:spPr/>
        <p:txBody>
          <a:bodyPr/>
          <a:lstStyle/>
          <a:p>
            <a:fld id="{D2DC10AE-A4AD-4464-A843-A934D348C1C0}" type="datetime5">
              <a:rPr lang="en-US" smtClean="0"/>
              <a:t>6-Oct-21</a:t>
            </a:fld>
            <a:endParaRPr lang="en-US"/>
          </a:p>
        </p:txBody>
      </p:sp>
      <p:sp>
        <p:nvSpPr>
          <p:cNvPr id="5" name="Footer Placeholder 4">
            <a:extLst>
              <a:ext uri="{FF2B5EF4-FFF2-40B4-BE49-F238E27FC236}">
                <a16:creationId xmlns:a16="http://schemas.microsoft.com/office/drawing/2014/main" id="{ED66306D-D554-4D9E-8050-628205AE9E2A}"/>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3" name="Text Placeholder 15">
            <a:extLst>
              <a:ext uri="{FF2B5EF4-FFF2-40B4-BE49-F238E27FC236}">
                <a16:creationId xmlns:a16="http://schemas.microsoft.com/office/drawing/2014/main" id="{A7DC90D1-2D2C-43CB-8BF0-3291E40E36AD}"/>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44837662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xt + 4 Images (L)">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4190672" y="381455"/>
            <a:ext cx="3810656" cy="304842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1" name="Picture Placeholder 3"/>
          <p:cNvSpPr>
            <a:spLocks noGrp="1"/>
          </p:cNvSpPr>
          <p:nvPr>
            <p:ph type="pic" sz="quarter" idx="23"/>
          </p:nvPr>
        </p:nvSpPr>
        <p:spPr bwMode="gray">
          <a:xfrm>
            <a:off x="8001327" y="381455"/>
            <a:ext cx="3810022" cy="3047547"/>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p:cNvSpPr>
            <a:spLocks noGrp="1"/>
          </p:cNvSpPr>
          <p:nvPr>
            <p:ph type="pic" sz="quarter" idx="24"/>
          </p:nvPr>
        </p:nvSpPr>
        <p:spPr bwMode="gray">
          <a:xfrm>
            <a:off x="4190671" y="3429002"/>
            <a:ext cx="3810656" cy="304793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5"/>
          </p:nvPr>
        </p:nvSpPr>
        <p:spPr bwMode="gray">
          <a:xfrm>
            <a:off x="8001327" y="3429001"/>
            <a:ext cx="3810022" cy="3048933"/>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3" y="1524284"/>
            <a:ext cx="3047868"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9" name="Slide Number Placeholder 8">
            <a:extLst>
              <a:ext uri="{FF2B5EF4-FFF2-40B4-BE49-F238E27FC236}">
                <a16:creationId xmlns:a16="http://schemas.microsoft.com/office/drawing/2014/main" id="{0BD2FC37-7699-4530-B64E-B5FF6758FD56}"/>
              </a:ext>
            </a:extLst>
          </p:cNvPr>
          <p:cNvSpPr>
            <a:spLocks noGrp="1"/>
          </p:cNvSpPr>
          <p:nvPr>
            <p:ph type="sldNum" sz="quarter" idx="28"/>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81A3DC29-C5DC-451B-84B7-2EE0A9733133}"/>
              </a:ext>
            </a:extLst>
          </p:cNvPr>
          <p:cNvSpPr>
            <a:spLocks noGrp="1"/>
          </p:cNvSpPr>
          <p:nvPr>
            <p:ph type="title"/>
          </p:nvPr>
        </p:nvSpPr>
        <p:spPr>
          <a:xfrm>
            <a:off x="380672" y="381455"/>
            <a:ext cx="3047870" cy="380943"/>
          </a:xfrm>
        </p:spPr>
        <p:txBody>
          <a:bodyPr/>
          <a:lstStyle/>
          <a:p>
            <a:r>
              <a:rPr lang="en-US"/>
              <a:t>Click to edit Master title style</a:t>
            </a:r>
          </a:p>
        </p:txBody>
      </p:sp>
      <p:sp>
        <p:nvSpPr>
          <p:cNvPr id="3" name="Date Placeholder 2">
            <a:extLst>
              <a:ext uri="{FF2B5EF4-FFF2-40B4-BE49-F238E27FC236}">
                <a16:creationId xmlns:a16="http://schemas.microsoft.com/office/drawing/2014/main" id="{6F5F9361-1CB1-42F1-BF5E-EDD74DDB25F9}"/>
              </a:ext>
            </a:extLst>
          </p:cNvPr>
          <p:cNvSpPr>
            <a:spLocks noGrp="1"/>
          </p:cNvSpPr>
          <p:nvPr>
            <p:ph type="dt" sz="half" idx="30"/>
          </p:nvPr>
        </p:nvSpPr>
        <p:spPr/>
        <p:txBody>
          <a:bodyPr/>
          <a:lstStyle/>
          <a:p>
            <a:fld id="{F0018566-CB42-4B60-AB83-BB8E0F7FDB0A}" type="datetime5">
              <a:rPr lang="en-US" smtClean="0"/>
              <a:t>6-Oct-21</a:t>
            </a:fld>
            <a:endParaRPr lang="en-US"/>
          </a:p>
        </p:txBody>
      </p:sp>
      <p:sp>
        <p:nvSpPr>
          <p:cNvPr id="5" name="Footer Placeholder 4">
            <a:extLst>
              <a:ext uri="{FF2B5EF4-FFF2-40B4-BE49-F238E27FC236}">
                <a16:creationId xmlns:a16="http://schemas.microsoft.com/office/drawing/2014/main" id="{1ED9E945-C7AF-4078-A5FE-8AB8568F4B78}"/>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4" name="Text Placeholder 15">
            <a:extLst>
              <a:ext uri="{FF2B5EF4-FFF2-40B4-BE49-F238E27FC236}">
                <a16:creationId xmlns:a16="http://schemas.microsoft.com/office/drawing/2014/main" id="{CDCA51DB-5EE5-40E5-8EEA-61691FDE0EB5}"/>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175679408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5714978" y="1"/>
            <a:ext cx="647702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4" name="Picture Placeholder 3"/>
          <p:cNvSpPr>
            <a:spLocks noGrp="1"/>
          </p:cNvSpPr>
          <p:nvPr>
            <p:ph type="pic" sz="quarter" idx="18"/>
          </p:nvPr>
        </p:nvSpPr>
        <p:spPr bwMode="gray">
          <a:xfrm>
            <a:off x="6477066" y="762235"/>
            <a:ext cx="3429722" cy="419123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2" name="Text Placeholder 11"/>
          <p:cNvSpPr>
            <a:spLocks noGrp="1"/>
          </p:cNvSpPr>
          <p:nvPr>
            <p:ph type="body" sz="quarter" idx="19"/>
          </p:nvPr>
        </p:nvSpPr>
        <p:spPr bwMode="gray">
          <a:xfrm>
            <a:off x="380672" y="1524284"/>
            <a:ext cx="4572259" cy="4571317"/>
          </a:xfrm>
        </p:spPr>
        <p:txBody>
          <a:bodyPr/>
          <a:lstStyle>
            <a:lvl1pPr>
              <a:defRPr b="0"/>
            </a:lvl1pPr>
            <a:lvl2pPr>
              <a:defRPr b="0"/>
            </a:lvl2pPr>
            <a:lvl3pPr>
              <a:defRPr b="0"/>
            </a:lvl3pPr>
            <a:lvl4pPr>
              <a:defRPr b="0"/>
            </a:lvl4pPr>
            <a:lvl5pPr>
              <a:defRPr b="0"/>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p>
        </p:txBody>
      </p:sp>
      <p:sp>
        <p:nvSpPr>
          <p:cNvPr id="9" name="Slide Number Placeholder 8">
            <a:extLst>
              <a:ext uri="{FF2B5EF4-FFF2-40B4-BE49-F238E27FC236}">
                <a16:creationId xmlns:a16="http://schemas.microsoft.com/office/drawing/2014/main" id="{B150DB46-6ADF-4AAA-AFF3-89A68F3489E8}"/>
              </a:ext>
            </a:extLst>
          </p:cNvPr>
          <p:cNvSpPr>
            <a:spLocks noGrp="1"/>
          </p:cNvSpPr>
          <p:nvPr>
            <p:ph type="sldNum" sz="quarter" idx="22"/>
          </p:nvPr>
        </p:nvSpPr>
        <p:spPr bwMode="gray"/>
        <p:txBody>
          <a:bodyPr/>
          <a:lstStyle/>
          <a:p>
            <a:pPr>
              <a:defRPr/>
            </a:pPr>
            <a:fld id="{66C8B3C2-955F-42B1-8DED-EE47D723596C}" type="slidenum">
              <a:rPr lang="en-US" noProof="0" smtClean="0"/>
              <a:pPr>
                <a:defRPr/>
              </a:pPr>
              <a:t>‹#›</a:t>
            </a:fld>
            <a:endParaRPr lang="en-US" noProof="0"/>
          </a:p>
        </p:txBody>
      </p:sp>
      <p:sp>
        <p:nvSpPr>
          <p:cNvPr id="2" name="Title 1">
            <a:extLst>
              <a:ext uri="{FF2B5EF4-FFF2-40B4-BE49-F238E27FC236}">
                <a16:creationId xmlns:a16="http://schemas.microsoft.com/office/drawing/2014/main" id="{3FA64B29-D9BD-4073-A9D2-216484A7CE42}"/>
              </a:ext>
            </a:extLst>
          </p:cNvPr>
          <p:cNvSpPr>
            <a:spLocks noGrp="1"/>
          </p:cNvSpPr>
          <p:nvPr>
            <p:ph type="title"/>
          </p:nvPr>
        </p:nvSpPr>
        <p:spPr>
          <a:xfrm>
            <a:off x="380672" y="381455"/>
            <a:ext cx="4572259" cy="38094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42653277-2878-4A38-A7F9-B5CCD381941B}"/>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1" name="Text Placeholder 15">
            <a:extLst>
              <a:ext uri="{FF2B5EF4-FFF2-40B4-BE49-F238E27FC236}">
                <a16:creationId xmlns:a16="http://schemas.microsoft.com/office/drawing/2014/main" id="{1D2BEBD5-F51C-4688-88AC-FFAF7BC818F7}"/>
              </a:ext>
            </a:extLst>
          </p:cNvPr>
          <p:cNvSpPr>
            <a:spLocks noGrp="1"/>
          </p:cNvSpPr>
          <p:nvPr>
            <p:ph type="body" sz="quarter" idx="29"/>
          </p:nvPr>
        </p:nvSpPr>
        <p:spPr bwMode="gray">
          <a:xfrm>
            <a:off x="380671" y="784272"/>
            <a:ext cx="3046950"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174402869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477066" y="381455"/>
            <a:ext cx="5334787" cy="5334245"/>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9" name="Slide Number Placeholder 8">
            <a:extLst>
              <a:ext uri="{FF2B5EF4-FFF2-40B4-BE49-F238E27FC236}">
                <a16:creationId xmlns:a16="http://schemas.microsoft.com/office/drawing/2014/main" id="{C24B1C9A-788D-4CFC-8317-79E132313D1E}"/>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5E2AB8A2-7F4C-4516-94E4-39422487270F}"/>
              </a:ext>
            </a:extLst>
          </p:cNvPr>
          <p:cNvSpPr>
            <a:spLocks noGrp="1"/>
          </p:cNvSpPr>
          <p:nvPr>
            <p:ph type="body" sz="quarter" idx="18"/>
          </p:nvPr>
        </p:nvSpPr>
        <p:spPr bwMode="gray">
          <a:xfrm>
            <a:off x="1142148" y="3809067"/>
            <a:ext cx="3048394"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9">
            <a:extLst>
              <a:ext uri="{FF2B5EF4-FFF2-40B4-BE49-F238E27FC236}">
                <a16:creationId xmlns:a16="http://schemas.microsoft.com/office/drawing/2014/main" id="{BC338D8D-474C-4D54-9AD6-37E614127D97}"/>
              </a:ext>
            </a:extLst>
          </p:cNvPr>
          <p:cNvSpPr>
            <a:spLocks noGrp="1"/>
          </p:cNvSpPr>
          <p:nvPr>
            <p:ph type="title" hasCustomPrompt="1"/>
          </p:nvPr>
        </p:nvSpPr>
        <p:spPr bwMode="gray">
          <a:xfrm>
            <a:off x="1142149" y="381455"/>
            <a:ext cx="4572786" cy="3427612"/>
          </a:xfrm>
        </p:spPr>
        <p:txBody>
          <a:bodyPr bIns="144000" anchor="b"/>
          <a:lstStyle>
            <a:lvl1pPr>
              <a:lnSpc>
                <a:spcPct val="75000"/>
              </a:lnSpc>
              <a:defRPr sz="6349" baseline="0"/>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four lines </a:t>
            </a:r>
            <a:br>
              <a:rPr lang="en-US"/>
            </a:br>
            <a:r>
              <a:rPr lang="en-US"/>
              <a:t>or less.</a:t>
            </a:r>
          </a:p>
        </p:txBody>
      </p:sp>
      <p:sp>
        <p:nvSpPr>
          <p:cNvPr id="2" name="Date Placeholder 1">
            <a:extLst>
              <a:ext uri="{FF2B5EF4-FFF2-40B4-BE49-F238E27FC236}">
                <a16:creationId xmlns:a16="http://schemas.microsoft.com/office/drawing/2014/main" id="{0DC3981A-8D56-4030-B542-A89800A108E4}"/>
              </a:ext>
            </a:extLst>
          </p:cNvPr>
          <p:cNvSpPr>
            <a:spLocks noGrp="1"/>
          </p:cNvSpPr>
          <p:nvPr>
            <p:ph type="dt" sz="half" idx="19"/>
          </p:nvPr>
        </p:nvSpPr>
        <p:spPr/>
        <p:txBody>
          <a:bodyPr/>
          <a:lstStyle/>
          <a:p>
            <a:fld id="{B7CB738E-88AC-4326-BC1C-EF4F0E12696C}" type="datetime5">
              <a:rPr lang="en-US" smtClean="0"/>
              <a:t>6-Oct-21</a:t>
            </a:fld>
            <a:endParaRPr lang="en-US"/>
          </a:p>
        </p:txBody>
      </p:sp>
      <p:sp>
        <p:nvSpPr>
          <p:cNvPr id="3" name="Footer Placeholder 2">
            <a:extLst>
              <a:ext uri="{FF2B5EF4-FFF2-40B4-BE49-F238E27FC236}">
                <a16:creationId xmlns:a16="http://schemas.microsoft.com/office/drawing/2014/main" id="{731C44BC-0E99-4375-A74B-9998BD9CD45B}"/>
              </a:ext>
            </a:extLst>
          </p:cNvPr>
          <p:cNvSpPr>
            <a:spLocks noGrp="1"/>
          </p:cNvSpPr>
          <p:nvPr>
            <p:ph type="ftr" sz="quarter" idx="20"/>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267760351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ext + Image (2)">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Picture Placeholder 3"/>
          <p:cNvSpPr>
            <a:spLocks noGrp="1"/>
          </p:cNvSpPr>
          <p:nvPr>
            <p:ph type="pic" sz="quarter" idx="18"/>
          </p:nvPr>
        </p:nvSpPr>
        <p:spPr>
          <a:xfrm>
            <a:off x="6857344" y="525"/>
            <a:ext cx="5334655" cy="3428477"/>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2" name="Text Placeholder 11"/>
          <p:cNvSpPr>
            <a:spLocks noGrp="1"/>
          </p:cNvSpPr>
          <p:nvPr>
            <p:ph type="body" sz="quarter" idx="19"/>
          </p:nvPr>
        </p:nvSpPr>
        <p:spPr>
          <a:xfrm>
            <a:off x="760293" y="1524467"/>
            <a:ext cx="5335707"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Picture Placeholder 3"/>
          <p:cNvSpPr>
            <a:spLocks noGrp="1"/>
          </p:cNvSpPr>
          <p:nvPr>
            <p:ph type="pic" sz="quarter" idx="23"/>
          </p:nvPr>
        </p:nvSpPr>
        <p:spPr>
          <a:xfrm>
            <a:off x="6858045" y="3429002"/>
            <a:ext cx="5333956" cy="3428474"/>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7" name="Date Placeholder 6"/>
          <p:cNvSpPr>
            <a:spLocks noGrp="1"/>
          </p:cNvSpPr>
          <p:nvPr>
            <p:ph type="dt" sz="half" idx="25"/>
          </p:nvPr>
        </p:nvSpPr>
        <p:spPr/>
        <p:txBody>
          <a:bodyPr/>
          <a:lstStyle/>
          <a:p>
            <a:pPr>
              <a:defRPr/>
            </a:pPr>
            <a:fld id="{52D9BC91-E7DE-4CF6-8D7E-E12F24CFC172}" type="datetime5">
              <a:rPr lang="en-US" smtClean="0"/>
              <a:t>6-Oct-21</a:t>
            </a:fld>
            <a:endParaRPr lang="en-US" dirty="0"/>
          </a:p>
        </p:txBody>
      </p:sp>
      <p:sp>
        <p:nvSpPr>
          <p:cNvPr id="8" name="Footer Placeholder 7"/>
          <p:cNvSpPr>
            <a:spLocks noGrp="1"/>
          </p:cNvSpPr>
          <p:nvPr>
            <p:ph type="ftr" sz="quarter" idx="26"/>
          </p:nvPr>
        </p:nvSpPr>
        <p:spPr/>
        <p:txBody>
          <a:bodyPr/>
          <a:lstStyle/>
          <a:p>
            <a:pPr>
              <a:defRPr/>
            </a:pPr>
            <a:r>
              <a:rPr lang="en-US"/>
              <a:t>FOOTER / PRESENTATION NAME</a:t>
            </a:r>
            <a:endParaRPr lang="en-US" dirty="0"/>
          </a:p>
        </p:txBody>
      </p:sp>
      <p:sp>
        <p:nvSpPr>
          <p:cNvPr id="9" name="Slide Number Placeholder 8"/>
          <p:cNvSpPr>
            <a:spLocks noGrp="1"/>
          </p:cNvSpPr>
          <p:nvPr>
            <p:ph type="sldNum" sz="quarter" idx="27"/>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859630520"/>
      </p:ext>
    </p:extLst>
  </p:cSld>
  <p:clrMapOvr>
    <a:masterClrMapping/>
  </p:clrMapOvr>
  <p:transition spd="med">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380017" y="381455"/>
            <a:ext cx="5332554" cy="5334245"/>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20000"/>
              <a:lumOff val="80000"/>
            </a:schemeClr>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9" name="Slide Number Placeholder 8">
            <a:extLst>
              <a:ext uri="{FF2B5EF4-FFF2-40B4-BE49-F238E27FC236}">
                <a16:creationId xmlns:a16="http://schemas.microsoft.com/office/drawing/2014/main" id="{509F7262-9874-419F-BE73-49CBA2C232EB}"/>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6" name="Text Placeholder 17">
            <a:extLst>
              <a:ext uri="{FF2B5EF4-FFF2-40B4-BE49-F238E27FC236}">
                <a16:creationId xmlns:a16="http://schemas.microsoft.com/office/drawing/2014/main" id="{2C29CA4E-694A-489A-87E6-41246D4F2FB6}"/>
              </a:ext>
            </a:extLst>
          </p:cNvPr>
          <p:cNvSpPr>
            <a:spLocks noGrp="1"/>
          </p:cNvSpPr>
          <p:nvPr>
            <p:ph type="body" sz="quarter" idx="18"/>
          </p:nvPr>
        </p:nvSpPr>
        <p:spPr bwMode="gray">
          <a:xfrm>
            <a:off x="6477065" y="3809067"/>
            <a:ext cx="3047956"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9">
            <a:extLst>
              <a:ext uri="{FF2B5EF4-FFF2-40B4-BE49-F238E27FC236}">
                <a16:creationId xmlns:a16="http://schemas.microsoft.com/office/drawing/2014/main" id="{CDED2062-D0C2-4D1A-903A-A6327F90DD22}"/>
              </a:ext>
            </a:extLst>
          </p:cNvPr>
          <p:cNvSpPr>
            <a:spLocks noGrp="1"/>
          </p:cNvSpPr>
          <p:nvPr>
            <p:ph type="title" hasCustomPrompt="1"/>
          </p:nvPr>
        </p:nvSpPr>
        <p:spPr bwMode="gray">
          <a:xfrm>
            <a:off x="6477066" y="381455"/>
            <a:ext cx="4953945" cy="3427612"/>
          </a:xfrm>
        </p:spPr>
        <p:txBody>
          <a:bodyPr bIns="144000" anchor="b"/>
          <a:lstStyle>
            <a:lvl1pPr>
              <a:lnSpc>
                <a:spcPct val="75000"/>
              </a:lnSpc>
              <a:defRPr sz="6349" baseline="0"/>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four lines </a:t>
            </a:r>
            <a:br>
              <a:rPr lang="en-US"/>
            </a:br>
            <a:r>
              <a:rPr lang="en-US"/>
              <a:t>or less.</a:t>
            </a:r>
          </a:p>
        </p:txBody>
      </p:sp>
      <p:sp>
        <p:nvSpPr>
          <p:cNvPr id="2" name="Date Placeholder 1">
            <a:extLst>
              <a:ext uri="{FF2B5EF4-FFF2-40B4-BE49-F238E27FC236}">
                <a16:creationId xmlns:a16="http://schemas.microsoft.com/office/drawing/2014/main" id="{4EDEC021-D508-4D59-B963-16B119DB9C65}"/>
              </a:ext>
            </a:extLst>
          </p:cNvPr>
          <p:cNvSpPr>
            <a:spLocks noGrp="1"/>
          </p:cNvSpPr>
          <p:nvPr>
            <p:ph type="dt" sz="half" idx="19"/>
          </p:nvPr>
        </p:nvSpPr>
        <p:spPr/>
        <p:txBody>
          <a:bodyPr/>
          <a:lstStyle/>
          <a:p>
            <a:fld id="{3EE21AEB-1504-42F9-9496-A64848A26262}" type="datetime5">
              <a:rPr lang="en-US" smtClean="0"/>
              <a:t>6-Oct-21</a:t>
            </a:fld>
            <a:endParaRPr lang="en-US"/>
          </a:p>
        </p:txBody>
      </p:sp>
      <p:sp>
        <p:nvSpPr>
          <p:cNvPr id="3" name="Footer Placeholder 2">
            <a:extLst>
              <a:ext uri="{FF2B5EF4-FFF2-40B4-BE49-F238E27FC236}">
                <a16:creationId xmlns:a16="http://schemas.microsoft.com/office/drawing/2014/main" id="{A7BCB0AF-6118-424F-9D62-0AA8A3CF2319}"/>
              </a:ext>
            </a:extLst>
          </p:cNvPr>
          <p:cNvSpPr>
            <a:spLocks noGrp="1"/>
          </p:cNvSpPr>
          <p:nvPr>
            <p:ph type="ftr" sz="quarter" idx="20"/>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203524813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6" name="Picture Placeholder 5"/>
          <p:cNvSpPr>
            <a:spLocks noGrp="1"/>
          </p:cNvSpPr>
          <p:nvPr>
            <p:ph type="pic" sz="quarter" idx="22"/>
          </p:nvPr>
        </p:nvSpPr>
        <p:spPr bwMode="gray">
          <a:xfrm>
            <a:off x="380016" y="762234"/>
            <a:ext cx="5334918" cy="4190707"/>
          </a:xfrm>
          <a:solidFill>
            <a:schemeClr val="bg2">
              <a:lumMod val="20000"/>
              <a:lumOff val="80000"/>
            </a:schemeClr>
          </a:solidFill>
        </p:spPr>
        <p:txBody>
          <a:bodyPr tIns="0" anchor="ctr"/>
          <a:lstStyle>
            <a:lvl1pPr algn="ctr">
              <a:defRPr sz="1058" b="0">
                <a:solidFill>
                  <a:schemeClr val="tx1"/>
                </a:solidFill>
              </a:defRPr>
            </a:lvl1pPr>
          </a:lstStyle>
          <a:p>
            <a:r>
              <a:rPr lang="en-US" noProof="0"/>
              <a:t>Click icon to add picture</a:t>
            </a:r>
          </a:p>
        </p:txBody>
      </p:sp>
      <p:sp>
        <p:nvSpPr>
          <p:cNvPr id="11" name="Slide Number Placeholder 10">
            <a:extLst>
              <a:ext uri="{FF2B5EF4-FFF2-40B4-BE49-F238E27FC236}">
                <a16:creationId xmlns:a16="http://schemas.microsoft.com/office/drawing/2014/main" id="{3EE2FF6B-3040-4FCE-B748-5610D5FA500B}"/>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AB6537AA-A6B5-4595-AD40-B6605C22E2AE}"/>
              </a:ext>
            </a:extLst>
          </p:cNvPr>
          <p:cNvSpPr>
            <a:spLocks noGrp="1"/>
          </p:cNvSpPr>
          <p:nvPr>
            <p:ph type="body" sz="quarter" idx="18"/>
          </p:nvPr>
        </p:nvSpPr>
        <p:spPr bwMode="gray">
          <a:xfrm>
            <a:off x="8763459" y="4190970"/>
            <a:ext cx="2666824" cy="190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4">
            <a:extLst>
              <a:ext uri="{FF2B5EF4-FFF2-40B4-BE49-F238E27FC236}">
                <a16:creationId xmlns:a16="http://schemas.microsoft.com/office/drawing/2014/main" id="{DDE36620-5EF8-4F63-A9D6-C979933452FB}"/>
              </a:ext>
            </a:extLst>
          </p:cNvPr>
          <p:cNvSpPr>
            <a:spLocks noGrp="1"/>
          </p:cNvSpPr>
          <p:nvPr>
            <p:ph type="title" hasCustomPrompt="1"/>
          </p:nvPr>
        </p:nvSpPr>
        <p:spPr bwMode="gray">
          <a:xfrm>
            <a:off x="4952804" y="1524073"/>
            <a:ext cx="5714408" cy="2285912"/>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three lines or less.</a:t>
            </a:r>
          </a:p>
        </p:txBody>
      </p:sp>
      <p:sp>
        <p:nvSpPr>
          <p:cNvPr id="2" name="Date Placeholder 1">
            <a:extLst>
              <a:ext uri="{FF2B5EF4-FFF2-40B4-BE49-F238E27FC236}">
                <a16:creationId xmlns:a16="http://schemas.microsoft.com/office/drawing/2014/main" id="{4B307CB1-9C07-4C76-BE41-9A5C60C3739A}"/>
              </a:ext>
            </a:extLst>
          </p:cNvPr>
          <p:cNvSpPr>
            <a:spLocks noGrp="1"/>
          </p:cNvSpPr>
          <p:nvPr>
            <p:ph type="dt" sz="half" idx="26"/>
          </p:nvPr>
        </p:nvSpPr>
        <p:spPr/>
        <p:txBody>
          <a:bodyPr/>
          <a:lstStyle/>
          <a:p>
            <a:fld id="{53F9E99A-B6C2-4A77-9591-2811E911FFC8}" type="datetime5">
              <a:rPr lang="en-US" smtClean="0"/>
              <a:t>6-Oct-21</a:t>
            </a:fld>
            <a:endParaRPr lang="en-US"/>
          </a:p>
        </p:txBody>
      </p:sp>
      <p:sp>
        <p:nvSpPr>
          <p:cNvPr id="3" name="Footer Placeholder 2">
            <a:extLst>
              <a:ext uri="{FF2B5EF4-FFF2-40B4-BE49-F238E27FC236}">
                <a16:creationId xmlns:a16="http://schemas.microsoft.com/office/drawing/2014/main" id="{9EBBFFDC-17E1-44A8-9284-A1A6702799E1}"/>
              </a:ext>
            </a:extLst>
          </p:cNvPr>
          <p:cNvSpPr>
            <a:spLocks noGrp="1"/>
          </p:cNvSpPr>
          <p:nvPr>
            <p:ph type="ftr" sz="quarter" idx="27"/>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2332556164"/>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6" name="Picture Placeholder 5"/>
          <p:cNvSpPr>
            <a:spLocks noGrp="1"/>
          </p:cNvSpPr>
          <p:nvPr>
            <p:ph type="pic" sz="quarter" idx="22"/>
          </p:nvPr>
        </p:nvSpPr>
        <p:spPr bwMode="gray">
          <a:xfrm>
            <a:off x="380016" y="762234"/>
            <a:ext cx="3810656" cy="4190707"/>
          </a:xfrm>
          <a:solidFill>
            <a:schemeClr val="bg2">
              <a:lumMod val="20000"/>
              <a:lumOff val="80000"/>
            </a:schemeClr>
          </a:solidFill>
        </p:spPr>
        <p:txBody>
          <a:bodyPr tIns="0" anchor="ctr"/>
          <a:lstStyle>
            <a:lvl1pPr algn="ctr">
              <a:defRPr sz="1058" b="0">
                <a:solidFill>
                  <a:schemeClr val="tx1"/>
                </a:solidFill>
              </a:defRPr>
            </a:lvl1pPr>
          </a:lstStyle>
          <a:p>
            <a:r>
              <a:rPr lang="en-US" noProof="0"/>
              <a:t>Click icon to add picture</a:t>
            </a:r>
          </a:p>
        </p:txBody>
      </p:sp>
      <p:sp>
        <p:nvSpPr>
          <p:cNvPr id="11" name="Slide Number Placeholder 10">
            <a:extLst>
              <a:ext uri="{FF2B5EF4-FFF2-40B4-BE49-F238E27FC236}">
                <a16:creationId xmlns:a16="http://schemas.microsoft.com/office/drawing/2014/main" id="{3EE2FF6B-3040-4FCE-B748-5610D5FA500B}"/>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7">
            <a:extLst>
              <a:ext uri="{FF2B5EF4-FFF2-40B4-BE49-F238E27FC236}">
                <a16:creationId xmlns:a16="http://schemas.microsoft.com/office/drawing/2014/main" id="{AB6537AA-A6B5-4595-AD40-B6605C22E2AE}"/>
              </a:ext>
            </a:extLst>
          </p:cNvPr>
          <p:cNvSpPr>
            <a:spLocks noGrp="1"/>
          </p:cNvSpPr>
          <p:nvPr>
            <p:ph type="body" sz="quarter" idx="18"/>
          </p:nvPr>
        </p:nvSpPr>
        <p:spPr bwMode="gray">
          <a:xfrm>
            <a:off x="8763459" y="4190970"/>
            <a:ext cx="2666824" cy="1904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4">
            <a:extLst>
              <a:ext uri="{FF2B5EF4-FFF2-40B4-BE49-F238E27FC236}">
                <a16:creationId xmlns:a16="http://schemas.microsoft.com/office/drawing/2014/main" id="{03E54861-3EA4-4688-A090-54FC7F40A6BA}"/>
              </a:ext>
            </a:extLst>
          </p:cNvPr>
          <p:cNvSpPr>
            <a:spLocks noGrp="1"/>
          </p:cNvSpPr>
          <p:nvPr>
            <p:ph type="title" hasCustomPrompt="1"/>
          </p:nvPr>
        </p:nvSpPr>
        <p:spPr bwMode="gray">
          <a:xfrm>
            <a:off x="3428541" y="1524073"/>
            <a:ext cx="4572217" cy="4190839"/>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several lines. Even fill </a:t>
            </a:r>
            <a:br>
              <a:rPr lang="en-US"/>
            </a:br>
            <a:r>
              <a:rPr lang="en-US"/>
              <a:t>this textbox completely</a:t>
            </a:r>
          </a:p>
        </p:txBody>
      </p:sp>
      <p:sp>
        <p:nvSpPr>
          <p:cNvPr id="2" name="Date Placeholder 1">
            <a:extLst>
              <a:ext uri="{FF2B5EF4-FFF2-40B4-BE49-F238E27FC236}">
                <a16:creationId xmlns:a16="http://schemas.microsoft.com/office/drawing/2014/main" id="{FB520207-8A9B-41BF-957C-99C2F143F76A}"/>
              </a:ext>
            </a:extLst>
          </p:cNvPr>
          <p:cNvSpPr>
            <a:spLocks noGrp="1"/>
          </p:cNvSpPr>
          <p:nvPr>
            <p:ph type="dt" sz="half" idx="26"/>
          </p:nvPr>
        </p:nvSpPr>
        <p:spPr/>
        <p:txBody>
          <a:bodyPr/>
          <a:lstStyle/>
          <a:p>
            <a:fld id="{FFBB9A83-BB92-4F98-99AA-7A0E85CA2A7F}" type="datetime5">
              <a:rPr lang="en-US" smtClean="0"/>
              <a:t>6-Oct-21</a:t>
            </a:fld>
            <a:endParaRPr lang="en-US"/>
          </a:p>
        </p:txBody>
      </p:sp>
      <p:sp>
        <p:nvSpPr>
          <p:cNvPr id="3" name="Footer Placeholder 2">
            <a:extLst>
              <a:ext uri="{FF2B5EF4-FFF2-40B4-BE49-F238E27FC236}">
                <a16:creationId xmlns:a16="http://schemas.microsoft.com/office/drawing/2014/main" id="{D5D113E5-602B-4D67-A76A-4D55A14DE09E}"/>
              </a:ext>
            </a:extLst>
          </p:cNvPr>
          <p:cNvSpPr>
            <a:spLocks noGrp="1"/>
          </p:cNvSpPr>
          <p:nvPr>
            <p:ph type="ftr" sz="quarter" idx="27"/>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173086515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0" anchor="ctr" anchorCtr="0"/>
          <a:lstStyle>
            <a:lvl1pPr algn="ctr">
              <a:lnSpc>
                <a:spcPct val="100000"/>
              </a:lnSpc>
              <a:spcAft>
                <a:spcPts val="0"/>
              </a:spcAft>
              <a:defRPr sz="1058" b="0">
                <a:solidFill>
                  <a:schemeClr val="tx1"/>
                </a:solidFill>
              </a:defRPr>
            </a:lvl1pPr>
          </a:lstStyle>
          <a:p>
            <a:pPr lvl="0"/>
            <a:r>
              <a:rPr lang="en-US" noProof="0"/>
              <a:t>Click icon to add picture</a:t>
            </a:r>
          </a:p>
        </p:txBody>
      </p:sp>
      <p:sp>
        <p:nvSpPr>
          <p:cNvPr id="8" name="Slide Number Placeholder 7">
            <a:extLst>
              <a:ext uri="{FF2B5EF4-FFF2-40B4-BE49-F238E27FC236}">
                <a16:creationId xmlns:a16="http://schemas.microsoft.com/office/drawing/2014/main" id="{AEDCCE28-19A7-435F-8D59-90A8A4024C83}"/>
              </a:ext>
            </a:extLst>
          </p:cNvPr>
          <p:cNvSpPr>
            <a:spLocks noGrp="1"/>
          </p:cNvSpPr>
          <p:nvPr>
            <p:ph type="sldNum" sz="quarter" idx="17"/>
          </p:nvPr>
        </p:nvSpPr>
        <p:spPr bwMode="gray"/>
        <p:txBody>
          <a:bodyPr/>
          <a:lstStyle/>
          <a:p>
            <a:pPr>
              <a:defRPr/>
            </a:pPr>
            <a:fld id="{66C8B3C2-955F-42B1-8DED-EE47D723596C}" type="slidenum">
              <a:rPr lang="en-US" noProof="0" smtClean="0"/>
              <a:pPr>
                <a:defRPr/>
              </a:pPr>
              <a:t>‹#›</a:t>
            </a:fld>
            <a:endParaRPr lang="en-US" noProof="0"/>
          </a:p>
        </p:txBody>
      </p:sp>
      <p:sp>
        <p:nvSpPr>
          <p:cNvPr id="14" name="Text Placeholder 17">
            <a:extLst>
              <a:ext uri="{FF2B5EF4-FFF2-40B4-BE49-F238E27FC236}">
                <a16:creationId xmlns:a16="http://schemas.microsoft.com/office/drawing/2014/main" id="{60158A3D-6DBE-4CAA-A5BB-CC6CB67064FE}"/>
              </a:ext>
            </a:extLst>
          </p:cNvPr>
          <p:cNvSpPr>
            <a:spLocks noGrp="1"/>
          </p:cNvSpPr>
          <p:nvPr>
            <p:ph type="body" sz="quarter" idx="18"/>
          </p:nvPr>
        </p:nvSpPr>
        <p:spPr bwMode="gray">
          <a:xfrm>
            <a:off x="1142716" y="4189264"/>
            <a:ext cx="3047956"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4">
            <a:extLst>
              <a:ext uri="{FF2B5EF4-FFF2-40B4-BE49-F238E27FC236}">
                <a16:creationId xmlns:a16="http://schemas.microsoft.com/office/drawing/2014/main" id="{4A1DF06B-D9DA-44AA-B35B-6C3917A718B0}"/>
              </a:ext>
            </a:extLst>
          </p:cNvPr>
          <p:cNvSpPr>
            <a:spLocks noGrp="1"/>
          </p:cNvSpPr>
          <p:nvPr>
            <p:ph type="title" hasCustomPrompt="1"/>
          </p:nvPr>
        </p:nvSpPr>
        <p:spPr bwMode="gray">
          <a:xfrm>
            <a:off x="1142717" y="761653"/>
            <a:ext cx="4953282" cy="3427610"/>
          </a:xfrm>
        </p:spPr>
        <p:txBody>
          <a:bodyPr bIns="144000" anchor="b"/>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over four lines </a:t>
            </a:r>
            <a:br>
              <a:rPr lang="en-US"/>
            </a:br>
            <a:r>
              <a:rPr lang="en-US"/>
              <a:t>or less.</a:t>
            </a:r>
          </a:p>
        </p:txBody>
      </p:sp>
      <p:sp>
        <p:nvSpPr>
          <p:cNvPr id="2" name="Date Placeholder 1">
            <a:extLst>
              <a:ext uri="{FF2B5EF4-FFF2-40B4-BE49-F238E27FC236}">
                <a16:creationId xmlns:a16="http://schemas.microsoft.com/office/drawing/2014/main" id="{DF8DCDA5-2056-4D83-AF51-01B29A23DBF9}"/>
              </a:ext>
            </a:extLst>
          </p:cNvPr>
          <p:cNvSpPr>
            <a:spLocks noGrp="1"/>
          </p:cNvSpPr>
          <p:nvPr>
            <p:ph type="dt" sz="half" idx="19"/>
          </p:nvPr>
        </p:nvSpPr>
        <p:spPr/>
        <p:txBody>
          <a:bodyPr/>
          <a:lstStyle/>
          <a:p>
            <a:fld id="{AD8B8962-512A-47FD-AFEF-A6E8A103D33E}" type="datetime5">
              <a:rPr lang="en-US" smtClean="0"/>
              <a:t>6-Oct-21</a:t>
            </a:fld>
            <a:endParaRPr lang="en-US"/>
          </a:p>
        </p:txBody>
      </p:sp>
      <p:sp>
        <p:nvSpPr>
          <p:cNvPr id="3" name="Footer Placeholder 2">
            <a:extLst>
              <a:ext uri="{FF2B5EF4-FFF2-40B4-BE49-F238E27FC236}">
                <a16:creationId xmlns:a16="http://schemas.microsoft.com/office/drawing/2014/main" id="{9263C27A-EFC2-42D3-AAF0-98850DEB6775}"/>
              </a:ext>
            </a:extLst>
          </p:cNvPr>
          <p:cNvSpPr>
            <a:spLocks noGrp="1"/>
          </p:cNvSpPr>
          <p:nvPr>
            <p:ph type="ftr" sz="quarter" idx="20"/>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2778575693"/>
      </p:ext>
    </p:extLst>
  </p:cSld>
  <p:clrMapOvr>
    <a:masterClrMapping/>
  </p:clrMapOvr>
  <p:transition>
    <p:fade/>
  </p:transition>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380671" y="381455"/>
            <a:ext cx="3047871" cy="609542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bwMode="gray">
          <a:xfrm>
            <a:off x="3428543" y="381455"/>
            <a:ext cx="3047650" cy="3047544"/>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bwMode="gray">
          <a:xfrm>
            <a:off x="3428543" y="3429000"/>
            <a:ext cx="3047650" cy="3047544"/>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4" name="Picture Placeholder 3"/>
          <p:cNvSpPr>
            <a:spLocks noGrp="1"/>
          </p:cNvSpPr>
          <p:nvPr>
            <p:ph type="pic" sz="quarter" idx="28"/>
          </p:nvPr>
        </p:nvSpPr>
        <p:spPr bwMode="gray">
          <a:xfrm>
            <a:off x="6476192" y="381455"/>
            <a:ext cx="5335157" cy="6095089"/>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9" name="Slide Number Placeholder 8">
            <a:extLst>
              <a:ext uri="{FF2B5EF4-FFF2-40B4-BE49-F238E27FC236}">
                <a16:creationId xmlns:a16="http://schemas.microsoft.com/office/drawing/2014/main" id="{FD8E4796-355D-4859-A742-D960938E2D35}"/>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5" name="Title 4">
            <a:extLst>
              <a:ext uri="{FF2B5EF4-FFF2-40B4-BE49-F238E27FC236}">
                <a16:creationId xmlns:a16="http://schemas.microsoft.com/office/drawing/2014/main" id="{7D786E24-DC02-43AF-9B6A-E8D3FB81FE70}"/>
              </a:ext>
            </a:extLst>
          </p:cNvPr>
          <p:cNvSpPr>
            <a:spLocks noGrp="1"/>
          </p:cNvSpPr>
          <p:nvPr>
            <p:ph type="title" hasCustomPrompt="1"/>
          </p:nvPr>
        </p:nvSpPr>
        <p:spPr bwMode="gray">
          <a:xfrm>
            <a:off x="1142147" y="1143088"/>
            <a:ext cx="6477589" cy="3048146"/>
          </a:xfrm>
        </p:spPr>
        <p:txBody>
          <a:bodyPr/>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change the size of this textbox to ensure readability.</a:t>
            </a:r>
          </a:p>
        </p:txBody>
      </p:sp>
      <p:sp>
        <p:nvSpPr>
          <p:cNvPr id="2" name="Date Placeholder 1">
            <a:extLst>
              <a:ext uri="{FF2B5EF4-FFF2-40B4-BE49-F238E27FC236}">
                <a16:creationId xmlns:a16="http://schemas.microsoft.com/office/drawing/2014/main" id="{89BECA0C-1902-458E-9672-5E613F5A710E}"/>
              </a:ext>
            </a:extLst>
          </p:cNvPr>
          <p:cNvSpPr>
            <a:spLocks noGrp="1"/>
          </p:cNvSpPr>
          <p:nvPr>
            <p:ph type="dt" sz="half" idx="32"/>
          </p:nvPr>
        </p:nvSpPr>
        <p:spPr/>
        <p:txBody>
          <a:bodyPr/>
          <a:lstStyle/>
          <a:p>
            <a:fld id="{D33D1DA4-E3DF-4086-AF60-F5E8B66B0ADD}" type="datetime5">
              <a:rPr lang="en-US" smtClean="0"/>
              <a:t>6-Oct-21</a:t>
            </a:fld>
            <a:endParaRPr lang="en-US"/>
          </a:p>
        </p:txBody>
      </p:sp>
      <p:sp>
        <p:nvSpPr>
          <p:cNvPr id="3" name="Footer Placeholder 2">
            <a:extLst>
              <a:ext uri="{FF2B5EF4-FFF2-40B4-BE49-F238E27FC236}">
                <a16:creationId xmlns:a16="http://schemas.microsoft.com/office/drawing/2014/main" id="{91F8F6D5-D894-4693-A285-F2E33CFFBC47}"/>
              </a:ext>
            </a:extLst>
          </p:cNvPr>
          <p:cNvSpPr>
            <a:spLocks noGrp="1"/>
          </p:cNvSpPr>
          <p:nvPr>
            <p:ph type="ftr" sz="quarter" idx="33"/>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334493974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bwMode="gray">
          <a:xfrm>
            <a:off x="1" y="0"/>
            <a:ext cx="3047475" cy="6857927"/>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8" name="Picture Placeholder 3"/>
          <p:cNvSpPr>
            <a:spLocks noGrp="1"/>
          </p:cNvSpPr>
          <p:nvPr>
            <p:ph type="pic" sz="quarter" idx="23"/>
          </p:nvPr>
        </p:nvSpPr>
        <p:spPr bwMode="gray">
          <a:xfrm>
            <a:off x="3047476" y="1"/>
            <a:ext cx="3047475" cy="228604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9" name="Picture Placeholder 3"/>
          <p:cNvSpPr>
            <a:spLocks noGrp="1"/>
          </p:cNvSpPr>
          <p:nvPr>
            <p:ph type="pic" sz="quarter" idx="24"/>
          </p:nvPr>
        </p:nvSpPr>
        <p:spPr bwMode="gray">
          <a:xfrm>
            <a:off x="3047476" y="2286044"/>
            <a:ext cx="3047475" cy="228604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0" name="Picture Placeholder 3"/>
          <p:cNvSpPr>
            <a:spLocks noGrp="1"/>
          </p:cNvSpPr>
          <p:nvPr>
            <p:ph type="pic" sz="quarter" idx="25"/>
          </p:nvPr>
        </p:nvSpPr>
        <p:spPr bwMode="gray">
          <a:xfrm>
            <a:off x="3047476" y="4572087"/>
            <a:ext cx="3047475" cy="228604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21" name="Picture Placeholder 3"/>
          <p:cNvSpPr>
            <a:spLocks noGrp="1"/>
          </p:cNvSpPr>
          <p:nvPr>
            <p:ph type="pic" sz="quarter" idx="26"/>
          </p:nvPr>
        </p:nvSpPr>
        <p:spPr bwMode="gray">
          <a:xfrm>
            <a:off x="6094951" y="0"/>
            <a:ext cx="2668203" cy="3428999"/>
          </a:xfrm>
          <a:solidFill>
            <a:schemeClr val="bg2"/>
          </a:solidFill>
        </p:spPr>
        <p:txBody>
          <a:bodyPr anchor="ctr"/>
          <a:lstStyle>
            <a:lvl1pPr algn="ctr">
              <a:defRPr sz="1058" b="0">
                <a:solidFill>
                  <a:schemeClr val="bg1"/>
                </a:solidFill>
              </a:defRPr>
            </a:lvl1pPr>
          </a:lstStyle>
          <a:p>
            <a:r>
              <a:rPr lang="en-US" noProof="0"/>
              <a:t>Click icon to add picture</a:t>
            </a:r>
          </a:p>
        </p:txBody>
      </p:sp>
      <p:sp>
        <p:nvSpPr>
          <p:cNvPr id="23" name="Picture Placeholder 3"/>
          <p:cNvSpPr>
            <a:spLocks noGrp="1"/>
          </p:cNvSpPr>
          <p:nvPr>
            <p:ph type="pic" sz="quarter" idx="27"/>
          </p:nvPr>
        </p:nvSpPr>
        <p:spPr bwMode="gray">
          <a:xfrm>
            <a:off x="6094951" y="3429000"/>
            <a:ext cx="2668203" cy="3428999"/>
          </a:xfrm>
          <a:solidFill>
            <a:schemeClr val="bg2">
              <a:lumMod val="75000"/>
            </a:schemeClr>
          </a:solidFill>
        </p:spPr>
        <p:txBody>
          <a:bodyPr anchor="ctr"/>
          <a:lstStyle>
            <a:lvl1pPr algn="ctr">
              <a:defRPr sz="1058" b="0">
                <a:solidFill>
                  <a:schemeClr val="bg1"/>
                </a:solidFill>
              </a:defRPr>
            </a:lvl1pPr>
          </a:lstStyle>
          <a:p>
            <a:r>
              <a:rPr lang="en-US" noProof="0"/>
              <a:t>Click icon to add picture</a:t>
            </a:r>
          </a:p>
        </p:txBody>
      </p:sp>
      <p:sp>
        <p:nvSpPr>
          <p:cNvPr id="24" name="Picture Placeholder 3"/>
          <p:cNvSpPr>
            <a:spLocks noGrp="1"/>
          </p:cNvSpPr>
          <p:nvPr>
            <p:ph type="pic" sz="quarter" idx="28"/>
          </p:nvPr>
        </p:nvSpPr>
        <p:spPr bwMode="gray">
          <a:xfrm>
            <a:off x="8763153" y="0"/>
            <a:ext cx="3428847" cy="6857927"/>
          </a:xfrm>
          <a:solidFill>
            <a:schemeClr val="bg2">
              <a:lumMod val="50000"/>
            </a:schemeClr>
          </a:solidFill>
        </p:spPr>
        <p:txBody>
          <a:bodyPr anchor="ctr"/>
          <a:lstStyle>
            <a:lvl1pPr algn="ctr">
              <a:defRPr sz="1058" b="0">
                <a:solidFill>
                  <a:schemeClr val="bg1"/>
                </a:solidFill>
              </a:defRPr>
            </a:lvl1pPr>
          </a:lstStyle>
          <a:p>
            <a:r>
              <a:rPr lang="en-US" noProof="0"/>
              <a:t>Click icon to add picture</a:t>
            </a:r>
          </a:p>
        </p:txBody>
      </p:sp>
      <p:sp>
        <p:nvSpPr>
          <p:cNvPr id="9" name="Slide Number Placeholder 8">
            <a:extLst>
              <a:ext uri="{FF2B5EF4-FFF2-40B4-BE49-F238E27FC236}">
                <a16:creationId xmlns:a16="http://schemas.microsoft.com/office/drawing/2014/main" id="{DDBBE06D-E1F0-45B0-A4B9-F2F79936B1B8}"/>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7" name="Title 6">
            <a:extLst>
              <a:ext uri="{FF2B5EF4-FFF2-40B4-BE49-F238E27FC236}">
                <a16:creationId xmlns:a16="http://schemas.microsoft.com/office/drawing/2014/main" id="{9F2CEF07-6748-4A1B-91B8-0FF107ED6470}"/>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88511685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bwMode="gray">
          <a:xfrm>
            <a:off x="1" y="0"/>
            <a:ext cx="5714934" cy="6857474"/>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9" name="Picture Placeholder 5"/>
          <p:cNvSpPr>
            <a:spLocks noGrp="1"/>
          </p:cNvSpPr>
          <p:nvPr>
            <p:ph type="pic" sz="quarter" idx="28"/>
          </p:nvPr>
        </p:nvSpPr>
        <p:spPr bwMode="gray">
          <a:xfrm>
            <a:off x="5714935" y="525"/>
            <a:ext cx="6477416" cy="6857476"/>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6" name="Picture Placeholder 5"/>
          <p:cNvSpPr>
            <a:spLocks noGrp="1"/>
          </p:cNvSpPr>
          <p:nvPr>
            <p:ph type="pic" sz="quarter" idx="27"/>
          </p:nvPr>
        </p:nvSpPr>
        <p:spPr bwMode="gray">
          <a:xfrm>
            <a:off x="6477067" y="761652"/>
            <a:ext cx="4190144" cy="4191815"/>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11" name="Slide Number Placeholder 10">
            <a:extLst>
              <a:ext uri="{FF2B5EF4-FFF2-40B4-BE49-F238E27FC236}">
                <a16:creationId xmlns:a16="http://schemas.microsoft.com/office/drawing/2014/main" id="{7185475C-96D3-413F-A5B9-4489AB46BD6C}"/>
              </a:ext>
            </a:extLst>
          </p:cNvPr>
          <p:cNvSpPr>
            <a:spLocks noGrp="1"/>
          </p:cNvSpPr>
          <p:nvPr>
            <p:ph type="sldNum" sz="quarter" idx="31"/>
          </p:nvPr>
        </p:nvSpPr>
        <p:spPr bwMode="gray"/>
        <p:txBody>
          <a:bodyPr/>
          <a:lstStyle/>
          <a:p>
            <a:pPr>
              <a:defRPr/>
            </a:pPr>
            <a:fld id="{66C8B3C2-955F-42B1-8DED-EE47D723596C}" type="slidenum">
              <a:rPr lang="en-US" noProof="0" smtClean="0"/>
              <a:pPr>
                <a:defRPr/>
              </a:pPr>
              <a:t>‹#›</a:t>
            </a:fld>
            <a:endParaRPr lang="en-US" noProof="0"/>
          </a:p>
        </p:txBody>
      </p:sp>
      <p:sp>
        <p:nvSpPr>
          <p:cNvPr id="13" name="Text Placeholder 17">
            <a:extLst>
              <a:ext uri="{FF2B5EF4-FFF2-40B4-BE49-F238E27FC236}">
                <a16:creationId xmlns:a16="http://schemas.microsoft.com/office/drawing/2014/main" id="{E4334508-DEE9-4B79-92DC-0D4614578EA2}"/>
              </a:ext>
            </a:extLst>
          </p:cNvPr>
          <p:cNvSpPr>
            <a:spLocks noGrp="1"/>
          </p:cNvSpPr>
          <p:nvPr>
            <p:ph type="body" sz="quarter" idx="18"/>
          </p:nvPr>
        </p:nvSpPr>
        <p:spPr bwMode="gray">
          <a:xfrm>
            <a:off x="1142716" y="4189264"/>
            <a:ext cx="3047956" cy="1906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
            <a:extLst>
              <a:ext uri="{FF2B5EF4-FFF2-40B4-BE49-F238E27FC236}">
                <a16:creationId xmlns:a16="http://schemas.microsoft.com/office/drawing/2014/main" id="{EB66B50D-5955-4E99-B69D-AAD52162D646}"/>
              </a:ext>
            </a:extLst>
          </p:cNvPr>
          <p:cNvSpPr>
            <a:spLocks noGrp="1"/>
          </p:cNvSpPr>
          <p:nvPr>
            <p:ph type="title" hasCustomPrompt="1"/>
          </p:nvPr>
        </p:nvSpPr>
        <p:spPr bwMode="gray">
          <a:xfrm>
            <a:off x="1142718" y="761653"/>
            <a:ext cx="3810087" cy="3427610"/>
          </a:xfrm>
        </p:spPr>
        <p:txBody>
          <a:bodyPr bIns="144000" anchor="b"/>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a:t>
            </a:r>
            <a:br>
              <a:rPr lang="en-US"/>
            </a:br>
            <a:r>
              <a:rPr lang="en-US"/>
              <a:t>over four lines or less.</a:t>
            </a:r>
          </a:p>
        </p:txBody>
      </p:sp>
    </p:spTree>
    <p:extLst>
      <p:ext uri="{BB962C8B-B14F-4D97-AF65-F5344CB8AC3E}">
        <p14:creationId xmlns:p14="http://schemas.microsoft.com/office/powerpoint/2010/main" val="295577298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149" y="1524072"/>
            <a:ext cx="3810523" cy="3047883"/>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4190672" y="1524072"/>
            <a:ext cx="3810523" cy="304788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8001196" y="1524072"/>
            <a:ext cx="3810523" cy="304788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4EA0DF66-95E0-46A6-8652-7C278A22A88D}"/>
              </a:ext>
            </a:extLst>
          </p:cNvPr>
          <p:cNvSpPr>
            <a:spLocks noGrp="1"/>
          </p:cNvSpPr>
          <p:nvPr>
            <p:ph type="title"/>
          </p:nvPr>
        </p:nvSpPr>
        <p:spPr bwMode="gray"/>
        <p:txBody>
          <a:bodyPr/>
          <a:lstStyle/>
          <a:p>
            <a:r>
              <a:rPr lang="en-US"/>
              <a:t>Click to edit Master title style</a:t>
            </a:r>
          </a:p>
        </p:txBody>
      </p:sp>
      <p:sp>
        <p:nvSpPr>
          <p:cNvPr id="8" name="Slide Number Placeholder 7">
            <a:extLst>
              <a:ext uri="{FF2B5EF4-FFF2-40B4-BE49-F238E27FC236}">
                <a16:creationId xmlns:a16="http://schemas.microsoft.com/office/drawing/2014/main" id="{D1F55AED-4045-47E6-9355-4E70B8AC2FD7}"/>
              </a:ext>
            </a:extLst>
          </p:cNvPr>
          <p:cNvSpPr>
            <a:spLocks noGrp="1"/>
          </p:cNvSpPr>
          <p:nvPr>
            <p:ph type="sldNum" sz="quarter" idx="30"/>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8">
            <a:extLst>
              <a:ext uri="{FF2B5EF4-FFF2-40B4-BE49-F238E27FC236}">
                <a16:creationId xmlns:a16="http://schemas.microsoft.com/office/drawing/2014/main" id="{3F7655D8-F9A5-4788-B9AC-A86FA37BED8A}"/>
              </a:ext>
            </a:extLst>
          </p:cNvPr>
          <p:cNvSpPr>
            <a:spLocks noGrp="1"/>
          </p:cNvSpPr>
          <p:nvPr>
            <p:ph type="body" sz="quarter" idx="31"/>
          </p:nvPr>
        </p:nvSpPr>
        <p:spPr bwMode="gray">
          <a:xfrm>
            <a:off x="380016"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4" name="Text Placeholder 18">
            <a:extLst>
              <a:ext uri="{FF2B5EF4-FFF2-40B4-BE49-F238E27FC236}">
                <a16:creationId xmlns:a16="http://schemas.microsoft.com/office/drawing/2014/main" id="{202D6161-BB99-4257-AF9F-EBC735CB191A}"/>
              </a:ext>
            </a:extLst>
          </p:cNvPr>
          <p:cNvSpPr>
            <a:spLocks noGrp="1"/>
          </p:cNvSpPr>
          <p:nvPr>
            <p:ph type="body" sz="quarter" idx="32"/>
          </p:nvPr>
        </p:nvSpPr>
        <p:spPr bwMode="gray">
          <a:xfrm>
            <a:off x="4190673"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6408CCB-0074-4487-ADC2-FEB6BC4BB3D0}"/>
              </a:ext>
            </a:extLst>
          </p:cNvPr>
          <p:cNvSpPr>
            <a:spLocks noGrp="1"/>
          </p:cNvSpPr>
          <p:nvPr>
            <p:ph type="body" sz="quarter" idx="33"/>
          </p:nvPr>
        </p:nvSpPr>
        <p:spPr bwMode="gray">
          <a:xfrm>
            <a:off x="8001329" y="4952941"/>
            <a:ext cx="3429853"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326184CE-FDFC-4B28-B408-A9D0F126EE34}"/>
              </a:ext>
            </a:extLst>
          </p:cNvPr>
          <p:cNvSpPr>
            <a:spLocks noGrp="1"/>
          </p:cNvSpPr>
          <p:nvPr>
            <p:ph type="dt" sz="half" idx="34"/>
          </p:nvPr>
        </p:nvSpPr>
        <p:spPr/>
        <p:txBody>
          <a:bodyPr/>
          <a:lstStyle/>
          <a:p>
            <a:fld id="{F3F410E0-7864-4590-B635-12186A90798C}" type="datetime5">
              <a:rPr lang="en-US" smtClean="0"/>
              <a:t>6-Oct-21</a:t>
            </a:fld>
            <a:endParaRPr lang="en-US"/>
          </a:p>
        </p:txBody>
      </p:sp>
      <p:sp>
        <p:nvSpPr>
          <p:cNvPr id="4" name="Footer Placeholder 3">
            <a:extLst>
              <a:ext uri="{FF2B5EF4-FFF2-40B4-BE49-F238E27FC236}">
                <a16:creationId xmlns:a16="http://schemas.microsoft.com/office/drawing/2014/main" id="{B73F402E-95C8-4388-BBE1-C5169DD6473B}"/>
              </a:ext>
            </a:extLst>
          </p:cNvPr>
          <p:cNvSpPr>
            <a:spLocks noGrp="1"/>
          </p:cNvSpPr>
          <p:nvPr>
            <p:ph type="ftr" sz="quarter" idx="35"/>
          </p:nvPr>
        </p:nvSpPr>
        <p:spPr/>
        <p:txBody>
          <a:bodyPr/>
          <a:lstStyle/>
          <a:p>
            <a:pPr defTabSz="1218764">
              <a:lnSpc>
                <a:spcPct val="80000"/>
              </a:lnSpc>
            </a:pPr>
            <a:r>
              <a:rPr lang="de-DE"/>
              <a:t>FOOTER / PRESENTATION NAME</a:t>
            </a:r>
          </a:p>
        </p:txBody>
      </p:sp>
      <p:sp>
        <p:nvSpPr>
          <p:cNvPr id="16" name="Text Placeholder 15">
            <a:extLst>
              <a:ext uri="{FF2B5EF4-FFF2-40B4-BE49-F238E27FC236}">
                <a16:creationId xmlns:a16="http://schemas.microsoft.com/office/drawing/2014/main" id="{1838A765-2229-41F5-B5BA-E7D3F42B7242}"/>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375520760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 Images + Descriptions (2)">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9606" y="381116"/>
            <a:ext cx="2667724" cy="3809854"/>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6477330" y="381116"/>
            <a:ext cx="2667724" cy="3809854"/>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9145054" y="381116"/>
            <a:ext cx="2667724" cy="3809854"/>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4EA0DF66-95E0-46A6-8652-7C278A22A88D}"/>
              </a:ext>
            </a:extLst>
          </p:cNvPr>
          <p:cNvSpPr>
            <a:spLocks noGrp="1"/>
          </p:cNvSpPr>
          <p:nvPr>
            <p:ph type="title"/>
          </p:nvPr>
        </p:nvSpPr>
        <p:spPr bwMode="gray">
          <a:xfrm>
            <a:off x="380672" y="381455"/>
            <a:ext cx="3047870" cy="3047544"/>
          </a:xfrm>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D1F55AED-4045-47E6-9355-4E70B8AC2FD7}"/>
              </a:ext>
            </a:extLst>
          </p:cNvPr>
          <p:cNvSpPr>
            <a:spLocks noGrp="1"/>
          </p:cNvSpPr>
          <p:nvPr>
            <p:ph type="sldNum" sz="quarter" idx="30"/>
          </p:nvPr>
        </p:nvSpPr>
        <p:spPr bwMode="gray"/>
        <p:txBody>
          <a:bodyPr/>
          <a:lstStyle/>
          <a:p>
            <a:pPr>
              <a:defRPr/>
            </a:pPr>
            <a:fld id="{66C8B3C2-955F-42B1-8DED-EE47D723596C}" type="slidenum">
              <a:rPr lang="en-US" noProof="0" smtClean="0"/>
              <a:pPr>
                <a:defRPr/>
              </a:pPr>
              <a:t>‹#›</a:t>
            </a:fld>
            <a:endParaRPr lang="en-US" noProof="0"/>
          </a:p>
        </p:txBody>
      </p:sp>
      <p:sp>
        <p:nvSpPr>
          <p:cNvPr id="19" name="Text Placeholder 18">
            <a:extLst>
              <a:ext uri="{FF2B5EF4-FFF2-40B4-BE49-F238E27FC236}">
                <a16:creationId xmlns:a16="http://schemas.microsoft.com/office/drawing/2014/main" id="{3F7655D8-F9A5-4788-B9AC-A86FA37BED8A}"/>
              </a:ext>
            </a:extLst>
          </p:cNvPr>
          <p:cNvSpPr>
            <a:spLocks noGrp="1"/>
          </p:cNvSpPr>
          <p:nvPr>
            <p:ph type="body" sz="quarter" idx="31"/>
          </p:nvPr>
        </p:nvSpPr>
        <p:spPr bwMode="gray">
          <a:xfrm>
            <a:off x="3809608"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4" name="Text Placeholder 18">
            <a:extLst>
              <a:ext uri="{FF2B5EF4-FFF2-40B4-BE49-F238E27FC236}">
                <a16:creationId xmlns:a16="http://schemas.microsoft.com/office/drawing/2014/main" id="{202D6161-BB99-4257-AF9F-EBC735CB191A}"/>
              </a:ext>
            </a:extLst>
          </p:cNvPr>
          <p:cNvSpPr>
            <a:spLocks noGrp="1"/>
          </p:cNvSpPr>
          <p:nvPr>
            <p:ph type="body" sz="quarter" idx="32"/>
          </p:nvPr>
        </p:nvSpPr>
        <p:spPr bwMode="gray">
          <a:xfrm>
            <a:off x="6477330"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6408CCB-0074-4487-ADC2-FEB6BC4BB3D0}"/>
              </a:ext>
            </a:extLst>
          </p:cNvPr>
          <p:cNvSpPr>
            <a:spLocks noGrp="1"/>
          </p:cNvSpPr>
          <p:nvPr>
            <p:ph type="body" sz="quarter" idx="33"/>
          </p:nvPr>
        </p:nvSpPr>
        <p:spPr bwMode="gray">
          <a:xfrm>
            <a:off x="9145054" y="4571955"/>
            <a:ext cx="2286393"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6224147F-EA20-4FE7-9334-F2684B3D5509}"/>
              </a:ext>
            </a:extLst>
          </p:cNvPr>
          <p:cNvSpPr>
            <a:spLocks noGrp="1"/>
          </p:cNvSpPr>
          <p:nvPr>
            <p:ph type="dt" sz="half" idx="34"/>
          </p:nvPr>
        </p:nvSpPr>
        <p:spPr/>
        <p:txBody>
          <a:bodyPr/>
          <a:lstStyle/>
          <a:p>
            <a:fld id="{0AD92DC3-5C4C-4D5D-9F4A-77C7F41C3872}" type="datetime5">
              <a:rPr lang="en-US" smtClean="0"/>
              <a:t>6-Oct-21</a:t>
            </a:fld>
            <a:endParaRPr lang="en-US"/>
          </a:p>
        </p:txBody>
      </p:sp>
      <p:sp>
        <p:nvSpPr>
          <p:cNvPr id="4" name="Footer Placeholder 3">
            <a:extLst>
              <a:ext uri="{FF2B5EF4-FFF2-40B4-BE49-F238E27FC236}">
                <a16:creationId xmlns:a16="http://schemas.microsoft.com/office/drawing/2014/main" id="{D92FC458-31AA-4ADA-B7BB-38BB5862B030}"/>
              </a:ext>
            </a:extLst>
          </p:cNvPr>
          <p:cNvSpPr>
            <a:spLocks noGrp="1"/>
          </p:cNvSpPr>
          <p:nvPr>
            <p:ph type="ftr" sz="quarter" idx="35"/>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249212419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80149" y="1524072"/>
            <a:ext cx="2857858" cy="3047883"/>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3238007" y="1524072"/>
            <a:ext cx="2862502" cy="3047883"/>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6100509" y="1524072"/>
            <a:ext cx="2860117" cy="3047883"/>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2" name="Picture Placeholder 3"/>
          <p:cNvSpPr>
            <a:spLocks noGrp="1"/>
          </p:cNvSpPr>
          <p:nvPr>
            <p:ph type="pic" sz="quarter" idx="28"/>
          </p:nvPr>
        </p:nvSpPr>
        <p:spPr bwMode="gray">
          <a:xfrm>
            <a:off x="8960625" y="1524072"/>
            <a:ext cx="2860117" cy="3047883"/>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D898A731-213A-4339-8CA8-9E1916EACB64}"/>
              </a:ext>
            </a:extLst>
          </p:cNvPr>
          <p:cNvSpPr>
            <a:spLocks noGrp="1"/>
          </p:cNvSpPr>
          <p:nvPr>
            <p:ph type="title"/>
          </p:nvPr>
        </p:nvSpPr>
        <p:spPr bwMode="gray"/>
        <p:txBody>
          <a:bodyPr/>
          <a:lstStyle/>
          <a:p>
            <a:r>
              <a:rPr lang="en-US"/>
              <a:t>Click to edit Master title style</a:t>
            </a:r>
          </a:p>
        </p:txBody>
      </p:sp>
      <p:sp>
        <p:nvSpPr>
          <p:cNvPr id="8" name="Slide Number Placeholder 7">
            <a:extLst>
              <a:ext uri="{FF2B5EF4-FFF2-40B4-BE49-F238E27FC236}">
                <a16:creationId xmlns:a16="http://schemas.microsoft.com/office/drawing/2014/main" id="{DCE725B1-3137-4CE9-9320-3816D119A0B7}"/>
              </a:ext>
            </a:extLst>
          </p:cNvPr>
          <p:cNvSpPr>
            <a:spLocks noGrp="1"/>
          </p:cNvSpPr>
          <p:nvPr>
            <p:ph type="sldNum" sz="quarter" idx="34"/>
          </p:nvPr>
        </p:nvSpPr>
        <p:spPr bwMode="gray"/>
        <p:txBody>
          <a:bodyPr/>
          <a:lstStyle/>
          <a:p>
            <a:pPr>
              <a:defRPr/>
            </a:pPr>
            <a:fld id="{66C8B3C2-955F-42B1-8DED-EE47D723596C}" type="slidenum">
              <a:rPr lang="en-US" noProof="0" smtClean="0"/>
              <a:pPr>
                <a:defRPr/>
              </a:pPr>
              <a:t>‹#›</a:t>
            </a:fld>
            <a:endParaRPr lang="en-US" noProof="0"/>
          </a:p>
        </p:txBody>
      </p:sp>
      <p:sp>
        <p:nvSpPr>
          <p:cNvPr id="20" name="Text Placeholder 18">
            <a:extLst>
              <a:ext uri="{FF2B5EF4-FFF2-40B4-BE49-F238E27FC236}">
                <a16:creationId xmlns:a16="http://schemas.microsoft.com/office/drawing/2014/main" id="{4B20DDC1-39BA-43B4-843F-07C3E46A0EA9}"/>
              </a:ext>
            </a:extLst>
          </p:cNvPr>
          <p:cNvSpPr>
            <a:spLocks noGrp="1"/>
          </p:cNvSpPr>
          <p:nvPr>
            <p:ph type="body" sz="quarter" idx="31"/>
          </p:nvPr>
        </p:nvSpPr>
        <p:spPr bwMode="gray">
          <a:xfrm>
            <a:off x="380016"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1" name="Text Placeholder 18">
            <a:extLst>
              <a:ext uri="{FF2B5EF4-FFF2-40B4-BE49-F238E27FC236}">
                <a16:creationId xmlns:a16="http://schemas.microsoft.com/office/drawing/2014/main" id="{FAA65DB6-2E3B-4611-B3AB-382BA57EDD71}"/>
              </a:ext>
            </a:extLst>
          </p:cNvPr>
          <p:cNvSpPr>
            <a:spLocks noGrp="1"/>
          </p:cNvSpPr>
          <p:nvPr>
            <p:ph type="body" sz="quarter" idx="35"/>
          </p:nvPr>
        </p:nvSpPr>
        <p:spPr bwMode="gray">
          <a:xfrm>
            <a:off x="3238007"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3" name="Text Placeholder 18">
            <a:extLst>
              <a:ext uri="{FF2B5EF4-FFF2-40B4-BE49-F238E27FC236}">
                <a16:creationId xmlns:a16="http://schemas.microsoft.com/office/drawing/2014/main" id="{DE34A013-F438-4001-ABF1-FC6F19E3FB47}"/>
              </a:ext>
            </a:extLst>
          </p:cNvPr>
          <p:cNvSpPr>
            <a:spLocks noGrp="1"/>
          </p:cNvSpPr>
          <p:nvPr>
            <p:ph type="body" sz="quarter" idx="36"/>
          </p:nvPr>
        </p:nvSpPr>
        <p:spPr bwMode="gray">
          <a:xfrm>
            <a:off x="6100509"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2269CA9-20B1-41ED-94C6-442ACA56F7CE}"/>
              </a:ext>
            </a:extLst>
          </p:cNvPr>
          <p:cNvSpPr>
            <a:spLocks noGrp="1"/>
          </p:cNvSpPr>
          <p:nvPr>
            <p:ph type="body" sz="quarter" idx="37"/>
          </p:nvPr>
        </p:nvSpPr>
        <p:spPr bwMode="gray">
          <a:xfrm>
            <a:off x="8960626" y="4952941"/>
            <a:ext cx="2476928" cy="1142956"/>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1340052F-66D0-4CF7-BDCF-30F247412015}"/>
              </a:ext>
            </a:extLst>
          </p:cNvPr>
          <p:cNvSpPr>
            <a:spLocks noGrp="1"/>
          </p:cNvSpPr>
          <p:nvPr>
            <p:ph type="dt" sz="half" idx="38"/>
          </p:nvPr>
        </p:nvSpPr>
        <p:spPr/>
        <p:txBody>
          <a:bodyPr/>
          <a:lstStyle/>
          <a:p>
            <a:fld id="{B13E414A-10F2-485D-A3D3-1C3047DBB9DE}" type="datetime5">
              <a:rPr lang="en-US" smtClean="0"/>
              <a:t>6-Oct-21</a:t>
            </a:fld>
            <a:endParaRPr lang="en-US"/>
          </a:p>
        </p:txBody>
      </p:sp>
      <p:sp>
        <p:nvSpPr>
          <p:cNvPr id="4" name="Footer Placeholder 3">
            <a:extLst>
              <a:ext uri="{FF2B5EF4-FFF2-40B4-BE49-F238E27FC236}">
                <a16:creationId xmlns:a16="http://schemas.microsoft.com/office/drawing/2014/main" id="{70025956-76F2-4965-BA46-222B033F312E}"/>
              </a:ext>
            </a:extLst>
          </p:cNvPr>
          <p:cNvSpPr>
            <a:spLocks noGrp="1"/>
          </p:cNvSpPr>
          <p:nvPr>
            <p:ph type="ftr" sz="quarter" idx="39"/>
          </p:nvPr>
        </p:nvSpPr>
        <p:spPr/>
        <p:txBody>
          <a:bodyPr/>
          <a:lstStyle/>
          <a:p>
            <a:pPr defTabSz="1218764">
              <a:lnSpc>
                <a:spcPct val="80000"/>
              </a:lnSpc>
            </a:pPr>
            <a:r>
              <a:rPr lang="de-DE"/>
              <a:t>FOOTER / PRESENTATION NAME</a:t>
            </a:r>
          </a:p>
        </p:txBody>
      </p:sp>
      <p:sp>
        <p:nvSpPr>
          <p:cNvPr id="15" name="Text Placeholder 15">
            <a:extLst>
              <a:ext uri="{FF2B5EF4-FFF2-40B4-BE49-F238E27FC236}">
                <a16:creationId xmlns:a16="http://schemas.microsoft.com/office/drawing/2014/main" id="{745F9069-44EC-4137-890C-B9B0DA5CCFDB}"/>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21221326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5332557" y="525"/>
            <a:ext cx="3811967" cy="34293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1" name="Picture Placeholder 3"/>
          <p:cNvSpPr>
            <a:spLocks noGrp="1"/>
          </p:cNvSpPr>
          <p:nvPr>
            <p:ph type="pic" sz="quarter" idx="23"/>
          </p:nvPr>
        </p:nvSpPr>
        <p:spPr>
          <a:xfrm>
            <a:off x="9144177" y="525"/>
            <a:ext cx="3047823" cy="3428477"/>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5332557" y="3429002"/>
            <a:ext cx="2287181" cy="3428998"/>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7620088" y="3429001"/>
            <a:ext cx="4572263" cy="3428474"/>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Date Placeholder 6"/>
          <p:cNvSpPr>
            <a:spLocks noGrp="1"/>
          </p:cNvSpPr>
          <p:nvPr>
            <p:ph type="dt" sz="half" idx="27"/>
          </p:nvPr>
        </p:nvSpPr>
        <p:spPr/>
        <p:txBody>
          <a:bodyPr/>
          <a:lstStyle/>
          <a:p>
            <a:pPr>
              <a:defRPr/>
            </a:pPr>
            <a:fld id="{D778E606-DBAE-4D75-90D1-CABC432656A7}" type="datetime5">
              <a:rPr lang="en-US" smtClean="0"/>
              <a:t>6-Oct-21</a:t>
            </a:fld>
            <a:endParaRPr lang="en-US" dirty="0"/>
          </a:p>
        </p:txBody>
      </p:sp>
      <p:sp>
        <p:nvSpPr>
          <p:cNvPr id="8" name="Footer Placeholder 7"/>
          <p:cNvSpPr>
            <a:spLocks noGrp="1"/>
          </p:cNvSpPr>
          <p:nvPr>
            <p:ph type="ftr" sz="quarter" idx="28"/>
          </p:nvPr>
        </p:nvSpPr>
        <p:spPr/>
        <p:txBody>
          <a:bodyPr/>
          <a:lstStyle/>
          <a:p>
            <a:pPr>
              <a:defRPr/>
            </a:pPr>
            <a:r>
              <a:rPr lang="en-US"/>
              <a:t>FOOTER / PRESENTATION NAME</a:t>
            </a:r>
            <a:endParaRPr lang="en-US" dirty="0"/>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098884846"/>
      </p:ext>
    </p:extLst>
  </p:cSld>
  <p:clrMapOvr>
    <a:masterClrMapping/>
  </p:clrMapOvr>
  <p:transition spd="med">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 Images + Descriptions (2)">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bwMode="gray">
          <a:xfrm>
            <a:off x="3428540" y="381116"/>
            <a:ext cx="2095628" cy="3809854"/>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3" name="Picture Placeholder 3"/>
          <p:cNvSpPr>
            <a:spLocks noGrp="1"/>
          </p:cNvSpPr>
          <p:nvPr>
            <p:ph type="pic" sz="quarter" idx="23"/>
          </p:nvPr>
        </p:nvSpPr>
        <p:spPr bwMode="gray">
          <a:xfrm>
            <a:off x="5524167" y="381116"/>
            <a:ext cx="2095628" cy="3809854"/>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4" name="Picture Placeholder 3"/>
          <p:cNvSpPr>
            <a:spLocks noGrp="1"/>
          </p:cNvSpPr>
          <p:nvPr>
            <p:ph type="pic" sz="quarter" idx="24"/>
          </p:nvPr>
        </p:nvSpPr>
        <p:spPr bwMode="gray">
          <a:xfrm>
            <a:off x="7619795" y="381116"/>
            <a:ext cx="2095628" cy="3809854"/>
          </a:xfrm>
          <a:solidFill>
            <a:schemeClr val="bg2">
              <a:lumMod val="60000"/>
              <a:lumOff val="40000"/>
            </a:schemeClr>
          </a:solidFill>
        </p:spPr>
        <p:txBody>
          <a:bodyPr anchor="ctr"/>
          <a:lstStyle>
            <a:lvl1pPr algn="ctr">
              <a:defRPr sz="1058" b="0">
                <a:solidFill>
                  <a:schemeClr val="tx1"/>
                </a:solidFill>
              </a:defRPr>
            </a:lvl1pPr>
          </a:lstStyle>
          <a:p>
            <a:r>
              <a:rPr lang="en-US" noProof="0"/>
              <a:t>Click icon to add picture</a:t>
            </a:r>
          </a:p>
        </p:txBody>
      </p:sp>
      <p:sp>
        <p:nvSpPr>
          <p:cNvPr id="22" name="Picture Placeholder 3"/>
          <p:cNvSpPr>
            <a:spLocks noGrp="1"/>
          </p:cNvSpPr>
          <p:nvPr>
            <p:ph type="pic" sz="quarter" idx="28"/>
          </p:nvPr>
        </p:nvSpPr>
        <p:spPr bwMode="gray">
          <a:xfrm>
            <a:off x="9715423" y="381116"/>
            <a:ext cx="2095628" cy="3809854"/>
          </a:xfrm>
          <a:solidFill>
            <a:schemeClr val="bg2"/>
          </a:solidFill>
        </p:spPr>
        <p:txBody>
          <a:bodyPr anchor="ctr"/>
          <a:lstStyle>
            <a:lvl1pPr algn="ctr">
              <a:defRPr sz="1058" b="0">
                <a:solidFill>
                  <a:schemeClr val="tx1"/>
                </a:solidFill>
              </a:defRPr>
            </a:lvl1pPr>
          </a:lstStyle>
          <a:p>
            <a:r>
              <a:rPr lang="en-US" noProof="0"/>
              <a:t>Click icon to add picture</a:t>
            </a:r>
          </a:p>
        </p:txBody>
      </p:sp>
      <p:sp>
        <p:nvSpPr>
          <p:cNvPr id="3" name="Title 2">
            <a:extLst>
              <a:ext uri="{FF2B5EF4-FFF2-40B4-BE49-F238E27FC236}">
                <a16:creationId xmlns:a16="http://schemas.microsoft.com/office/drawing/2014/main" id="{D898A731-213A-4339-8CA8-9E1916EACB64}"/>
              </a:ext>
            </a:extLst>
          </p:cNvPr>
          <p:cNvSpPr>
            <a:spLocks noGrp="1"/>
          </p:cNvSpPr>
          <p:nvPr>
            <p:ph type="title"/>
          </p:nvPr>
        </p:nvSpPr>
        <p:spPr bwMode="gray">
          <a:xfrm>
            <a:off x="380672" y="381455"/>
            <a:ext cx="2666804" cy="3047544"/>
          </a:xfrm>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DCE725B1-3137-4CE9-9320-3816D119A0B7}"/>
              </a:ext>
            </a:extLst>
          </p:cNvPr>
          <p:cNvSpPr>
            <a:spLocks noGrp="1"/>
          </p:cNvSpPr>
          <p:nvPr>
            <p:ph type="sldNum" sz="quarter" idx="34"/>
          </p:nvPr>
        </p:nvSpPr>
        <p:spPr bwMode="gray"/>
        <p:txBody>
          <a:bodyPr/>
          <a:lstStyle/>
          <a:p>
            <a:pPr>
              <a:defRPr/>
            </a:pPr>
            <a:fld id="{66C8B3C2-955F-42B1-8DED-EE47D723596C}" type="slidenum">
              <a:rPr lang="en-US" noProof="0" smtClean="0"/>
              <a:pPr>
                <a:defRPr/>
              </a:pPr>
              <a:t>‹#›</a:t>
            </a:fld>
            <a:endParaRPr lang="en-US" noProof="0"/>
          </a:p>
        </p:txBody>
      </p:sp>
      <p:sp>
        <p:nvSpPr>
          <p:cNvPr id="20" name="Text Placeholder 18">
            <a:extLst>
              <a:ext uri="{FF2B5EF4-FFF2-40B4-BE49-F238E27FC236}">
                <a16:creationId xmlns:a16="http://schemas.microsoft.com/office/drawing/2014/main" id="{4B20DDC1-39BA-43B4-843F-07C3E46A0EA9}"/>
              </a:ext>
            </a:extLst>
          </p:cNvPr>
          <p:cNvSpPr>
            <a:spLocks noGrp="1"/>
          </p:cNvSpPr>
          <p:nvPr>
            <p:ph type="body" sz="quarter" idx="31"/>
          </p:nvPr>
        </p:nvSpPr>
        <p:spPr bwMode="gray">
          <a:xfrm>
            <a:off x="3428542"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1" name="Text Placeholder 18">
            <a:extLst>
              <a:ext uri="{FF2B5EF4-FFF2-40B4-BE49-F238E27FC236}">
                <a16:creationId xmlns:a16="http://schemas.microsoft.com/office/drawing/2014/main" id="{FAA65DB6-2E3B-4611-B3AB-382BA57EDD71}"/>
              </a:ext>
            </a:extLst>
          </p:cNvPr>
          <p:cNvSpPr>
            <a:spLocks noGrp="1"/>
          </p:cNvSpPr>
          <p:nvPr>
            <p:ph type="body" sz="quarter" idx="35"/>
          </p:nvPr>
        </p:nvSpPr>
        <p:spPr bwMode="gray">
          <a:xfrm>
            <a:off x="5524168"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3" name="Text Placeholder 18">
            <a:extLst>
              <a:ext uri="{FF2B5EF4-FFF2-40B4-BE49-F238E27FC236}">
                <a16:creationId xmlns:a16="http://schemas.microsoft.com/office/drawing/2014/main" id="{DE34A013-F438-4001-ABF1-FC6F19E3FB47}"/>
              </a:ext>
            </a:extLst>
          </p:cNvPr>
          <p:cNvSpPr>
            <a:spLocks noGrp="1"/>
          </p:cNvSpPr>
          <p:nvPr>
            <p:ph type="body" sz="quarter" idx="36"/>
          </p:nvPr>
        </p:nvSpPr>
        <p:spPr bwMode="gray">
          <a:xfrm>
            <a:off x="7619795"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6" name="Text Placeholder 18">
            <a:extLst>
              <a:ext uri="{FF2B5EF4-FFF2-40B4-BE49-F238E27FC236}">
                <a16:creationId xmlns:a16="http://schemas.microsoft.com/office/drawing/2014/main" id="{82269CA9-20B1-41ED-94C6-442ACA56F7CE}"/>
              </a:ext>
            </a:extLst>
          </p:cNvPr>
          <p:cNvSpPr>
            <a:spLocks noGrp="1"/>
          </p:cNvSpPr>
          <p:nvPr>
            <p:ph type="body" sz="quarter" idx="37"/>
          </p:nvPr>
        </p:nvSpPr>
        <p:spPr bwMode="gray">
          <a:xfrm>
            <a:off x="9715423" y="4571955"/>
            <a:ext cx="1714795" cy="1523942"/>
          </a:xfrm>
        </p:spPr>
        <p:txBody>
          <a:bodyPr/>
          <a:lstStyle>
            <a:lvl1pPr>
              <a:lnSpc>
                <a:spcPct val="75000"/>
              </a:lnSpc>
              <a:defRPr sz="2381" b="1" cap="all" spc="26" baseline="0">
                <a:latin typeface="+mj-lt"/>
              </a:defRPr>
            </a:lvl1pPr>
            <a:lvl2pPr marL="0" indent="0" algn="l">
              <a:buNone/>
              <a:defRPr/>
            </a:lvl2pPr>
            <a:lvl3pPr>
              <a:buFont typeface="Wingdings" panose="05000000000000000000" pitchFamily="2" charset="2"/>
              <a:buChar char="§"/>
              <a:defRPr/>
            </a:lvl3pPr>
            <a:lvl4pPr marL="238086" indent="-238086">
              <a:buFont typeface="+mj-lt"/>
              <a:buAutoNum type="arabicPeriod"/>
              <a:defRPr/>
            </a:lvl4pPr>
            <a:lvl5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5pPr>
            <a:lvl6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6pPr>
            <a:lvl7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7pPr>
            <a:lvl8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8pPr>
            <a:lvl9pPr marL="0" indent="0">
              <a:lnSpc>
                <a:spcPct val="90000"/>
              </a:lnSpc>
              <a:spcBef>
                <a:spcPts val="0"/>
              </a:spcBef>
              <a:spcAft>
                <a:spcPts val="794"/>
              </a:spcAft>
              <a:buFont typeface="Arial" panose="020B0604020202020204" pitchFamily="34" charset="0"/>
              <a:buNone/>
              <a:defRPr sz="1587" cap="none" spc="0" baseline="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95821FD2-CD7E-4B52-8B54-4F5A29F34ECA}"/>
              </a:ext>
            </a:extLst>
          </p:cNvPr>
          <p:cNvSpPr>
            <a:spLocks noGrp="1"/>
          </p:cNvSpPr>
          <p:nvPr>
            <p:ph type="dt" sz="half" idx="38"/>
          </p:nvPr>
        </p:nvSpPr>
        <p:spPr/>
        <p:txBody>
          <a:bodyPr/>
          <a:lstStyle/>
          <a:p>
            <a:fld id="{5DC724CB-7C51-49BE-B508-918C152E663A}" type="datetime5">
              <a:rPr lang="en-US" smtClean="0"/>
              <a:t>6-Oct-21</a:t>
            </a:fld>
            <a:endParaRPr lang="en-US"/>
          </a:p>
        </p:txBody>
      </p:sp>
      <p:sp>
        <p:nvSpPr>
          <p:cNvPr id="4" name="Footer Placeholder 3">
            <a:extLst>
              <a:ext uri="{FF2B5EF4-FFF2-40B4-BE49-F238E27FC236}">
                <a16:creationId xmlns:a16="http://schemas.microsoft.com/office/drawing/2014/main" id="{DA443346-9A79-4C4A-A04B-C876B4F41F8C}"/>
              </a:ext>
            </a:extLst>
          </p:cNvPr>
          <p:cNvSpPr>
            <a:spLocks noGrp="1"/>
          </p:cNvSpPr>
          <p:nvPr>
            <p:ph type="ftr" sz="quarter" idx="39"/>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47083467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Highlight Slide (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380017" y="380068"/>
            <a:ext cx="6859180" cy="2286961"/>
          </a:xfrm>
        </p:spPr>
        <p:txBody>
          <a:bodyPr bIns="144000" anchor="t"/>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write over three lines or less.</a:t>
            </a:r>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380016" y="3048016"/>
            <a:ext cx="3810656" cy="3047882"/>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8001328" y="381116"/>
            <a:ext cx="3810021" cy="4952810"/>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4571739" y="3048015"/>
            <a:ext cx="2667459" cy="2285911"/>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C640C698-D1FC-4346-802E-9A807F4887ED}"/>
              </a:ext>
            </a:extLst>
          </p:cNvPr>
          <p:cNvSpPr>
            <a:spLocks noGrp="1"/>
          </p:cNvSpPr>
          <p:nvPr>
            <p:ph type="dt" sz="half" idx="25"/>
          </p:nvPr>
        </p:nvSpPr>
        <p:spPr/>
        <p:txBody>
          <a:bodyPr/>
          <a:lstStyle/>
          <a:p>
            <a:fld id="{DF6341BC-3763-4C94-BA52-8D34CA8470CD}" type="datetime5">
              <a:rPr lang="en-US" smtClean="0"/>
              <a:t>6-Oct-21</a:t>
            </a:fld>
            <a:endParaRPr lang="en-US"/>
          </a:p>
        </p:txBody>
      </p:sp>
      <p:sp>
        <p:nvSpPr>
          <p:cNvPr id="3" name="Footer Placeholder 2">
            <a:extLst>
              <a:ext uri="{FF2B5EF4-FFF2-40B4-BE49-F238E27FC236}">
                <a16:creationId xmlns:a16="http://schemas.microsoft.com/office/drawing/2014/main" id="{A6DB7F20-B0D4-4C7F-9BF0-B4DBA43B570D}"/>
              </a:ext>
            </a:extLst>
          </p:cNvPr>
          <p:cNvSpPr>
            <a:spLocks noGrp="1"/>
          </p:cNvSpPr>
          <p:nvPr>
            <p:ph type="ftr" sz="quarter" idx="26"/>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323281222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Highlight Slide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4952802" y="380068"/>
            <a:ext cx="6476804" cy="2667947"/>
          </a:xfrm>
        </p:spPr>
        <p:txBody>
          <a:bodyPr bIns="144000" anchor="t"/>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write over three lines or less.</a:t>
            </a:r>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1" y="0"/>
            <a:ext cx="4190672" cy="5714912"/>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7239196" y="4953073"/>
            <a:ext cx="3048525" cy="1904928"/>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4952802" y="3048015"/>
            <a:ext cx="4191723" cy="1523942"/>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90B42700-7453-4088-851F-E32391A21BE7}"/>
              </a:ext>
            </a:extLst>
          </p:cNvPr>
          <p:cNvSpPr>
            <a:spLocks noGrp="1"/>
          </p:cNvSpPr>
          <p:nvPr>
            <p:ph type="dt" sz="half" idx="25"/>
          </p:nvPr>
        </p:nvSpPr>
        <p:spPr/>
        <p:txBody>
          <a:bodyPr/>
          <a:lstStyle/>
          <a:p>
            <a:fld id="{9A23853D-352F-4E46-BAC4-58B866E040C5}" type="datetime5">
              <a:rPr lang="en-US" smtClean="0"/>
              <a:t>6-Oct-21</a:t>
            </a:fld>
            <a:endParaRPr lang="en-US"/>
          </a:p>
        </p:txBody>
      </p:sp>
      <p:sp>
        <p:nvSpPr>
          <p:cNvPr id="3" name="Footer Placeholder 2">
            <a:extLst>
              <a:ext uri="{FF2B5EF4-FFF2-40B4-BE49-F238E27FC236}">
                <a16:creationId xmlns:a16="http://schemas.microsoft.com/office/drawing/2014/main" id="{935A158C-9DE1-4594-BF7B-16FE0B5502C9}"/>
              </a:ext>
            </a:extLst>
          </p:cNvPr>
          <p:cNvSpPr>
            <a:spLocks noGrp="1"/>
          </p:cNvSpPr>
          <p:nvPr>
            <p:ph type="ftr" sz="quarter" idx="26"/>
          </p:nvPr>
        </p:nvSpPr>
        <p:spPr>
          <a:xfrm>
            <a:off x="1142717" y="6477934"/>
            <a:ext cx="5334480" cy="379993"/>
          </a:xfrm>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240459644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Highlight Slide (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55A5B4-1761-4158-AD97-0A59FBE14CA3}"/>
              </a:ext>
            </a:extLst>
          </p:cNvPr>
          <p:cNvSpPr>
            <a:spLocks noGrp="1"/>
          </p:cNvSpPr>
          <p:nvPr>
            <p:ph type="sldNum" sz="quarter" idx="12"/>
          </p:nvPr>
        </p:nvSpPr>
        <p:spPr bwMode="gray"/>
        <p:txBody>
          <a:bodyPr/>
          <a:lstStyle/>
          <a:p>
            <a:pPr>
              <a:defRPr/>
            </a:pPr>
            <a:fld id="{66C8B3C2-955F-42B1-8DED-EE47D723596C}" type="slidenum">
              <a:rPr lang="en-US" smtClean="0"/>
              <a:pPr>
                <a:defRPr/>
              </a:pPr>
              <a:t>‹#›</a:t>
            </a:fld>
            <a:endParaRPr lang="en-US"/>
          </a:p>
        </p:txBody>
      </p:sp>
      <p:sp>
        <p:nvSpPr>
          <p:cNvPr id="15" name="Title 4">
            <a:extLst>
              <a:ext uri="{FF2B5EF4-FFF2-40B4-BE49-F238E27FC236}">
                <a16:creationId xmlns:a16="http://schemas.microsoft.com/office/drawing/2014/main" id="{20882D91-F6FB-4F3D-A831-C600EBC6813C}"/>
              </a:ext>
            </a:extLst>
          </p:cNvPr>
          <p:cNvSpPr>
            <a:spLocks noGrp="1"/>
          </p:cNvSpPr>
          <p:nvPr>
            <p:ph type="title" hasCustomPrompt="1"/>
          </p:nvPr>
        </p:nvSpPr>
        <p:spPr bwMode="gray">
          <a:xfrm>
            <a:off x="380017" y="3048015"/>
            <a:ext cx="6859180" cy="3047883"/>
          </a:xfrm>
        </p:spPr>
        <p:txBody>
          <a:bodyPr bIns="144000" anchor="t"/>
          <a:lstStyle>
            <a:lvl1pPr>
              <a:lnSpc>
                <a:spcPct val="75000"/>
              </a:lnSpc>
              <a:defRPr sz="6349"/>
            </a:lvl1pPr>
            <a:lvl2pPr>
              <a:defRPr sz="6349"/>
            </a:lvl2pPr>
            <a:lvl3pPr>
              <a:defRPr sz="6349"/>
            </a:lvl3pPr>
            <a:lvl4pPr>
              <a:defRPr sz="6349"/>
            </a:lvl4pPr>
            <a:lvl5pPr>
              <a:defRPr sz="6349"/>
            </a:lvl5pPr>
            <a:lvl6pPr>
              <a:defRPr sz="6349"/>
            </a:lvl6pPr>
            <a:lvl7pPr>
              <a:defRPr sz="6349"/>
            </a:lvl7pPr>
            <a:lvl8pPr>
              <a:defRPr sz="6349"/>
            </a:lvl8pPr>
            <a:lvl9pPr>
              <a:defRPr sz="6349"/>
            </a:lvl9pPr>
          </a:lstStyle>
          <a:p>
            <a:pPr lvl="0"/>
            <a:r>
              <a:rPr lang="en-US"/>
              <a:t>Big long Key Message. You can write over four lines or less.</a:t>
            </a:r>
          </a:p>
        </p:txBody>
      </p:sp>
      <p:sp>
        <p:nvSpPr>
          <p:cNvPr id="16" name="Picture Placeholder 3">
            <a:extLst>
              <a:ext uri="{FF2B5EF4-FFF2-40B4-BE49-F238E27FC236}">
                <a16:creationId xmlns:a16="http://schemas.microsoft.com/office/drawing/2014/main" id="{103A0D1A-6894-4F1C-8355-B559A7B103BB}"/>
              </a:ext>
            </a:extLst>
          </p:cNvPr>
          <p:cNvSpPr>
            <a:spLocks noGrp="1"/>
          </p:cNvSpPr>
          <p:nvPr>
            <p:ph type="pic" sz="quarter" idx="18"/>
          </p:nvPr>
        </p:nvSpPr>
        <p:spPr bwMode="gray">
          <a:xfrm>
            <a:off x="1" y="0"/>
            <a:ext cx="8763459" cy="2667029"/>
          </a:xfrm>
          <a:solidFill>
            <a:schemeClr val="bg2">
              <a:lumMod val="20000"/>
              <a:lumOff val="80000"/>
            </a:schemeClr>
          </a:solidFill>
        </p:spPr>
        <p:txBody>
          <a:bodyPr anchor="ctr"/>
          <a:lstStyle>
            <a:lvl1pPr algn="ctr">
              <a:defRPr sz="1058" b="0">
                <a:solidFill>
                  <a:schemeClr val="tx1"/>
                </a:solidFill>
              </a:defRPr>
            </a:lvl1pPr>
          </a:lstStyle>
          <a:p>
            <a:r>
              <a:rPr lang="en-US" noProof="0"/>
              <a:t>Click icon to add picture</a:t>
            </a:r>
          </a:p>
        </p:txBody>
      </p:sp>
      <p:sp>
        <p:nvSpPr>
          <p:cNvPr id="17" name="Picture Placeholder 3">
            <a:extLst>
              <a:ext uri="{FF2B5EF4-FFF2-40B4-BE49-F238E27FC236}">
                <a16:creationId xmlns:a16="http://schemas.microsoft.com/office/drawing/2014/main" id="{49BE1287-86BC-420F-8478-80A41EEB9015}"/>
              </a:ext>
            </a:extLst>
          </p:cNvPr>
          <p:cNvSpPr>
            <a:spLocks noGrp="1"/>
          </p:cNvSpPr>
          <p:nvPr>
            <p:ph type="pic" sz="quarter" idx="23"/>
          </p:nvPr>
        </p:nvSpPr>
        <p:spPr bwMode="gray">
          <a:xfrm>
            <a:off x="8001328" y="4190971"/>
            <a:ext cx="3810021" cy="1904928"/>
          </a:xfrm>
          <a:solidFill>
            <a:schemeClr val="bg2">
              <a:lumMod val="40000"/>
              <a:lumOff val="60000"/>
            </a:schemeClr>
          </a:solidFill>
        </p:spPr>
        <p:txBody>
          <a:bodyPr anchor="ctr"/>
          <a:lstStyle>
            <a:lvl1pPr algn="ctr">
              <a:defRPr sz="1058" b="0">
                <a:solidFill>
                  <a:schemeClr val="tx1"/>
                </a:solidFill>
              </a:defRPr>
            </a:lvl1pPr>
          </a:lstStyle>
          <a:p>
            <a:r>
              <a:rPr lang="en-US" noProof="0"/>
              <a:t>Click icon to add picture</a:t>
            </a:r>
          </a:p>
        </p:txBody>
      </p:sp>
      <p:sp>
        <p:nvSpPr>
          <p:cNvPr id="19" name="Text Placeholder 18">
            <a:extLst>
              <a:ext uri="{FF2B5EF4-FFF2-40B4-BE49-F238E27FC236}">
                <a16:creationId xmlns:a16="http://schemas.microsoft.com/office/drawing/2014/main" id="{17E2B336-6773-4090-AA75-A7C3204A8F79}"/>
              </a:ext>
            </a:extLst>
          </p:cNvPr>
          <p:cNvSpPr>
            <a:spLocks noGrp="1"/>
          </p:cNvSpPr>
          <p:nvPr>
            <p:ph type="body" sz="quarter" idx="24"/>
          </p:nvPr>
        </p:nvSpPr>
        <p:spPr bwMode="gray">
          <a:xfrm>
            <a:off x="9144525" y="380068"/>
            <a:ext cx="2667328" cy="2286699"/>
          </a:xfrm>
        </p:spPr>
        <p:txBody>
          <a:bodyPr anchor="b"/>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13D69B59-023F-455A-BCAB-E18D564CE80C}"/>
              </a:ext>
            </a:extLst>
          </p:cNvPr>
          <p:cNvSpPr>
            <a:spLocks noGrp="1"/>
          </p:cNvSpPr>
          <p:nvPr>
            <p:ph type="dt" sz="half" idx="25"/>
          </p:nvPr>
        </p:nvSpPr>
        <p:spPr/>
        <p:txBody>
          <a:bodyPr/>
          <a:lstStyle/>
          <a:p>
            <a:fld id="{A204E266-779E-46F1-8000-C48F736D49BA}" type="datetime5">
              <a:rPr lang="en-US" smtClean="0"/>
              <a:t>6-Oct-21</a:t>
            </a:fld>
            <a:endParaRPr lang="en-US"/>
          </a:p>
        </p:txBody>
      </p:sp>
      <p:sp>
        <p:nvSpPr>
          <p:cNvPr id="3" name="Footer Placeholder 2">
            <a:extLst>
              <a:ext uri="{FF2B5EF4-FFF2-40B4-BE49-F238E27FC236}">
                <a16:creationId xmlns:a16="http://schemas.microsoft.com/office/drawing/2014/main" id="{325AC6B0-E0BC-4B75-BD21-ECEB5112C608}"/>
              </a:ext>
            </a:extLst>
          </p:cNvPr>
          <p:cNvSpPr>
            <a:spLocks noGrp="1"/>
          </p:cNvSpPr>
          <p:nvPr>
            <p:ph type="ftr" sz="quarter" idx="26"/>
          </p:nvPr>
        </p:nvSpPr>
        <p:spPr/>
        <p:txBody>
          <a:bodyPr/>
          <a:lstStyle/>
          <a:p>
            <a:pPr defTabSz="1218764">
              <a:lnSpc>
                <a:spcPct val="80000"/>
              </a:lnSpc>
            </a:pPr>
            <a:r>
              <a:rPr lang="de-DE"/>
              <a:t>FOOTER / PRESENTATION NAME</a:t>
            </a:r>
          </a:p>
        </p:txBody>
      </p:sp>
    </p:spTree>
    <p:extLst>
      <p:ext uri="{BB962C8B-B14F-4D97-AF65-F5344CB8AC3E}">
        <p14:creationId xmlns:p14="http://schemas.microsoft.com/office/powerpoint/2010/main" val="361391084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40" name="Text Placeholder 39"/>
          <p:cNvSpPr>
            <a:spLocks noGrp="1"/>
          </p:cNvSpPr>
          <p:nvPr>
            <p:ph type="body" sz="quarter" idx="13"/>
          </p:nvPr>
        </p:nvSpPr>
        <p:spPr bwMode="gray">
          <a:xfrm>
            <a:off x="38001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bwMode="gray">
          <a:xfrm>
            <a:off x="380960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bwMode="gray">
          <a:xfrm>
            <a:off x="723919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97B8C8F-512D-4840-86BB-CEB9544D8CE5}"/>
              </a:ext>
            </a:extLst>
          </p:cNvPr>
          <p:cNvSpPr>
            <a:spLocks noGrp="1"/>
          </p:cNvSpPr>
          <p:nvPr>
            <p:ph type="title"/>
          </p:nvPr>
        </p:nvSpPr>
        <p:spPr bwMode="gray"/>
        <p:txBody>
          <a:bodyPr/>
          <a:lstStyle/>
          <a:p>
            <a:r>
              <a:rPr lang="en-US"/>
              <a:t>Click to edit Master title style</a:t>
            </a:r>
          </a:p>
        </p:txBody>
      </p:sp>
      <p:sp>
        <p:nvSpPr>
          <p:cNvPr id="8" name="Slide Number Placeholder 7">
            <a:extLst>
              <a:ext uri="{FF2B5EF4-FFF2-40B4-BE49-F238E27FC236}">
                <a16:creationId xmlns:a16="http://schemas.microsoft.com/office/drawing/2014/main" id="{E8916C68-A2A4-48E3-BB80-81E28EE44E17}"/>
              </a:ext>
            </a:extLst>
          </p:cNvPr>
          <p:cNvSpPr>
            <a:spLocks noGrp="1"/>
          </p:cNvSpPr>
          <p:nvPr>
            <p:ph type="sldNum" sz="quarter" idx="18"/>
          </p:nvPr>
        </p:nvSpPr>
        <p:spPr bwMode="gray"/>
        <p:txBody>
          <a:bodyPr/>
          <a:lstStyle/>
          <a:p>
            <a:pPr>
              <a:defRPr/>
            </a:pPr>
            <a:fld id="{66C8B3C2-955F-42B1-8DED-EE47D723596C}" type="slidenum">
              <a:rPr lang="en-US" noProof="0" smtClean="0"/>
              <a:pPr>
                <a:defRPr/>
              </a:pPr>
              <a:t>‹#›</a:t>
            </a:fld>
            <a:endParaRPr lang="en-US" noProof="0"/>
          </a:p>
        </p:txBody>
      </p:sp>
      <p:grpSp>
        <p:nvGrpSpPr>
          <p:cNvPr id="37" name="Group 36">
            <a:extLst>
              <a:ext uri="{FF2B5EF4-FFF2-40B4-BE49-F238E27FC236}">
                <a16:creationId xmlns:a16="http://schemas.microsoft.com/office/drawing/2014/main" id="{0F43F632-D035-4929-ADCA-67D26910EE79}"/>
              </a:ext>
            </a:extLst>
          </p:cNvPr>
          <p:cNvGrpSpPr/>
          <p:nvPr userDrawn="1"/>
        </p:nvGrpSpPr>
        <p:grpSpPr bwMode="gray">
          <a:xfrm>
            <a:off x="3810636" y="1639902"/>
            <a:ext cx="297995" cy="265156"/>
            <a:chOff x="3511551" y="-1402656"/>
            <a:chExt cx="1443038" cy="1284288"/>
          </a:xfrm>
        </p:grpSpPr>
        <p:sp>
          <p:nvSpPr>
            <p:cNvPr id="38" name="Freeform 6">
              <a:extLst>
                <a:ext uri="{FF2B5EF4-FFF2-40B4-BE49-F238E27FC236}">
                  <a16:creationId xmlns:a16="http://schemas.microsoft.com/office/drawing/2014/main" id="{D3CA7162-5F80-4E4F-991B-16B47A7A7ECB}"/>
                </a:ext>
              </a:extLst>
            </p:cNvPr>
            <p:cNvSpPr>
              <a:spLocks/>
            </p:cNvSpPr>
            <p:nvPr/>
          </p:nvSpPr>
          <p:spPr bwMode="gray">
            <a:xfrm>
              <a:off x="3511551" y="-1208981"/>
              <a:ext cx="1443038" cy="1090613"/>
            </a:xfrm>
            <a:custGeom>
              <a:avLst/>
              <a:gdLst>
                <a:gd name="T0" fmla="*/ 620 w 909"/>
                <a:gd name="T1" fmla="*/ 0 h 687"/>
                <a:gd name="T2" fmla="*/ 909 w 909"/>
                <a:gd name="T3" fmla="*/ 0 h 687"/>
                <a:gd name="T4" fmla="*/ 909 w 909"/>
                <a:gd name="T5" fmla="*/ 687 h 687"/>
                <a:gd name="T6" fmla="*/ 0 w 909"/>
                <a:gd name="T7" fmla="*/ 687 h 687"/>
                <a:gd name="T8" fmla="*/ 0 w 909"/>
                <a:gd name="T9" fmla="*/ 0 h 687"/>
                <a:gd name="T10" fmla="*/ 290 w 909"/>
                <a:gd name="T11" fmla="*/ 0 h 687"/>
              </a:gdLst>
              <a:ahLst/>
              <a:cxnLst>
                <a:cxn ang="0">
                  <a:pos x="T0" y="T1"/>
                </a:cxn>
                <a:cxn ang="0">
                  <a:pos x="T2" y="T3"/>
                </a:cxn>
                <a:cxn ang="0">
                  <a:pos x="T4" y="T5"/>
                </a:cxn>
                <a:cxn ang="0">
                  <a:pos x="T6" y="T7"/>
                </a:cxn>
                <a:cxn ang="0">
                  <a:pos x="T8" y="T9"/>
                </a:cxn>
                <a:cxn ang="0">
                  <a:pos x="T10" y="T11"/>
                </a:cxn>
              </a:cxnLst>
              <a:rect l="0" t="0" r="r" b="b"/>
              <a:pathLst>
                <a:path w="909" h="687">
                  <a:moveTo>
                    <a:pt x="620" y="0"/>
                  </a:moveTo>
                  <a:lnTo>
                    <a:pt x="909" y="0"/>
                  </a:lnTo>
                  <a:lnTo>
                    <a:pt x="909" y="687"/>
                  </a:lnTo>
                  <a:lnTo>
                    <a:pt x="0" y="687"/>
                  </a:lnTo>
                  <a:lnTo>
                    <a:pt x="0" y="0"/>
                  </a:lnTo>
                  <a:lnTo>
                    <a:pt x="29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39" name="Freeform 7">
              <a:extLst>
                <a:ext uri="{FF2B5EF4-FFF2-40B4-BE49-F238E27FC236}">
                  <a16:creationId xmlns:a16="http://schemas.microsoft.com/office/drawing/2014/main" id="{B1E774EB-E89C-4FB6-9640-2D3E053FFF82}"/>
                </a:ext>
              </a:extLst>
            </p:cNvPr>
            <p:cNvSpPr>
              <a:spLocks/>
            </p:cNvSpPr>
            <p:nvPr/>
          </p:nvSpPr>
          <p:spPr bwMode="gray">
            <a:xfrm>
              <a:off x="3676651" y="-913706"/>
              <a:ext cx="528638" cy="628650"/>
            </a:xfrm>
            <a:custGeom>
              <a:avLst/>
              <a:gdLst>
                <a:gd name="T0" fmla="*/ 0 w 333"/>
                <a:gd name="T1" fmla="*/ 0 h 396"/>
                <a:gd name="T2" fmla="*/ 333 w 333"/>
                <a:gd name="T3" fmla="*/ 0 h 396"/>
                <a:gd name="T4" fmla="*/ 333 w 333"/>
                <a:gd name="T5" fmla="*/ 396 h 396"/>
                <a:gd name="T6" fmla="*/ 0 w 333"/>
                <a:gd name="T7" fmla="*/ 396 h 396"/>
                <a:gd name="T8" fmla="*/ 0 w 333"/>
                <a:gd name="T9" fmla="*/ 0 h 396"/>
                <a:gd name="T10" fmla="*/ 0 w 333"/>
                <a:gd name="T11" fmla="*/ 0 h 396"/>
              </a:gdLst>
              <a:ahLst/>
              <a:cxnLst>
                <a:cxn ang="0">
                  <a:pos x="T0" y="T1"/>
                </a:cxn>
                <a:cxn ang="0">
                  <a:pos x="T2" y="T3"/>
                </a:cxn>
                <a:cxn ang="0">
                  <a:pos x="T4" y="T5"/>
                </a:cxn>
                <a:cxn ang="0">
                  <a:pos x="T6" y="T7"/>
                </a:cxn>
                <a:cxn ang="0">
                  <a:pos x="T8" y="T9"/>
                </a:cxn>
                <a:cxn ang="0">
                  <a:pos x="T10" y="T11"/>
                </a:cxn>
              </a:cxnLst>
              <a:rect l="0" t="0" r="r" b="b"/>
              <a:pathLst>
                <a:path w="333" h="396">
                  <a:moveTo>
                    <a:pt x="0" y="0"/>
                  </a:moveTo>
                  <a:lnTo>
                    <a:pt x="333" y="0"/>
                  </a:lnTo>
                  <a:lnTo>
                    <a:pt x="333" y="396"/>
                  </a:lnTo>
                  <a:lnTo>
                    <a:pt x="0" y="396"/>
                  </a:lnTo>
                  <a:lnTo>
                    <a:pt x="0" y="0"/>
                  </a:lnTo>
                  <a:lnTo>
                    <a:pt x="0" y="0"/>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3" name="Freeform 8">
              <a:extLst>
                <a:ext uri="{FF2B5EF4-FFF2-40B4-BE49-F238E27FC236}">
                  <a16:creationId xmlns:a16="http://schemas.microsoft.com/office/drawing/2014/main" id="{8733B651-C3F8-436F-A648-A21DD06AF1CB}"/>
                </a:ext>
              </a:extLst>
            </p:cNvPr>
            <p:cNvSpPr>
              <a:spLocks/>
            </p:cNvSpPr>
            <p:nvPr/>
          </p:nvSpPr>
          <p:spPr bwMode="gray">
            <a:xfrm>
              <a:off x="3676651" y="-481906"/>
              <a:ext cx="528638" cy="196850"/>
            </a:xfrm>
            <a:custGeom>
              <a:avLst/>
              <a:gdLst>
                <a:gd name="T0" fmla="*/ 70 w 140"/>
                <a:gd name="T1" fmla="*/ 52 h 52"/>
                <a:gd name="T2" fmla="*/ 140 w 140"/>
                <a:gd name="T3" fmla="*/ 52 h 52"/>
                <a:gd name="T4" fmla="*/ 140 w 140"/>
                <a:gd name="T5" fmla="*/ 22 h 52"/>
                <a:gd name="T6" fmla="*/ 70 w 140"/>
                <a:gd name="T7" fmla="*/ 0 h 52"/>
                <a:gd name="T8" fmla="*/ 0 w 140"/>
                <a:gd name="T9" fmla="*/ 22 h 52"/>
                <a:gd name="T10" fmla="*/ 0 w 140"/>
                <a:gd name="T11" fmla="*/ 52 h 52"/>
                <a:gd name="T12" fmla="*/ 70 w 140"/>
                <a:gd name="T13" fmla="*/ 52 h 52"/>
                <a:gd name="T14" fmla="*/ 70 w 14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52">
                  <a:moveTo>
                    <a:pt x="70" y="52"/>
                  </a:moveTo>
                  <a:cubicBezTo>
                    <a:pt x="140" y="52"/>
                    <a:pt x="140" y="52"/>
                    <a:pt x="140" y="52"/>
                  </a:cubicBezTo>
                  <a:cubicBezTo>
                    <a:pt x="140" y="22"/>
                    <a:pt x="140" y="22"/>
                    <a:pt x="140" y="22"/>
                  </a:cubicBezTo>
                  <a:cubicBezTo>
                    <a:pt x="136" y="18"/>
                    <a:pt x="102" y="0"/>
                    <a:pt x="70" y="0"/>
                  </a:cubicBezTo>
                  <a:cubicBezTo>
                    <a:pt x="38" y="0"/>
                    <a:pt x="3" y="18"/>
                    <a:pt x="0" y="22"/>
                  </a:cubicBezTo>
                  <a:cubicBezTo>
                    <a:pt x="0" y="52"/>
                    <a:pt x="0" y="52"/>
                    <a:pt x="0" y="52"/>
                  </a:cubicBezTo>
                  <a:cubicBezTo>
                    <a:pt x="70" y="52"/>
                    <a:pt x="70" y="52"/>
                    <a:pt x="70" y="52"/>
                  </a:cubicBezTo>
                  <a:cubicBezTo>
                    <a:pt x="70" y="52"/>
                    <a:pt x="70" y="52"/>
                    <a:pt x="70" y="52"/>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4" name="Freeform 9">
              <a:extLst>
                <a:ext uri="{FF2B5EF4-FFF2-40B4-BE49-F238E27FC236}">
                  <a16:creationId xmlns:a16="http://schemas.microsoft.com/office/drawing/2014/main" id="{B97AE7A9-B741-43FB-8D3C-4F60A7A0FF36}"/>
                </a:ext>
              </a:extLst>
            </p:cNvPr>
            <p:cNvSpPr>
              <a:spLocks/>
            </p:cNvSpPr>
            <p:nvPr/>
          </p:nvSpPr>
          <p:spPr bwMode="gray">
            <a:xfrm>
              <a:off x="3843338" y="-807343"/>
              <a:ext cx="195263" cy="227013"/>
            </a:xfrm>
            <a:custGeom>
              <a:avLst/>
              <a:gdLst>
                <a:gd name="T0" fmla="*/ 26 w 52"/>
                <a:gd name="T1" fmla="*/ 0 h 60"/>
                <a:gd name="T2" fmla="*/ 26 w 52"/>
                <a:gd name="T3" fmla="*/ 0 h 60"/>
                <a:gd name="T4" fmla="*/ 0 w 52"/>
                <a:gd name="T5" fmla="*/ 26 h 60"/>
                <a:gd name="T6" fmla="*/ 0 w 52"/>
                <a:gd name="T7" fmla="*/ 34 h 60"/>
                <a:gd name="T8" fmla="*/ 26 w 52"/>
                <a:gd name="T9" fmla="*/ 60 h 60"/>
                <a:gd name="T10" fmla="*/ 26 w 52"/>
                <a:gd name="T11" fmla="*/ 60 h 60"/>
                <a:gd name="T12" fmla="*/ 52 w 52"/>
                <a:gd name="T13" fmla="*/ 34 h 60"/>
                <a:gd name="T14" fmla="*/ 52 w 52"/>
                <a:gd name="T15" fmla="*/ 26 h 60"/>
                <a:gd name="T16" fmla="*/ 26 w 52"/>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0">
                  <a:moveTo>
                    <a:pt x="26" y="0"/>
                  </a:moveTo>
                  <a:cubicBezTo>
                    <a:pt x="26" y="0"/>
                    <a:pt x="26" y="0"/>
                    <a:pt x="26" y="0"/>
                  </a:cubicBezTo>
                  <a:cubicBezTo>
                    <a:pt x="12" y="0"/>
                    <a:pt x="0" y="12"/>
                    <a:pt x="0" y="26"/>
                  </a:cubicBezTo>
                  <a:cubicBezTo>
                    <a:pt x="0" y="34"/>
                    <a:pt x="0" y="34"/>
                    <a:pt x="0" y="34"/>
                  </a:cubicBezTo>
                  <a:cubicBezTo>
                    <a:pt x="0" y="48"/>
                    <a:pt x="12" y="60"/>
                    <a:pt x="26" y="60"/>
                  </a:cubicBezTo>
                  <a:cubicBezTo>
                    <a:pt x="26" y="60"/>
                    <a:pt x="26" y="60"/>
                    <a:pt x="26" y="60"/>
                  </a:cubicBezTo>
                  <a:cubicBezTo>
                    <a:pt x="40" y="60"/>
                    <a:pt x="52" y="48"/>
                    <a:pt x="52" y="34"/>
                  </a:cubicBezTo>
                  <a:cubicBezTo>
                    <a:pt x="52" y="26"/>
                    <a:pt x="52" y="26"/>
                    <a:pt x="52" y="26"/>
                  </a:cubicBezTo>
                  <a:cubicBezTo>
                    <a:pt x="52" y="12"/>
                    <a:pt x="40" y="0"/>
                    <a:pt x="26" y="0"/>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5" name="Line 10">
              <a:extLst>
                <a:ext uri="{FF2B5EF4-FFF2-40B4-BE49-F238E27FC236}">
                  <a16:creationId xmlns:a16="http://schemas.microsoft.com/office/drawing/2014/main" id="{6B3FB9A6-8C9B-4C1B-B011-1BB6D504EAF6}"/>
                </a:ext>
              </a:extLst>
            </p:cNvPr>
            <p:cNvSpPr>
              <a:spLocks noChangeShapeType="1"/>
            </p:cNvSpPr>
            <p:nvPr/>
          </p:nvSpPr>
          <p:spPr bwMode="gray">
            <a:xfrm>
              <a:off x="4370388" y="-777181"/>
              <a:ext cx="41910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6" name="Line 11">
              <a:extLst>
                <a:ext uri="{FF2B5EF4-FFF2-40B4-BE49-F238E27FC236}">
                  <a16:creationId xmlns:a16="http://schemas.microsoft.com/office/drawing/2014/main" id="{6002E5A0-0E3A-47BC-9FCB-588B82BA9182}"/>
                </a:ext>
              </a:extLst>
            </p:cNvPr>
            <p:cNvSpPr>
              <a:spLocks noChangeShapeType="1"/>
            </p:cNvSpPr>
            <p:nvPr/>
          </p:nvSpPr>
          <p:spPr bwMode="gray">
            <a:xfrm>
              <a:off x="4370388" y="-629543"/>
              <a:ext cx="41910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7" name="Line 12">
              <a:extLst>
                <a:ext uri="{FF2B5EF4-FFF2-40B4-BE49-F238E27FC236}">
                  <a16:creationId xmlns:a16="http://schemas.microsoft.com/office/drawing/2014/main" id="{697081B6-0B5B-4092-AB26-CF24C2A57D97}"/>
                </a:ext>
              </a:extLst>
            </p:cNvPr>
            <p:cNvSpPr>
              <a:spLocks noChangeShapeType="1"/>
            </p:cNvSpPr>
            <p:nvPr/>
          </p:nvSpPr>
          <p:spPr bwMode="gray">
            <a:xfrm>
              <a:off x="4370388" y="-481906"/>
              <a:ext cx="222250"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8" name="Line 13">
              <a:extLst>
                <a:ext uri="{FF2B5EF4-FFF2-40B4-BE49-F238E27FC236}">
                  <a16:creationId xmlns:a16="http://schemas.microsoft.com/office/drawing/2014/main" id="{167C52FF-F37C-434F-AEE1-BDA8477467BE}"/>
                </a:ext>
              </a:extLst>
            </p:cNvPr>
            <p:cNvSpPr>
              <a:spLocks noChangeShapeType="1"/>
            </p:cNvSpPr>
            <p:nvPr/>
          </p:nvSpPr>
          <p:spPr bwMode="gray">
            <a:xfrm>
              <a:off x="3971926" y="-1069281"/>
              <a:ext cx="5238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49" name="Freeform 14">
              <a:extLst>
                <a:ext uri="{FF2B5EF4-FFF2-40B4-BE49-F238E27FC236}">
                  <a16:creationId xmlns:a16="http://schemas.microsoft.com/office/drawing/2014/main" id="{8841CA98-4837-4EED-B9CB-6A97AB8A73AB}"/>
                </a:ext>
              </a:extLst>
            </p:cNvPr>
            <p:cNvSpPr>
              <a:spLocks/>
            </p:cNvSpPr>
            <p:nvPr/>
          </p:nvSpPr>
          <p:spPr bwMode="gray">
            <a:xfrm>
              <a:off x="4103688" y="-1402656"/>
              <a:ext cx="260350" cy="333375"/>
            </a:xfrm>
            <a:custGeom>
              <a:avLst/>
              <a:gdLst>
                <a:gd name="T0" fmla="*/ 0 w 164"/>
                <a:gd name="T1" fmla="*/ 0 h 210"/>
                <a:gd name="T2" fmla="*/ 164 w 164"/>
                <a:gd name="T3" fmla="*/ 0 h 210"/>
                <a:gd name="T4" fmla="*/ 164 w 164"/>
                <a:gd name="T5" fmla="*/ 210 h 210"/>
                <a:gd name="T6" fmla="*/ 0 w 164"/>
                <a:gd name="T7" fmla="*/ 210 h 210"/>
                <a:gd name="T8" fmla="*/ 0 w 164"/>
                <a:gd name="T9" fmla="*/ 0 h 210"/>
                <a:gd name="T10" fmla="*/ 0 w 164"/>
                <a:gd name="T11" fmla="*/ 0 h 210"/>
              </a:gdLst>
              <a:ahLst/>
              <a:cxnLst>
                <a:cxn ang="0">
                  <a:pos x="T0" y="T1"/>
                </a:cxn>
                <a:cxn ang="0">
                  <a:pos x="T2" y="T3"/>
                </a:cxn>
                <a:cxn ang="0">
                  <a:pos x="T4" y="T5"/>
                </a:cxn>
                <a:cxn ang="0">
                  <a:pos x="T6" y="T7"/>
                </a:cxn>
                <a:cxn ang="0">
                  <a:pos x="T8" y="T9"/>
                </a:cxn>
                <a:cxn ang="0">
                  <a:pos x="T10" y="T11"/>
                </a:cxn>
              </a:cxnLst>
              <a:rect l="0" t="0" r="r" b="b"/>
              <a:pathLst>
                <a:path w="164" h="210">
                  <a:moveTo>
                    <a:pt x="0" y="0"/>
                  </a:moveTo>
                  <a:lnTo>
                    <a:pt x="164" y="0"/>
                  </a:lnTo>
                  <a:lnTo>
                    <a:pt x="164" y="210"/>
                  </a:lnTo>
                  <a:lnTo>
                    <a:pt x="0" y="210"/>
                  </a:lnTo>
                  <a:lnTo>
                    <a:pt x="0" y="0"/>
                  </a:lnTo>
                  <a:lnTo>
                    <a:pt x="0" y="0"/>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grpSp>
        <p:nvGrpSpPr>
          <p:cNvPr id="50" name="Group 49">
            <a:extLst>
              <a:ext uri="{FF2B5EF4-FFF2-40B4-BE49-F238E27FC236}">
                <a16:creationId xmlns:a16="http://schemas.microsoft.com/office/drawing/2014/main" id="{E552AA60-8729-4069-8126-8953260C600E}"/>
              </a:ext>
            </a:extLst>
          </p:cNvPr>
          <p:cNvGrpSpPr/>
          <p:nvPr userDrawn="1"/>
        </p:nvGrpSpPr>
        <p:grpSpPr bwMode="gray">
          <a:xfrm>
            <a:off x="380017" y="1641541"/>
            <a:ext cx="382247" cy="263517"/>
            <a:chOff x="623888" y="-1394718"/>
            <a:chExt cx="1851025" cy="1276350"/>
          </a:xfrm>
        </p:grpSpPr>
        <p:sp>
          <p:nvSpPr>
            <p:cNvPr id="51" name="Freeform 5">
              <a:extLst>
                <a:ext uri="{FF2B5EF4-FFF2-40B4-BE49-F238E27FC236}">
                  <a16:creationId xmlns:a16="http://schemas.microsoft.com/office/drawing/2014/main" id="{76D5F37B-C1DA-43CF-BE7D-B8CEF2AF786A}"/>
                </a:ext>
              </a:extLst>
            </p:cNvPr>
            <p:cNvSpPr>
              <a:spLocks/>
            </p:cNvSpPr>
            <p:nvPr/>
          </p:nvSpPr>
          <p:spPr bwMode="gray">
            <a:xfrm>
              <a:off x="623888" y="-1394718"/>
              <a:ext cx="1851025" cy="1276350"/>
            </a:xfrm>
            <a:custGeom>
              <a:avLst/>
              <a:gdLst>
                <a:gd name="T0" fmla="*/ 491 w 491"/>
                <a:gd name="T1" fmla="*/ 168 h 337"/>
                <a:gd name="T2" fmla="*/ 246 w 491"/>
                <a:gd name="T3" fmla="*/ 337 h 337"/>
                <a:gd name="T4" fmla="*/ 0 w 491"/>
                <a:gd name="T5" fmla="*/ 168 h 337"/>
                <a:gd name="T6" fmla="*/ 245 w 491"/>
                <a:gd name="T7" fmla="*/ 0 h 337"/>
                <a:gd name="T8" fmla="*/ 491 w 491"/>
                <a:gd name="T9" fmla="*/ 168 h 337"/>
              </a:gdLst>
              <a:ahLst/>
              <a:cxnLst>
                <a:cxn ang="0">
                  <a:pos x="T0" y="T1"/>
                </a:cxn>
                <a:cxn ang="0">
                  <a:pos x="T2" y="T3"/>
                </a:cxn>
                <a:cxn ang="0">
                  <a:pos x="T4" y="T5"/>
                </a:cxn>
                <a:cxn ang="0">
                  <a:pos x="T6" y="T7"/>
                </a:cxn>
                <a:cxn ang="0">
                  <a:pos x="T8" y="T9"/>
                </a:cxn>
              </a:cxnLst>
              <a:rect l="0" t="0" r="r" b="b"/>
              <a:pathLst>
                <a:path w="491" h="337">
                  <a:moveTo>
                    <a:pt x="491" y="168"/>
                  </a:moveTo>
                  <a:cubicBezTo>
                    <a:pt x="491" y="168"/>
                    <a:pt x="382" y="337"/>
                    <a:pt x="246" y="337"/>
                  </a:cubicBezTo>
                  <a:cubicBezTo>
                    <a:pt x="111" y="337"/>
                    <a:pt x="0" y="168"/>
                    <a:pt x="0" y="168"/>
                  </a:cubicBezTo>
                  <a:cubicBezTo>
                    <a:pt x="0" y="168"/>
                    <a:pt x="109" y="0"/>
                    <a:pt x="245" y="0"/>
                  </a:cubicBezTo>
                  <a:cubicBezTo>
                    <a:pt x="380" y="0"/>
                    <a:pt x="491" y="168"/>
                    <a:pt x="491" y="168"/>
                  </a:cubicBez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2" name="Oval 15">
              <a:extLst>
                <a:ext uri="{FF2B5EF4-FFF2-40B4-BE49-F238E27FC236}">
                  <a16:creationId xmlns:a16="http://schemas.microsoft.com/office/drawing/2014/main" id="{85B85F39-32F9-4058-A9C7-FA8ACFA2D32F}"/>
                </a:ext>
              </a:extLst>
            </p:cNvPr>
            <p:cNvSpPr>
              <a:spLocks noChangeArrowheads="1"/>
            </p:cNvSpPr>
            <p:nvPr/>
          </p:nvSpPr>
          <p:spPr bwMode="gray">
            <a:xfrm>
              <a:off x="1276351" y="-1031181"/>
              <a:ext cx="546100" cy="549275"/>
            </a:xfrm>
            <a:prstGeom prst="ellips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3" name="Freeform 16">
              <a:extLst>
                <a:ext uri="{FF2B5EF4-FFF2-40B4-BE49-F238E27FC236}">
                  <a16:creationId xmlns:a16="http://schemas.microsoft.com/office/drawing/2014/main" id="{32B7951B-9248-48A0-9D56-F8ECEF0A70AF}"/>
                </a:ext>
              </a:extLst>
            </p:cNvPr>
            <p:cNvSpPr>
              <a:spLocks/>
            </p:cNvSpPr>
            <p:nvPr/>
          </p:nvSpPr>
          <p:spPr bwMode="gray">
            <a:xfrm>
              <a:off x="1084263" y="-1137543"/>
              <a:ext cx="192088" cy="757238"/>
            </a:xfrm>
            <a:custGeom>
              <a:avLst/>
              <a:gdLst>
                <a:gd name="T0" fmla="*/ 51 w 51"/>
                <a:gd name="T1" fmla="*/ 200 h 200"/>
                <a:gd name="T2" fmla="*/ 0 w 51"/>
                <a:gd name="T3" fmla="*/ 100 h 200"/>
                <a:gd name="T4" fmla="*/ 51 w 51"/>
                <a:gd name="T5" fmla="*/ 0 h 200"/>
              </a:gdLst>
              <a:ahLst/>
              <a:cxnLst>
                <a:cxn ang="0">
                  <a:pos x="T0" y="T1"/>
                </a:cxn>
                <a:cxn ang="0">
                  <a:pos x="T2" y="T3"/>
                </a:cxn>
                <a:cxn ang="0">
                  <a:pos x="T4" y="T5"/>
                </a:cxn>
              </a:cxnLst>
              <a:rect l="0" t="0" r="r" b="b"/>
              <a:pathLst>
                <a:path w="51" h="200">
                  <a:moveTo>
                    <a:pt x="51" y="200"/>
                  </a:moveTo>
                  <a:cubicBezTo>
                    <a:pt x="20" y="178"/>
                    <a:pt x="0" y="142"/>
                    <a:pt x="0" y="100"/>
                  </a:cubicBezTo>
                  <a:cubicBezTo>
                    <a:pt x="0" y="59"/>
                    <a:pt x="20" y="23"/>
                    <a:pt x="51" y="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4" name="Freeform 17">
              <a:extLst>
                <a:ext uri="{FF2B5EF4-FFF2-40B4-BE49-F238E27FC236}">
                  <a16:creationId xmlns:a16="http://schemas.microsoft.com/office/drawing/2014/main" id="{42D29D02-129A-4D2C-B3B3-FE291897F40A}"/>
                </a:ext>
              </a:extLst>
            </p:cNvPr>
            <p:cNvSpPr>
              <a:spLocks/>
            </p:cNvSpPr>
            <p:nvPr/>
          </p:nvSpPr>
          <p:spPr bwMode="gray">
            <a:xfrm>
              <a:off x="1822451" y="-1137543"/>
              <a:ext cx="192088" cy="757238"/>
            </a:xfrm>
            <a:custGeom>
              <a:avLst/>
              <a:gdLst>
                <a:gd name="T0" fmla="*/ 0 w 51"/>
                <a:gd name="T1" fmla="*/ 0 h 200"/>
                <a:gd name="T2" fmla="*/ 51 w 51"/>
                <a:gd name="T3" fmla="*/ 100 h 200"/>
                <a:gd name="T4" fmla="*/ 0 w 51"/>
                <a:gd name="T5" fmla="*/ 200 h 200"/>
              </a:gdLst>
              <a:ahLst/>
              <a:cxnLst>
                <a:cxn ang="0">
                  <a:pos x="T0" y="T1"/>
                </a:cxn>
                <a:cxn ang="0">
                  <a:pos x="T2" y="T3"/>
                </a:cxn>
                <a:cxn ang="0">
                  <a:pos x="T4" y="T5"/>
                </a:cxn>
              </a:cxnLst>
              <a:rect l="0" t="0" r="r" b="b"/>
              <a:pathLst>
                <a:path w="51" h="200">
                  <a:moveTo>
                    <a:pt x="0" y="0"/>
                  </a:moveTo>
                  <a:cubicBezTo>
                    <a:pt x="31" y="23"/>
                    <a:pt x="51" y="59"/>
                    <a:pt x="51" y="100"/>
                  </a:cubicBezTo>
                  <a:cubicBezTo>
                    <a:pt x="51" y="142"/>
                    <a:pt x="31" y="178"/>
                    <a:pt x="0" y="200"/>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grpSp>
        <p:nvGrpSpPr>
          <p:cNvPr id="55" name="Group 30">
            <a:extLst>
              <a:ext uri="{FF2B5EF4-FFF2-40B4-BE49-F238E27FC236}">
                <a16:creationId xmlns:a16="http://schemas.microsoft.com/office/drawing/2014/main" id="{F01704B8-D01A-49AE-8879-A259941D91EC}"/>
              </a:ext>
            </a:extLst>
          </p:cNvPr>
          <p:cNvGrpSpPr>
            <a:grpSpLocks noChangeAspect="1"/>
          </p:cNvGrpSpPr>
          <p:nvPr userDrawn="1"/>
        </p:nvGrpSpPr>
        <p:grpSpPr bwMode="gray">
          <a:xfrm>
            <a:off x="7239197" y="1606303"/>
            <a:ext cx="235053" cy="298756"/>
            <a:chOff x="2556" y="1196"/>
            <a:chExt cx="693" cy="881"/>
          </a:xfrm>
        </p:grpSpPr>
        <p:sp>
          <p:nvSpPr>
            <p:cNvPr id="56" name="Rectangle 31">
              <a:extLst>
                <a:ext uri="{FF2B5EF4-FFF2-40B4-BE49-F238E27FC236}">
                  <a16:creationId xmlns:a16="http://schemas.microsoft.com/office/drawing/2014/main" id="{AC90A230-641C-4668-BA37-263DB6F42A1D}"/>
                </a:ext>
              </a:extLst>
            </p:cNvPr>
            <p:cNvSpPr>
              <a:spLocks noChangeArrowheads="1"/>
            </p:cNvSpPr>
            <p:nvPr/>
          </p:nvSpPr>
          <p:spPr bwMode="gray">
            <a:xfrm>
              <a:off x="2688" y="1196"/>
              <a:ext cx="431" cy="108"/>
            </a:xfrm>
            <a:prstGeom prst="rect">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7" name="Freeform 32">
              <a:extLst>
                <a:ext uri="{FF2B5EF4-FFF2-40B4-BE49-F238E27FC236}">
                  <a16:creationId xmlns:a16="http://schemas.microsoft.com/office/drawing/2014/main" id="{C45D1171-2E96-466C-9651-6D488B7894BE}"/>
                </a:ext>
              </a:extLst>
            </p:cNvPr>
            <p:cNvSpPr>
              <a:spLocks/>
            </p:cNvSpPr>
            <p:nvPr/>
          </p:nvSpPr>
          <p:spPr bwMode="gray">
            <a:xfrm>
              <a:off x="2556" y="1239"/>
              <a:ext cx="693" cy="838"/>
            </a:xfrm>
            <a:custGeom>
              <a:avLst/>
              <a:gdLst>
                <a:gd name="T0" fmla="*/ 563 w 693"/>
                <a:gd name="T1" fmla="*/ 0 h 838"/>
                <a:gd name="T2" fmla="*/ 693 w 693"/>
                <a:gd name="T3" fmla="*/ 0 h 838"/>
                <a:gd name="T4" fmla="*/ 693 w 693"/>
                <a:gd name="T5" fmla="*/ 838 h 838"/>
                <a:gd name="T6" fmla="*/ 0 w 693"/>
                <a:gd name="T7" fmla="*/ 838 h 838"/>
                <a:gd name="T8" fmla="*/ 0 w 693"/>
                <a:gd name="T9" fmla="*/ 0 h 838"/>
                <a:gd name="T10" fmla="*/ 132 w 693"/>
                <a:gd name="T11" fmla="*/ 0 h 838"/>
              </a:gdLst>
              <a:ahLst/>
              <a:cxnLst>
                <a:cxn ang="0">
                  <a:pos x="T0" y="T1"/>
                </a:cxn>
                <a:cxn ang="0">
                  <a:pos x="T2" y="T3"/>
                </a:cxn>
                <a:cxn ang="0">
                  <a:pos x="T4" y="T5"/>
                </a:cxn>
                <a:cxn ang="0">
                  <a:pos x="T6" y="T7"/>
                </a:cxn>
                <a:cxn ang="0">
                  <a:pos x="T8" y="T9"/>
                </a:cxn>
                <a:cxn ang="0">
                  <a:pos x="T10" y="T11"/>
                </a:cxn>
              </a:cxnLst>
              <a:rect l="0" t="0" r="r" b="b"/>
              <a:pathLst>
                <a:path w="693" h="838">
                  <a:moveTo>
                    <a:pt x="563" y="0"/>
                  </a:moveTo>
                  <a:lnTo>
                    <a:pt x="693" y="0"/>
                  </a:lnTo>
                  <a:lnTo>
                    <a:pt x="693" y="838"/>
                  </a:lnTo>
                  <a:lnTo>
                    <a:pt x="0" y="838"/>
                  </a:lnTo>
                  <a:lnTo>
                    <a:pt x="0" y="0"/>
                  </a:lnTo>
                  <a:lnTo>
                    <a:pt x="13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8" name="Freeform 33">
              <a:extLst>
                <a:ext uri="{FF2B5EF4-FFF2-40B4-BE49-F238E27FC236}">
                  <a16:creationId xmlns:a16="http://schemas.microsoft.com/office/drawing/2014/main" id="{1B0357C3-0B79-40F8-8625-1925F968A474}"/>
                </a:ext>
              </a:extLst>
            </p:cNvPr>
            <p:cNvSpPr>
              <a:spLocks/>
            </p:cNvSpPr>
            <p:nvPr/>
          </p:nvSpPr>
          <p:spPr bwMode="gray">
            <a:xfrm>
              <a:off x="2664" y="1452"/>
              <a:ext cx="173" cy="171"/>
            </a:xfrm>
            <a:custGeom>
              <a:avLst/>
              <a:gdLst>
                <a:gd name="T0" fmla="*/ 173 w 173"/>
                <a:gd name="T1" fmla="*/ 171 h 171"/>
                <a:gd name="T2" fmla="*/ 0 w 173"/>
                <a:gd name="T3" fmla="*/ 171 h 171"/>
                <a:gd name="T4" fmla="*/ 0 w 173"/>
                <a:gd name="T5" fmla="*/ 0 h 171"/>
                <a:gd name="T6" fmla="*/ 72 w 173"/>
                <a:gd name="T7" fmla="*/ 0 h 171"/>
              </a:gdLst>
              <a:ahLst/>
              <a:cxnLst>
                <a:cxn ang="0">
                  <a:pos x="T0" y="T1"/>
                </a:cxn>
                <a:cxn ang="0">
                  <a:pos x="T2" y="T3"/>
                </a:cxn>
                <a:cxn ang="0">
                  <a:pos x="T4" y="T5"/>
                </a:cxn>
                <a:cxn ang="0">
                  <a:pos x="T6" y="T7"/>
                </a:cxn>
              </a:cxnLst>
              <a:rect l="0" t="0" r="r" b="b"/>
              <a:pathLst>
                <a:path w="173" h="171">
                  <a:moveTo>
                    <a:pt x="173" y="171"/>
                  </a:moveTo>
                  <a:lnTo>
                    <a:pt x="0" y="171"/>
                  </a:lnTo>
                  <a:lnTo>
                    <a:pt x="0" y="0"/>
                  </a:lnTo>
                  <a:lnTo>
                    <a:pt x="7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59" name="Freeform 34">
              <a:extLst>
                <a:ext uri="{FF2B5EF4-FFF2-40B4-BE49-F238E27FC236}">
                  <a16:creationId xmlns:a16="http://schemas.microsoft.com/office/drawing/2014/main" id="{CBD1765B-D6F4-42D1-8E15-47ED15457FB3}"/>
                </a:ext>
              </a:extLst>
            </p:cNvPr>
            <p:cNvSpPr>
              <a:spLocks/>
            </p:cNvSpPr>
            <p:nvPr/>
          </p:nvSpPr>
          <p:spPr bwMode="gray">
            <a:xfrm>
              <a:off x="2741" y="1471"/>
              <a:ext cx="127" cy="81"/>
            </a:xfrm>
            <a:custGeom>
              <a:avLst/>
              <a:gdLst>
                <a:gd name="T0" fmla="*/ 0 w 127"/>
                <a:gd name="T1" fmla="*/ 38 h 81"/>
                <a:gd name="T2" fmla="*/ 43 w 127"/>
                <a:gd name="T3" fmla="*/ 81 h 81"/>
                <a:gd name="T4" fmla="*/ 127 w 127"/>
                <a:gd name="T5" fmla="*/ 0 h 81"/>
              </a:gdLst>
              <a:ahLst/>
              <a:cxnLst>
                <a:cxn ang="0">
                  <a:pos x="T0" y="T1"/>
                </a:cxn>
                <a:cxn ang="0">
                  <a:pos x="T2" y="T3"/>
                </a:cxn>
                <a:cxn ang="0">
                  <a:pos x="T4" y="T5"/>
                </a:cxn>
              </a:cxnLst>
              <a:rect l="0" t="0" r="r" b="b"/>
              <a:pathLst>
                <a:path w="127" h="81">
                  <a:moveTo>
                    <a:pt x="0" y="38"/>
                  </a:moveTo>
                  <a:lnTo>
                    <a:pt x="43" y="81"/>
                  </a:lnTo>
                  <a:lnTo>
                    <a:pt x="127"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0" name="Line 35">
              <a:extLst>
                <a:ext uri="{FF2B5EF4-FFF2-40B4-BE49-F238E27FC236}">
                  <a16:creationId xmlns:a16="http://schemas.microsoft.com/office/drawing/2014/main" id="{8BD15E90-BE96-4BD5-A4F3-E13B710D1525}"/>
                </a:ext>
              </a:extLst>
            </p:cNvPr>
            <p:cNvSpPr>
              <a:spLocks noChangeShapeType="1"/>
            </p:cNvSpPr>
            <p:nvPr/>
          </p:nvSpPr>
          <p:spPr bwMode="gray">
            <a:xfrm>
              <a:off x="2929" y="1779"/>
              <a:ext cx="214"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1" name="Line 36">
              <a:extLst>
                <a:ext uri="{FF2B5EF4-FFF2-40B4-BE49-F238E27FC236}">
                  <a16:creationId xmlns:a16="http://schemas.microsoft.com/office/drawing/2014/main" id="{1703B673-4E8E-4B07-BB6A-A66FB6F2F939}"/>
                </a:ext>
              </a:extLst>
            </p:cNvPr>
            <p:cNvSpPr>
              <a:spLocks noChangeShapeType="1"/>
            </p:cNvSpPr>
            <p:nvPr/>
          </p:nvSpPr>
          <p:spPr bwMode="gray">
            <a:xfrm>
              <a:off x="2929" y="1867"/>
              <a:ext cx="13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2" name="Freeform 37">
              <a:extLst>
                <a:ext uri="{FF2B5EF4-FFF2-40B4-BE49-F238E27FC236}">
                  <a16:creationId xmlns:a16="http://schemas.microsoft.com/office/drawing/2014/main" id="{F2C7E138-8EBB-49E2-9E85-74EEDD10FA01}"/>
                </a:ext>
              </a:extLst>
            </p:cNvPr>
            <p:cNvSpPr>
              <a:spLocks/>
            </p:cNvSpPr>
            <p:nvPr/>
          </p:nvSpPr>
          <p:spPr bwMode="gray">
            <a:xfrm>
              <a:off x="2664" y="1752"/>
              <a:ext cx="173" cy="172"/>
            </a:xfrm>
            <a:custGeom>
              <a:avLst/>
              <a:gdLst>
                <a:gd name="T0" fmla="*/ 173 w 173"/>
                <a:gd name="T1" fmla="*/ 172 h 172"/>
                <a:gd name="T2" fmla="*/ 0 w 173"/>
                <a:gd name="T3" fmla="*/ 172 h 172"/>
                <a:gd name="T4" fmla="*/ 0 w 173"/>
                <a:gd name="T5" fmla="*/ 0 h 172"/>
                <a:gd name="T6" fmla="*/ 72 w 173"/>
                <a:gd name="T7" fmla="*/ 0 h 172"/>
              </a:gdLst>
              <a:ahLst/>
              <a:cxnLst>
                <a:cxn ang="0">
                  <a:pos x="T0" y="T1"/>
                </a:cxn>
                <a:cxn ang="0">
                  <a:pos x="T2" y="T3"/>
                </a:cxn>
                <a:cxn ang="0">
                  <a:pos x="T4" y="T5"/>
                </a:cxn>
                <a:cxn ang="0">
                  <a:pos x="T6" y="T7"/>
                </a:cxn>
              </a:cxnLst>
              <a:rect l="0" t="0" r="r" b="b"/>
              <a:pathLst>
                <a:path w="173" h="172">
                  <a:moveTo>
                    <a:pt x="173" y="172"/>
                  </a:moveTo>
                  <a:lnTo>
                    <a:pt x="0" y="172"/>
                  </a:lnTo>
                  <a:lnTo>
                    <a:pt x="0" y="0"/>
                  </a:lnTo>
                  <a:lnTo>
                    <a:pt x="72"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3" name="Freeform 38">
              <a:extLst>
                <a:ext uri="{FF2B5EF4-FFF2-40B4-BE49-F238E27FC236}">
                  <a16:creationId xmlns:a16="http://schemas.microsoft.com/office/drawing/2014/main" id="{7EDAAF62-EFB6-4694-BE89-8F55A99B8EC7}"/>
                </a:ext>
              </a:extLst>
            </p:cNvPr>
            <p:cNvSpPr>
              <a:spLocks/>
            </p:cNvSpPr>
            <p:nvPr/>
          </p:nvSpPr>
          <p:spPr bwMode="gray">
            <a:xfrm>
              <a:off x="2741" y="1771"/>
              <a:ext cx="127" cy="82"/>
            </a:xfrm>
            <a:custGeom>
              <a:avLst/>
              <a:gdLst>
                <a:gd name="T0" fmla="*/ 0 w 127"/>
                <a:gd name="T1" fmla="*/ 39 h 82"/>
                <a:gd name="T2" fmla="*/ 43 w 127"/>
                <a:gd name="T3" fmla="*/ 82 h 82"/>
                <a:gd name="T4" fmla="*/ 127 w 127"/>
                <a:gd name="T5" fmla="*/ 0 h 82"/>
              </a:gdLst>
              <a:ahLst/>
              <a:cxnLst>
                <a:cxn ang="0">
                  <a:pos x="T0" y="T1"/>
                </a:cxn>
                <a:cxn ang="0">
                  <a:pos x="T2" y="T3"/>
                </a:cxn>
                <a:cxn ang="0">
                  <a:pos x="T4" y="T5"/>
                </a:cxn>
              </a:cxnLst>
              <a:rect l="0" t="0" r="r" b="b"/>
              <a:pathLst>
                <a:path w="127" h="82">
                  <a:moveTo>
                    <a:pt x="0" y="39"/>
                  </a:moveTo>
                  <a:lnTo>
                    <a:pt x="43" y="82"/>
                  </a:lnTo>
                  <a:lnTo>
                    <a:pt x="127"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4" name="Line 39">
              <a:extLst>
                <a:ext uri="{FF2B5EF4-FFF2-40B4-BE49-F238E27FC236}">
                  <a16:creationId xmlns:a16="http://schemas.microsoft.com/office/drawing/2014/main" id="{F92A5DBA-EC46-45C9-A50E-44355F31F2F1}"/>
                </a:ext>
              </a:extLst>
            </p:cNvPr>
            <p:cNvSpPr>
              <a:spLocks noChangeShapeType="1"/>
            </p:cNvSpPr>
            <p:nvPr/>
          </p:nvSpPr>
          <p:spPr bwMode="gray">
            <a:xfrm>
              <a:off x="2929" y="1471"/>
              <a:ext cx="214"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sp>
          <p:nvSpPr>
            <p:cNvPr id="65" name="Line 40">
              <a:extLst>
                <a:ext uri="{FF2B5EF4-FFF2-40B4-BE49-F238E27FC236}">
                  <a16:creationId xmlns:a16="http://schemas.microsoft.com/office/drawing/2014/main" id="{413E9C72-7B21-4656-8EB1-4A1AE7AB01B2}"/>
                </a:ext>
              </a:extLst>
            </p:cNvPr>
            <p:cNvSpPr>
              <a:spLocks noChangeShapeType="1"/>
            </p:cNvSpPr>
            <p:nvPr/>
          </p:nvSpPr>
          <p:spPr bwMode="gray">
            <a:xfrm>
              <a:off x="2929" y="1559"/>
              <a:ext cx="13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a:latin typeface="adineue PRO Cond" panose="020B0503020201060004" pitchFamily="34" charset="0"/>
              </a:endParaRPr>
            </a:p>
          </p:txBody>
        </p:sp>
      </p:grpSp>
      <p:sp>
        <p:nvSpPr>
          <p:cNvPr id="2" name="Date Placeholder 1">
            <a:extLst>
              <a:ext uri="{FF2B5EF4-FFF2-40B4-BE49-F238E27FC236}">
                <a16:creationId xmlns:a16="http://schemas.microsoft.com/office/drawing/2014/main" id="{9B0B13AA-F4CC-4D96-9038-7A055AE0CBE6}"/>
              </a:ext>
            </a:extLst>
          </p:cNvPr>
          <p:cNvSpPr>
            <a:spLocks noGrp="1"/>
          </p:cNvSpPr>
          <p:nvPr>
            <p:ph type="dt" sz="half" idx="30"/>
          </p:nvPr>
        </p:nvSpPr>
        <p:spPr/>
        <p:txBody>
          <a:bodyPr/>
          <a:lstStyle/>
          <a:p>
            <a:fld id="{B6C765CB-0B67-4B61-8102-DFE79DCA4C42}" type="datetime5">
              <a:rPr lang="en-US" smtClean="0"/>
              <a:t>6-Oct-21</a:t>
            </a:fld>
            <a:endParaRPr lang="en-US"/>
          </a:p>
        </p:txBody>
      </p:sp>
      <p:sp>
        <p:nvSpPr>
          <p:cNvPr id="4" name="Footer Placeholder 3">
            <a:extLst>
              <a:ext uri="{FF2B5EF4-FFF2-40B4-BE49-F238E27FC236}">
                <a16:creationId xmlns:a16="http://schemas.microsoft.com/office/drawing/2014/main" id="{B9C0AC55-1C91-444C-A8D2-8BF14A0DDC32}"/>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66" name="Text Placeholder 15">
            <a:extLst>
              <a:ext uri="{FF2B5EF4-FFF2-40B4-BE49-F238E27FC236}">
                <a16:creationId xmlns:a16="http://schemas.microsoft.com/office/drawing/2014/main" id="{356941B1-4689-4FA0-A731-5905C9C8C9DE}"/>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172674331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D421ABF-9DBC-439C-96FD-8A7965646C4D}"/>
              </a:ext>
            </a:extLst>
          </p:cNvPr>
          <p:cNvSpPr>
            <a:spLocks noGrp="1"/>
          </p:cNvSpPr>
          <p:nvPr>
            <p:ph type="pic" sz="quarter" idx="19" hasCustomPrompt="1"/>
          </p:nvPr>
        </p:nvSpPr>
        <p:spPr bwMode="gray">
          <a:xfrm>
            <a:off x="380147" y="1428433"/>
            <a:ext cx="476201" cy="476102"/>
          </a:xfrm>
        </p:spPr>
        <p:txBody>
          <a:bodyPr anchor="ctr"/>
          <a:lstStyle>
            <a:lvl1pPr algn="ctr">
              <a:defRPr sz="1058"/>
            </a:lvl1pPr>
          </a:lstStyle>
          <a:p>
            <a:r>
              <a:rPr lang="en-US"/>
              <a:t>Icon</a:t>
            </a:r>
          </a:p>
        </p:txBody>
      </p:sp>
      <p:sp>
        <p:nvSpPr>
          <p:cNvPr id="40" name="Text Placeholder 39"/>
          <p:cNvSpPr>
            <a:spLocks noGrp="1"/>
          </p:cNvSpPr>
          <p:nvPr>
            <p:ph type="body" sz="quarter" idx="13"/>
          </p:nvPr>
        </p:nvSpPr>
        <p:spPr bwMode="gray">
          <a:xfrm>
            <a:off x="38001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9"/>
          <p:cNvSpPr>
            <a:spLocks noGrp="1"/>
          </p:cNvSpPr>
          <p:nvPr>
            <p:ph type="body" sz="quarter" idx="14"/>
          </p:nvPr>
        </p:nvSpPr>
        <p:spPr bwMode="gray">
          <a:xfrm>
            <a:off x="380960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9"/>
          <p:cNvSpPr>
            <a:spLocks noGrp="1"/>
          </p:cNvSpPr>
          <p:nvPr>
            <p:ph type="body" sz="quarter" idx="15"/>
          </p:nvPr>
        </p:nvSpPr>
        <p:spPr bwMode="gray">
          <a:xfrm>
            <a:off x="7239197"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97B8C8F-512D-4840-86BB-CEB9544D8CE5}"/>
              </a:ext>
            </a:extLst>
          </p:cNvPr>
          <p:cNvSpPr>
            <a:spLocks noGrp="1"/>
          </p:cNvSpPr>
          <p:nvPr>
            <p:ph type="title"/>
          </p:nvPr>
        </p:nvSpPr>
        <p:spPr bwMode="gray"/>
        <p:txBody>
          <a:bodyPr/>
          <a:lstStyle/>
          <a:p>
            <a:r>
              <a:rPr lang="en-US"/>
              <a:t>Click to edit Master title style</a:t>
            </a:r>
          </a:p>
        </p:txBody>
      </p:sp>
      <p:sp>
        <p:nvSpPr>
          <p:cNvPr id="8" name="Slide Number Placeholder 7">
            <a:extLst>
              <a:ext uri="{FF2B5EF4-FFF2-40B4-BE49-F238E27FC236}">
                <a16:creationId xmlns:a16="http://schemas.microsoft.com/office/drawing/2014/main" id="{E8916C68-A2A4-48E3-BB80-81E28EE44E17}"/>
              </a:ext>
            </a:extLst>
          </p:cNvPr>
          <p:cNvSpPr>
            <a:spLocks noGrp="1"/>
          </p:cNvSpPr>
          <p:nvPr>
            <p:ph type="sldNum" sz="quarter" idx="18"/>
          </p:nvPr>
        </p:nvSpPr>
        <p:spPr bwMode="gray"/>
        <p:txBody>
          <a:bodyPr/>
          <a:lstStyle/>
          <a:p>
            <a:pPr>
              <a:defRPr/>
            </a:pPr>
            <a:fld id="{66C8B3C2-955F-42B1-8DED-EE47D723596C}" type="slidenum">
              <a:rPr lang="en-US" noProof="0" smtClean="0"/>
              <a:pPr>
                <a:defRPr/>
              </a:pPr>
              <a:t>‹#›</a:t>
            </a:fld>
            <a:endParaRPr lang="en-US" noProof="0"/>
          </a:p>
        </p:txBody>
      </p:sp>
      <p:sp>
        <p:nvSpPr>
          <p:cNvPr id="66" name="Picture Placeholder 4">
            <a:extLst>
              <a:ext uri="{FF2B5EF4-FFF2-40B4-BE49-F238E27FC236}">
                <a16:creationId xmlns:a16="http://schemas.microsoft.com/office/drawing/2014/main" id="{D63D4149-57CC-40E3-9AF5-D3C951581FEE}"/>
              </a:ext>
            </a:extLst>
          </p:cNvPr>
          <p:cNvSpPr>
            <a:spLocks noGrp="1"/>
          </p:cNvSpPr>
          <p:nvPr>
            <p:ph type="pic" sz="quarter" idx="20" hasCustomPrompt="1"/>
          </p:nvPr>
        </p:nvSpPr>
        <p:spPr bwMode="gray">
          <a:xfrm>
            <a:off x="3809607" y="1428302"/>
            <a:ext cx="476332" cy="476233"/>
          </a:xfrm>
        </p:spPr>
        <p:txBody>
          <a:bodyPr anchor="ctr"/>
          <a:lstStyle>
            <a:lvl1pPr algn="ctr">
              <a:defRPr sz="1058"/>
            </a:lvl1pPr>
          </a:lstStyle>
          <a:p>
            <a:r>
              <a:rPr lang="en-US"/>
              <a:t>Icon</a:t>
            </a:r>
          </a:p>
        </p:txBody>
      </p:sp>
      <p:sp>
        <p:nvSpPr>
          <p:cNvPr id="67" name="Picture Placeholder 4">
            <a:extLst>
              <a:ext uri="{FF2B5EF4-FFF2-40B4-BE49-F238E27FC236}">
                <a16:creationId xmlns:a16="http://schemas.microsoft.com/office/drawing/2014/main" id="{3B15767F-EF66-47BE-BCCD-22BC083AD75F}"/>
              </a:ext>
            </a:extLst>
          </p:cNvPr>
          <p:cNvSpPr>
            <a:spLocks noGrp="1"/>
          </p:cNvSpPr>
          <p:nvPr>
            <p:ph type="pic" sz="quarter" idx="21" hasCustomPrompt="1"/>
          </p:nvPr>
        </p:nvSpPr>
        <p:spPr bwMode="gray">
          <a:xfrm>
            <a:off x="7239197" y="1428302"/>
            <a:ext cx="476332" cy="476233"/>
          </a:xfrm>
        </p:spPr>
        <p:txBody>
          <a:bodyPr anchor="ctr"/>
          <a:lstStyle>
            <a:lvl1pPr algn="ctr">
              <a:defRPr sz="1058"/>
            </a:lvl1pPr>
          </a:lstStyle>
          <a:p>
            <a:r>
              <a:rPr lang="en-US"/>
              <a:t>Icon</a:t>
            </a:r>
          </a:p>
        </p:txBody>
      </p:sp>
      <p:sp>
        <p:nvSpPr>
          <p:cNvPr id="2" name="Date Placeholder 1">
            <a:extLst>
              <a:ext uri="{FF2B5EF4-FFF2-40B4-BE49-F238E27FC236}">
                <a16:creationId xmlns:a16="http://schemas.microsoft.com/office/drawing/2014/main" id="{0008FFBE-3AC3-4382-BECA-F45DA01077D5}"/>
              </a:ext>
            </a:extLst>
          </p:cNvPr>
          <p:cNvSpPr>
            <a:spLocks noGrp="1"/>
          </p:cNvSpPr>
          <p:nvPr>
            <p:ph type="dt" sz="half" idx="30"/>
          </p:nvPr>
        </p:nvSpPr>
        <p:spPr/>
        <p:txBody>
          <a:bodyPr/>
          <a:lstStyle/>
          <a:p>
            <a:fld id="{2AC720B8-992F-4C7F-ACE6-1A76A2FB1C7A}" type="datetime5">
              <a:rPr lang="en-US" smtClean="0"/>
              <a:t>6-Oct-21</a:t>
            </a:fld>
            <a:endParaRPr lang="en-US"/>
          </a:p>
        </p:txBody>
      </p:sp>
      <p:sp>
        <p:nvSpPr>
          <p:cNvPr id="4" name="Footer Placeholder 3">
            <a:extLst>
              <a:ext uri="{FF2B5EF4-FFF2-40B4-BE49-F238E27FC236}">
                <a16:creationId xmlns:a16="http://schemas.microsoft.com/office/drawing/2014/main" id="{7DB4B2AB-25E4-48BB-ABB3-39CA18B52D13}"/>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4" name="Text Placeholder 15">
            <a:extLst>
              <a:ext uri="{FF2B5EF4-FFF2-40B4-BE49-F238E27FC236}">
                <a16:creationId xmlns:a16="http://schemas.microsoft.com/office/drawing/2014/main" id="{4430A869-6552-45B7-8F44-F1B4A8EEBD5C}"/>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189233236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27E25-488A-4F29-B13C-3D0DD2B81E92}"/>
              </a:ext>
            </a:extLst>
          </p:cNvPr>
          <p:cNvSpPr>
            <a:spLocks noGrp="1"/>
          </p:cNvSpPr>
          <p:nvPr>
            <p:ph type="title"/>
          </p:nvPr>
        </p:nvSpPr>
        <p:spPr bwMode="gray"/>
        <p:txBody>
          <a:bodyPr/>
          <a:lstStyle/>
          <a:p>
            <a:r>
              <a:rPr lang="en-US"/>
              <a:t>Click to edit Master title style</a:t>
            </a:r>
          </a:p>
        </p:txBody>
      </p:sp>
      <p:sp>
        <p:nvSpPr>
          <p:cNvPr id="9" name="Slide Number Placeholder 8">
            <a:extLst>
              <a:ext uri="{FF2B5EF4-FFF2-40B4-BE49-F238E27FC236}">
                <a16:creationId xmlns:a16="http://schemas.microsoft.com/office/drawing/2014/main" id="{797E4858-62D0-45EB-B7E7-B8026D00B506}"/>
              </a:ext>
            </a:extLst>
          </p:cNvPr>
          <p:cNvSpPr>
            <a:spLocks noGrp="1"/>
          </p:cNvSpPr>
          <p:nvPr>
            <p:ph type="sldNum" sz="quarter" idx="25"/>
          </p:nvPr>
        </p:nvSpPr>
        <p:spPr bwMode="gray"/>
        <p:txBody>
          <a:bodyPr/>
          <a:lstStyle/>
          <a:p>
            <a:pPr>
              <a:defRPr/>
            </a:pPr>
            <a:fld id="{66C8B3C2-955F-42B1-8DED-EE47D723596C}" type="slidenum">
              <a:rPr lang="en-US" noProof="0" smtClean="0"/>
              <a:pPr>
                <a:defRPr/>
              </a:pPr>
              <a:t>‹#›</a:t>
            </a:fld>
            <a:endParaRPr lang="en-US" noProof="0"/>
          </a:p>
        </p:txBody>
      </p:sp>
      <p:sp>
        <p:nvSpPr>
          <p:cNvPr id="73" name="Picture Placeholder 4">
            <a:extLst>
              <a:ext uri="{FF2B5EF4-FFF2-40B4-BE49-F238E27FC236}">
                <a16:creationId xmlns:a16="http://schemas.microsoft.com/office/drawing/2014/main" id="{D92FEA9E-110D-4C4F-B12A-F276F492698B}"/>
              </a:ext>
            </a:extLst>
          </p:cNvPr>
          <p:cNvSpPr>
            <a:spLocks noGrp="1"/>
          </p:cNvSpPr>
          <p:nvPr>
            <p:ph type="pic" sz="quarter" idx="19" hasCustomPrompt="1"/>
          </p:nvPr>
        </p:nvSpPr>
        <p:spPr bwMode="gray">
          <a:xfrm>
            <a:off x="380147" y="1428433"/>
            <a:ext cx="476201" cy="476102"/>
          </a:xfrm>
        </p:spPr>
        <p:txBody>
          <a:bodyPr anchor="ctr"/>
          <a:lstStyle>
            <a:lvl1pPr algn="ctr">
              <a:defRPr sz="1058"/>
            </a:lvl1pPr>
          </a:lstStyle>
          <a:p>
            <a:r>
              <a:rPr lang="en-US"/>
              <a:t>Icon</a:t>
            </a:r>
          </a:p>
        </p:txBody>
      </p:sp>
      <p:sp>
        <p:nvSpPr>
          <p:cNvPr id="74" name="Picture Placeholder 4">
            <a:extLst>
              <a:ext uri="{FF2B5EF4-FFF2-40B4-BE49-F238E27FC236}">
                <a16:creationId xmlns:a16="http://schemas.microsoft.com/office/drawing/2014/main" id="{A036B799-83AB-49B4-9EE6-D758207FD99A}"/>
              </a:ext>
            </a:extLst>
          </p:cNvPr>
          <p:cNvSpPr>
            <a:spLocks noGrp="1"/>
          </p:cNvSpPr>
          <p:nvPr>
            <p:ph type="pic" sz="quarter" idx="20" hasCustomPrompt="1"/>
          </p:nvPr>
        </p:nvSpPr>
        <p:spPr bwMode="gray">
          <a:xfrm>
            <a:off x="3238008" y="1428302"/>
            <a:ext cx="476332" cy="476233"/>
          </a:xfrm>
        </p:spPr>
        <p:txBody>
          <a:bodyPr anchor="ctr"/>
          <a:lstStyle>
            <a:lvl1pPr algn="ctr">
              <a:defRPr sz="1058"/>
            </a:lvl1pPr>
          </a:lstStyle>
          <a:p>
            <a:r>
              <a:rPr lang="en-US"/>
              <a:t>Icon</a:t>
            </a:r>
          </a:p>
        </p:txBody>
      </p:sp>
      <p:sp>
        <p:nvSpPr>
          <p:cNvPr id="75" name="Picture Placeholder 4">
            <a:extLst>
              <a:ext uri="{FF2B5EF4-FFF2-40B4-BE49-F238E27FC236}">
                <a16:creationId xmlns:a16="http://schemas.microsoft.com/office/drawing/2014/main" id="{1686E482-9B5B-4201-99FF-F4101F99C2BA}"/>
              </a:ext>
            </a:extLst>
          </p:cNvPr>
          <p:cNvSpPr>
            <a:spLocks noGrp="1"/>
          </p:cNvSpPr>
          <p:nvPr>
            <p:ph type="pic" sz="quarter" idx="21" hasCustomPrompt="1"/>
          </p:nvPr>
        </p:nvSpPr>
        <p:spPr bwMode="gray">
          <a:xfrm>
            <a:off x="6096000" y="1428302"/>
            <a:ext cx="476332" cy="476233"/>
          </a:xfrm>
        </p:spPr>
        <p:txBody>
          <a:bodyPr anchor="ctr"/>
          <a:lstStyle>
            <a:lvl1pPr algn="ctr">
              <a:defRPr sz="1058"/>
            </a:lvl1pPr>
          </a:lstStyle>
          <a:p>
            <a:r>
              <a:rPr lang="en-US"/>
              <a:t>Icon</a:t>
            </a:r>
          </a:p>
        </p:txBody>
      </p:sp>
      <p:sp>
        <p:nvSpPr>
          <p:cNvPr id="76" name="Text Placeholder 39">
            <a:extLst>
              <a:ext uri="{FF2B5EF4-FFF2-40B4-BE49-F238E27FC236}">
                <a16:creationId xmlns:a16="http://schemas.microsoft.com/office/drawing/2014/main" id="{4ACAC2B5-8751-4EE6-8EA4-4B2FB146D059}"/>
              </a:ext>
            </a:extLst>
          </p:cNvPr>
          <p:cNvSpPr>
            <a:spLocks noGrp="1"/>
          </p:cNvSpPr>
          <p:nvPr>
            <p:ph type="body" sz="quarter" idx="13"/>
          </p:nvPr>
        </p:nvSpPr>
        <p:spPr bwMode="gray">
          <a:xfrm>
            <a:off x="380017"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7" name="Text Placeholder 39">
            <a:extLst>
              <a:ext uri="{FF2B5EF4-FFF2-40B4-BE49-F238E27FC236}">
                <a16:creationId xmlns:a16="http://schemas.microsoft.com/office/drawing/2014/main" id="{346AFB4A-0574-4246-B1D2-FFF300049F95}"/>
              </a:ext>
            </a:extLst>
          </p:cNvPr>
          <p:cNvSpPr>
            <a:spLocks noGrp="1"/>
          </p:cNvSpPr>
          <p:nvPr>
            <p:ph type="body" sz="quarter" idx="14"/>
          </p:nvPr>
        </p:nvSpPr>
        <p:spPr bwMode="gray">
          <a:xfrm>
            <a:off x="3238008"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Text Placeholder 39">
            <a:extLst>
              <a:ext uri="{FF2B5EF4-FFF2-40B4-BE49-F238E27FC236}">
                <a16:creationId xmlns:a16="http://schemas.microsoft.com/office/drawing/2014/main" id="{F51609D4-BF06-4DCF-B9B2-89BF1F81DB7B}"/>
              </a:ext>
            </a:extLst>
          </p:cNvPr>
          <p:cNvSpPr>
            <a:spLocks noGrp="1"/>
          </p:cNvSpPr>
          <p:nvPr>
            <p:ph type="body" sz="quarter" idx="15"/>
          </p:nvPr>
        </p:nvSpPr>
        <p:spPr bwMode="gray">
          <a:xfrm>
            <a:off x="6096000"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9" name="Text Placeholder 39">
            <a:extLst>
              <a:ext uri="{FF2B5EF4-FFF2-40B4-BE49-F238E27FC236}">
                <a16:creationId xmlns:a16="http://schemas.microsoft.com/office/drawing/2014/main" id="{09722502-4883-48C9-9FCD-CBC9D8225A77}"/>
              </a:ext>
            </a:extLst>
          </p:cNvPr>
          <p:cNvSpPr>
            <a:spLocks noGrp="1"/>
          </p:cNvSpPr>
          <p:nvPr>
            <p:ph type="body" sz="quarter" idx="26"/>
          </p:nvPr>
        </p:nvSpPr>
        <p:spPr bwMode="gray">
          <a:xfrm>
            <a:off x="8953992" y="2286700"/>
            <a:ext cx="2476926" cy="3428251"/>
          </a:xfrm>
        </p:spPr>
        <p:txBody>
          <a:bodyPr/>
          <a:lstStyle>
            <a:lvl1pPr>
              <a:defRPr sz="1455"/>
            </a:lvl1pPr>
            <a:lvl2pPr>
              <a:defRPr sz="1455"/>
            </a:lvl2pPr>
            <a:lvl3pPr>
              <a:defRPr sz="1455"/>
            </a:lvl3pPr>
            <a:lvl4pPr>
              <a:defRPr sz="1455"/>
            </a:lvl4pPr>
            <a:lvl5pPr>
              <a:defRPr sz="14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Picture Placeholder 4">
            <a:extLst>
              <a:ext uri="{FF2B5EF4-FFF2-40B4-BE49-F238E27FC236}">
                <a16:creationId xmlns:a16="http://schemas.microsoft.com/office/drawing/2014/main" id="{FFA0D21F-72A7-4DAD-AE5F-01D7A5006C0B}"/>
              </a:ext>
            </a:extLst>
          </p:cNvPr>
          <p:cNvSpPr>
            <a:spLocks noGrp="1"/>
          </p:cNvSpPr>
          <p:nvPr>
            <p:ph type="pic" sz="quarter" idx="27" hasCustomPrompt="1"/>
          </p:nvPr>
        </p:nvSpPr>
        <p:spPr bwMode="gray">
          <a:xfrm>
            <a:off x="8953992" y="1428302"/>
            <a:ext cx="476332" cy="476233"/>
          </a:xfrm>
        </p:spPr>
        <p:txBody>
          <a:bodyPr anchor="ctr"/>
          <a:lstStyle>
            <a:lvl1pPr algn="ctr">
              <a:defRPr sz="1058"/>
            </a:lvl1pPr>
          </a:lstStyle>
          <a:p>
            <a:r>
              <a:rPr lang="en-US"/>
              <a:t>Icon</a:t>
            </a:r>
          </a:p>
        </p:txBody>
      </p:sp>
      <p:sp>
        <p:nvSpPr>
          <p:cNvPr id="2" name="Date Placeholder 1">
            <a:extLst>
              <a:ext uri="{FF2B5EF4-FFF2-40B4-BE49-F238E27FC236}">
                <a16:creationId xmlns:a16="http://schemas.microsoft.com/office/drawing/2014/main" id="{B4DA80B3-A149-4E9F-8067-64607E70393B}"/>
              </a:ext>
            </a:extLst>
          </p:cNvPr>
          <p:cNvSpPr>
            <a:spLocks noGrp="1"/>
          </p:cNvSpPr>
          <p:nvPr>
            <p:ph type="dt" sz="half" idx="30"/>
          </p:nvPr>
        </p:nvSpPr>
        <p:spPr/>
        <p:txBody>
          <a:bodyPr/>
          <a:lstStyle/>
          <a:p>
            <a:fld id="{46FB05B7-C357-4B5C-964D-312B627946F1}" type="datetime5">
              <a:rPr lang="en-US" smtClean="0"/>
              <a:t>6-Oct-21</a:t>
            </a:fld>
            <a:endParaRPr lang="en-US"/>
          </a:p>
        </p:txBody>
      </p:sp>
      <p:sp>
        <p:nvSpPr>
          <p:cNvPr id="4" name="Footer Placeholder 3">
            <a:extLst>
              <a:ext uri="{FF2B5EF4-FFF2-40B4-BE49-F238E27FC236}">
                <a16:creationId xmlns:a16="http://schemas.microsoft.com/office/drawing/2014/main" id="{FD081F35-D211-418D-B741-7E6D18DBF5E2}"/>
              </a:ext>
            </a:extLst>
          </p:cNvPr>
          <p:cNvSpPr>
            <a:spLocks noGrp="1"/>
          </p:cNvSpPr>
          <p:nvPr>
            <p:ph type="ftr" sz="quarter" idx="31"/>
          </p:nvPr>
        </p:nvSpPr>
        <p:spPr/>
        <p:txBody>
          <a:bodyPr/>
          <a:lstStyle/>
          <a:p>
            <a:pPr defTabSz="1218764">
              <a:lnSpc>
                <a:spcPct val="80000"/>
              </a:lnSpc>
            </a:pPr>
            <a:r>
              <a:rPr lang="de-DE"/>
              <a:t>FOOTER / PRESENTATION NAME</a:t>
            </a:r>
          </a:p>
        </p:txBody>
      </p:sp>
      <p:sp>
        <p:nvSpPr>
          <p:cNvPr id="16" name="Text Placeholder 15">
            <a:extLst>
              <a:ext uri="{FF2B5EF4-FFF2-40B4-BE49-F238E27FC236}">
                <a16:creationId xmlns:a16="http://schemas.microsoft.com/office/drawing/2014/main" id="{D39FD498-2750-44A2-AFAC-53E50BD3A9E9}"/>
              </a:ext>
            </a:extLst>
          </p:cNvPr>
          <p:cNvSpPr>
            <a:spLocks noGrp="1"/>
          </p:cNvSpPr>
          <p:nvPr>
            <p:ph type="body" sz="quarter" idx="29"/>
          </p:nvPr>
        </p:nvSpPr>
        <p:spPr bwMode="gray">
          <a:xfrm>
            <a:off x="380671" y="784272"/>
            <a:ext cx="10288641" cy="358028"/>
          </a:xfrm>
        </p:spPr>
        <p:txBody>
          <a:bodyPr/>
          <a:lstStyle>
            <a:lvl1pPr>
              <a:lnSpc>
                <a:spcPct val="75000"/>
              </a:lnSpc>
              <a:defRPr sz="2381" b="0" cap="all" baseline="0">
                <a:solidFill>
                  <a:schemeClr val="tx1"/>
                </a:solidFill>
                <a:latin typeface="+mj-lt"/>
              </a:defRPr>
            </a:lvl1pPr>
            <a:lvl2pPr>
              <a:defRPr/>
            </a:lvl2pPr>
            <a:lvl3pPr>
              <a:defRPr/>
            </a:lvl3pPr>
            <a:lvl4pPr>
              <a:defRPr/>
            </a:lvl4pPr>
            <a:lvl5pPr>
              <a:defRPr/>
            </a:lvl5pPr>
          </a:lstStyle>
          <a:p>
            <a:pPr lvl="0"/>
            <a:r>
              <a:rPr lang="en-US"/>
              <a:t>Click to edit Master text style</a:t>
            </a:r>
          </a:p>
        </p:txBody>
      </p:sp>
    </p:spTree>
    <p:extLst>
      <p:ext uri="{BB962C8B-B14F-4D97-AF65-F5344CB8AC3E}">
        <p14:creationId xmlns:p14="http://schemas.microsoft.com/office/powerpoint/2010/main" val="2664608407"/>
      </p:ext>
    </p:extLst>
  </p:cSld>
  <p:clrMapOvr>
    <a:masterClrMapping/>
  </p:clrMapOvr>
  <p:transition>
    <p:fade/>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Collage (2)">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857344" y="1"/>
            <a:ext cx="5334656"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1" name="Picture Placeholder 3"/>
          <p:cNvSpPr>
            <a:spLocks noGrp="1"/>
          </p:cNvSpPr>
          <p:nvPr>
            <p:ph type="pic" sz="quarter" idx="23"/>
          </p:nvPr>
        </p:nvSpPr>
        <p:spPr>
          <a:xfrm>
            <a:off x="9144177" y="762234"/>
            <a:ext cx="1905108" cy="2666767"/>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7620088" y="3429001"/>
            <a:ext cx="3427271" cy="2667466"/>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Date Placeholder 6"/>
          <p:cNvSpPr>
            <a:spLocks noGrp="1"/>
          </p:cNvSpPr>
          <p:nvPr>
            <p:ph type="dt" sz="half" idx="27"/>
          </p:nvPr>
        </p:nvSpPr>
        <p:spPr/>
        <p:txBody>
          <a:bodyPr/>
          <a:lstStyle/>
          <a:p>
            <a:pPr>
              <a:defRPr/>
            </a:pPr>
            <a:fld id="{B9ECADF9-475A-423C-A3A7-6BC980DE8B63}" type="datetime5">
              <a:rPr lang="en-US" smtClean="0"/>
              <a:t>6-Oct-21</a:t>
            </a:fld>
            <a:endParaRPr lang="en-US" dirty="0"/>
          </a:p>
        </p:txBody>
      </p:sp>
      <p:sp>
        <p:nvSpPr>
          <p:cNvPr id="8" name="Footer Placeholder 7"/>
          <p:cNvSpPr>
            <a:spLocks noGrp="1"/>
          </p:cNvSpPr>
          <p:nvPr>
            <p:ph type="ftr" sz="quarter" idx="28"/>
          </p:nvPr>
        </p:nvSpPr>
        <p:spPr/>
        <p:txBody>
          <a:bodyPr/>
          <a:lstStyle/>
          <a:p>
            <a:pPr>
              <a:defRPr/>
            </a:pPr>
            <a:r>
              <a:rPr lang="en-US"/>
              <a:t>FOOTER / PRESENTATION NAME</a:t>
            </a:r>
            <a:endParaRPr lang="en-US" dirty="0"/>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594963618"/>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le 1"/>
          <p:cNvSpPr>
            <a:spLocks noGrp="1"/>
          </p:cNvSpPr>
          <p:nvPr>
            <p:ph type="title" hasCustomPrompt="1"/>
          </p:nvPr>
        </p:nvSpPr>
        <p:spPr>
          <a:xfrm>
            <a:off x="7239592" y="2287375"/>
            <a:ext cx="3810240" cy="761058"/>
          </a:xfrm>
        </p:spPr>
        <p:txBody>
          <a:bodyPr anchor="b"/>
          <a:lstStyle>
            <a:lvl1pPr algn="ctr">
              <a:lnSpc>
                <a:spcPct val="70000"/>
              </a:lnSpc>
              <a:defRPr sz="3174"/>
            </a:lvl1pPr>
          </a:lstStyle>
          <a:p>
            <a:r>
              <a:rPr lang="en-US" dirty="0"/>
              <a:t>Slide title</a:t>
            </a:r>
          </a:p>
        </p:txBody>
      </p:sp>
      <p:sp>
        <p:nvSpPr>
          <p:cNvPr id="3" name="Date Placeholder 2"/>
          <p:cNvSpPr>
            <a:spLocks noGrp="1"/>
          </p:cNvSpPr>
          <p:nvPr>
            <p:ph type="dt" sz="half" idx="10"/>
          </p:nvPr>
        </p:nvSpPr>
        <p:spPr/>
        <p:txBody>
          <a:bodyPr/>
          <a:lstStyle/>
          <a:p>
            <a:pPr>
              <a:defRPr/>
            </a:pPr>
            <a:fld id="{D5009FB1-E3F9-4FCC-BEFA-5AE0310CCCAD}"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a:t>FOOTER / PRESENTATION NAME</a:t>
            </a:r>
            <a:endParaRPr lang="en-US" dirty="0"/>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cxnSp>
        <p:nvCxnSpPr>
          <p:cNvPr id="8" name="Straight Connector 7"/>
          <p:cNvCxnSpPr>
            <a:cxnSpLocks/>
          </p:cNvCxnSpPr>
          <p:nvPr userDrawn="1"/>
        </p:nvCxnSpPr>
        <p:spPr>
          <a:xfrm>
            <a:off x="8762278"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723959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3729414430"/>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le 1"/>
          <p:cNvSpPr>
            <a:spLocks noGrp="1"/>
          </p:cNvSpPr>
          <p:nvPr>
            <p:ph type="title" hasCustomPrompt="1"/>
          </p:nvPr>
        </p:nvSpPr>
        <p:spPr>
          <a:xfrm>
            <a:off x="1142063" y="2287375"/>
            <a:ext cx="3810240" cy="761058"/>
          </a:xfrm>
        </p:spPr>
        <p:txBody>
          <a:bodyPr anchor="b"/>
          <a:lstStyle>
            <a:lvl1pPr algn="ctr">
              <a:lnSpc>
                <a:spcPct val="70000"/>
              </a:lnSpc>
              <a:defRPr sz="3174"/>
            </a:lvl1pPr>
          </a:lstStyle>
          <a:p>
            <a:r>
              <a:rPr lang="en-US" dirty="0"/>
              <a:t>Slide title</a:t>
            </a:r>
          </a:p>
        </p:txBody>
      </p:sp>
      <p:sp>
        <p:nvSpPr>
          <p:cNvPr id="3" name="Date Placeholder 2"/>
          <p:cNvSpPr>
            <a:spLocks noGrp="1"/>
          </p:cNvSpPr>
          <p:nvPr>
            <p:ph type="dt" sz="half" idx="10"/>
          </p:nvPr>
        </p:nvSpPr>
        <p:spPr/>
        <p:txBody>
          <a:bodyPr/>
          <a:lstStyle/>
          <a:p>
            <a:pPr>
              <a:defRPr/>
            </a:pPr>
            <a:fld id="{F518DEDC-2976-40D0-AB0B-5E9346513BCE}"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a:t>FOOTER / PRESENTATION NAME</a:t>
            </a:r>
            <a:endParaRPr lang="en-US" dirty="0"/>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cxnSp>
        <p:nvCxnSpPr>
          <p:cNvPr id="8" name="Straight Connector 7"/>
          <p:cNvCxnSpPr>
            <a:cxnSpLocks/>
          </p:cNvCxnSpPr>
          <p:nvPr userDrawn="1"/>
        </p:nvCxnSpPr>
        <p:spPr>
          <a:xfrm>
            <a:off x="2664749"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1142062"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2767747279"/>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 Text (3)">
    <p:spTree>
      <p:nvGrpSpPr>
        <p:cNvPr id="1" name=""/>
        <p:cNvGrpSpPr/>
        <p:nvPr/>
      </p:nvGrpSpPr>
      <p:grpSpPr>
        <a:xfrm>
          <a:off x="0" y="0"/>
          <a:ext cx="0" cy="0"/>
          <a:chOff x="0" y="0"/>
          <a:chExt cx="0" cy="0"/>
        </a:xfrm>
      </p:grpSpPr>
      <p:sp>
        <p:nvSpPr>
          <p:cNvPr id="15" name="Picture Placeholder 3"/>
          <p:cNvSpPr>
            <a:spLocks noGrp="1"/>
          </p:cNvSpPr>
          <p:nvPr>
            <p:ph type="pic" sz="quarter" idx="18"/>
          </p:nvPr>
        </p:nvSpPr>
        <p:spPr>
          <a:xfrm>
            <a:off x="6097052" y="0"/>
            <a:ext cx="1904935" cy="342899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6" name="Picture Placeholder 3"/>
          <p:cNvSpPr>
            <a:spLocks noGrp="1"/>
          </p:cNvSpPr>
          <p:nvPr>
            <p:ph type="pic" sz="quarter" idx="23"/>
          </p:nvPr>
        </p:nvSpPr>
        <p:spPr>
          <a:xfrm>
            <a:off x="8001984"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10287069"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6097050" y="3429001"/>
            <a:ext cx="6094950" cy="3428925"/>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7375"/>
            <a:ext cx="3810240" cy="761058"/>
          </a:xfrm>
        </p:spPr>
        <p:txBody>
          <a:bodyPr anchor="b"/>
          <a:lstStyle>
            <a:lvl1pPr algn="ctr">
              <a:lnSpc>
                <a:spcPct val="70000"/>
              </a:lnSpc>
              <a:defRPr sz="3174">
                <a:solidFill>
                  <a:schemeClr val="bg1"/>
                </a:solidFill>
              </a:defRPr>
            </a:lvl1pPr>
          </a:lstStyle>
          <a:p>
            <a:r>
              <a:rPr lang="en-US" dirty="0"/>
              <a:t>Slide title</a:t>
            </a:r>
          </a:p>
        </p:txBody>
      </p:sp>
      <p:sp>
        <p:nvSpPr>
          <p:cNvPr id="3" name="Date Placeholder 2"/>
          <p:cNvSpPr>
            <a:spLocks noGrp="1"/>
          </p:cNvSpPr>
          <p:nvPr>
            <p:ph type="dt" sz="half" idx="10"/>
          </p:nvPr>
        </p:nvSpPr>
        <p:spPr/>
        <p:txBody>
          <a:bodyPr/>
          <a:lstStyle>
            <a:lvl1pPr>
              <a:defRPr>
                <a:solidFill>
                  <a:schemeClr val="bg1"/>
                </a:solidFill>
              </a:defRPr>
            </a:lvl1pPr>
          </a:lstStyle>
          <a:p>
            <a:pPr>
              <a:defRPr/>
            </a:pPr>
            <a:fld id="{8B2E30ED-5B35-4DE2-9302-D809FB35E433}" type="datetime5">
              <a:rPr lang="en-US" smtClean="0"/>
              <a:t>6-Oct-21</a:t>
            </a:fld>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pPr>
              <a:defRPr/>
            </a:pPr>
            <a:r>
              <a:rPr lang="en-US"/>
              <a:t>FOOTER / PRESENTATION NAME</a:t>
            </a:r>
            <a:endParaRPr lang="en-US"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
        <p:nvSpPr>
          <p:cNvPr id="11" name="Text Placeholder 9"/>
          <p:cNvSpPr>
            <a:spLocks noGrp="1"/>
          </p:cNvSpPr>
          <p:nvPr>
            <p:ph type="body" sz="quarter" idx="13" hasCustomPrompt="1"/>
          </p:nvPr>
        </p:nvSpPr>
        <p:spPr>
          <a:xfrm>
            <a:off x="114254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dirty="0"/>
              <a:t>Edit Master text styles</a:t>
            </a:r>
          </a:p>
        </p:txBody>
      </p:sp>
    </p:spTree>
    <p:extLst>
      <p:ext uri="{BB962C8B-B14F-4D97-AF65-F5344CB8AC3E}">
        <p14:creationId xmlns:p14="http://schemas.microsoft.com/office/powerpoint/2010/main" val="3239338445"/>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 Text (4)">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15" name="Picture Placeholder 3"/>
          <p:cNvSpPr>
            <a:spLocks noGrp="1"/>
          </p:cNvSpPr>
          <p:nvPr>
            <p:ph type="pic" sz="quarter" idx="18"/>
          </p:nvPr>
        </p:nvSpPr>
        <p:spPr>
          <a:xfrm>
            <a:off x="1" y="0"/>
            <a:ext cx="1904935" cy="342899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6" name="Picture Placeholder 3"/>
          <p:cNvSpPr>
            <a:spLocks noGrp="1"/>
          </p:cNvSpPr>
          <p:nvPr>
            <p:ph type="pic" sz="quarter" idx="23"/>
          </p:nvPr>
        </p:nvSpPr>
        <p:spPr>
          <a:xfrm>
            <a:off x="1904935"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4190016"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0" y="3429001"/>
            <a:ext cx="6094950" cy="3428925"/>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2" name="Title 1"/>
          <p:cNvSpPr>
            <a:spLocks noGrp="1"/>
          </p:cNvSpPr>
          <p:nvPr>
            <p:ph type="title" hasCustomPrompt="1"/>
          </p:nvPr>
        </p:nvSpPr>
        <p:spPr>
          <a:xfrm>
            <a:off x="7239698" y="2287375"/>
            <a:ext cx="3810240" cy="761058"/>
          </a:xfrm>
        </p:spPr>
        <p:txBody>
          <a:bodyPr anchor="b"/>
          <a:lstStyle>
            <a:lvl1pPr algn="ctr">
              <a:lnSpc>
                <a:spcPct val="70000"/>
              </a:lnSpc>
              <a:defRPr sz="3174">
                <a:solidFill>
                  <a:schemeClr val="bg1"/>
                </a:solidFill>
              </a:defRPr>
            </a:lvl1pPr>
          </a:lstStyle>
          <a:p>
            <a:r>
              <a:rPr lang="en-US" dirty="0"/>
              <a:t>Slide title</a:t>
            </a:r>
          </a:p>
        </p:txBody>
      </p:sp>
      <p:sp>
        <p:nvSpPr>
          <p:cNvPr id="3" name="Date Placeholder 2"/>
          <p:cNvSpPr>
            <a:spLocks noGrp="1"/>
          </p:cNvSpPr>
          <p:nvPr>
            <p:ph type="dt" sz="half" idx="10"/>
          </p:nvPr>
        </p:nvSpPr>
        <p:spPr/>
        <p:txBody>
          <a:bodyPr/>
          <a:lstStyle>
            <a:lvl1pPr>
              <a:defRPr>
                <a:solidFill>
                  <a:schemeClr val="bg2"/>
                </a:solidFill>
              </a:defRPr>
            </a:lvl1pPr>
          </a:lstStyle>
          <a:p>
            <a:pPr>
              <a:defRPr/>
            </a:pPr>
            <a:fld id="{D97A2089-3611-4621-8F9F-8976C5522BE6}" type="datetime5">
              <a:rPr lang="en-US" smtClean="0"/>
              <a:t>6-Oct-21</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pPr>
              <a:defRPr/>
            </a:pPr>
            <a:r>
              <a:rPr lang="en-US"/>
              <a:t>FOOTER / PRESENTATION NAME</a:t>
            </a:r>
            <a:endParaRPr lang="en-US" dirty="0"/>
          </a:p>
        </p:txBody>
      </p:sp>
      <p:sp>
        <p:nvSpPr>
          <p:cNvPr id="5" name="Slide Number Placeholder 4"/>
          <p:cNvSpPr>
            <a:spLocks noGrp="1"/>
          </p:cNvSpPr>
          <p:nvPr>
            <p:ph type="sldNum" sz="quarter" idx="12"/>
          </p:nvPr>
        </p:nvSpPr>
        <p:spPr/>
        <p:txBody>
          <a:bodyPr/>
          <a:lstStyle>
            <a:lvl1pPr>
              <a:defRPr>
                <a:solidFill>
                  <a:schemeClr val="bg2"/>
                </a:solidFill>
              </a:defRPr>
            </a:lvl1pPr>
          </a:lstStyle>
          <a:p>
            <a:pPr>
              <a:defRPr/>
            </a:pPr>
            <a:fld id="{66C8B3C2-955F-42B1-8DED-EE47D723596C}" type="slidenum">
              <a:rPr lang="en-US" smtClean="0"/>
              <a:pPr>
                <a:defRPr/>
              </a:pPr>
              <a:t>‹#›</a:t>
            </a:fld>
            <a:endParaRPr lang="en-US" dirty="0"/>
          </a:p>
        </p:txBody>
      </p:sp>
      <p:sp>
        <p:nvSpPr>
          <p:cNvPr id="11" name="Text Placeholder 9"/>
          <p:cNvSpPr>
            <a:spLocks noGrp="1"/>
          </p:cNvSpPr>
          <p:nvPr>
            <p:ph type="body" sz="quarter" idx="13" hasCustomPrompt="1"/>
          </p:nvPr>
        </p:nvSpPr>
        <p:spPr>
          <a:xfrm>
            <a:off x="7239697"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dirty="0"/>
              <a:t>Edit Master text styles</a:t>
            </a:r>
          </a:p>
        </p:txBody>
      </p:sp>
    </p:spTree>
    <p:extLst>
      <p:ext uri="{BB962C8B-B14F-4D97-AF65-F5344CB8AC3E}">
        <p14:creationId xmlns:p14="http://schemas.microsoft.com/office/powerpoint/2010/main" val="3339630816"/>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3429021" cy="419165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3" name="Picture Placeholder 3"/>
          <p:cNvSpPr>
            <a:spLocks noGrp="1"/>
          </p:cNvSpPr>
          <p:nvPr>
            <p:ph type="pic" sz="quarter" idx="23"/>
          </p:nvPr>
        </p:nvSpPr>
        <p:spPr>
          <a:xfrm>
            <a:off x="3809870" y="1142300"/>
            <a:ext cx="3427624" cy="4191659"/>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4" name="Picture Placeholder 3"/>
          <p:cNvSpPr>
            <a:spLocks noGrp="1"/>
          </p:cNvSpPr>
          <p:nvPr>
            <p:ph type="pic" sz="quarter" idx="24"/>
          </p:nvPr>
        </p:nvSpPr>
        <p:spPr>
          <a:xfrm>
            <a:off x="7238191" y="1142300"/>
            <a:ext cx="3430675" cy="419165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pPr>
              <a:defRPr/>
            </a:pPr>
            <a:fld id="{405D815B-F0DA-4F7B-86E2-266214938D0B}"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a:t>FOOTER / PRESENTATION NAME</a:t>
            </a:r>
            <a:endParaRPr lang="en-US" dirty="0"/>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sp>
        <p:nvSpPr>
          <p:cNvPr id="17" name="Text Placeholder 15"/>
          <p:cNvSpPr>
            <a:spLocks noGrp="1"/>
          </p:cNvSpPr>
          <p:nvPr>
            <p:ph type="body" sz="quarter" idx="25" hasCustomPrompt="1"/>
          </p:nvPr>
        </p:nvSpPr>
        <p:spPr>
          <a:xfrm>
            <a:off x="380149"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22" name="Text Placeholder 15"/>
          <p:cNvSpPr>
            <a:spLocks noGrp="1"/>
          </p:cNvSpPr>
          <p:nvPr>
            <p:ph type="body" sz="quarter" idx="26" hasCustomPrompt="1"/>
          </p:nvPr>
        </p:nvSpPr>
        <p:spPr>
          <a:xfrm>
            <a:off x="3809870"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23" name="Text Placeholder 15"/>
          <p:cNvSpPr>
            <a:spLocks noGrp="1"/>
          </p:cNvSpPr>
          <p:nvPr>
            <p:ph type="body" sz="quarter" idx="27" hasCustomPrompt="1"/>
          </p:nvPr>
        </p:nvSpPr>
        <p:spPr>
          <a:xfrm>
            <a:off x="7239066"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961847726"/>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2665223" cy="419165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3" name="Picture Placeholder 3"/>
          <p:cNvSpPr>
            <a:spLocks noGrp="1"/>
          </p:cNvSpPr>
          <p:nvPr>
            <p:ph type="pic" sz="quarter" idx="23"/>
          </p:nvPr>
        </p:nvSpPr>
        <p:spPr>
          <a:xfrm>
            <a:off x="3045373" y="1142300"/>
            <a:ext cx="2669555" cy="4191659"/>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4" name="Picture Placeholder 3"/>
          <p:cNvSpPr>
            <a:spLocks noGrp="1"/>
          </p:cNvSpPr>
          <p:nvPr>
            <p:ph type="pic" sz="quarter" idx="24"/>
          </p:nvPr>
        </p:nvSpPr>
        <p:spPr>
          <a:xfrm>
            <a:off x="5714801" y="1142300"/>
            <a:ext cx="2667329" cy="419165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2" name="Picture Placeholder 3"/>
          <p:cNvSpPr>
            <a:spLocks noGrp="1"/>
          </p:cNvSpPr>
          <p:nvPr>
            <p:ph type="pic" sz="quarter" idx="28"/>
          </p:nvPr>
        </p:nvSpPr>
        <p:spPr>
          <a:xfrm>
            <a:off x="8382130" y="1142300"/>
            <a:ext cx="2667329" cy="4191659"/>
          </a:xfrm>
          <a:solidFill>
            <a:schemeClr val="bg2">
              <a:lumMod val="20000"/>
              <a:lumOff val="80000"/>
            </a:schemeClr>
          </a:solidFill>
        </p:spPr>
        <p:txBody>
          <a:bodyPr anchor="ctr"/>
          <a:lstStyle>
            <a:lvl1pPr algn="ctr">
              <a:defRPr b="0">
                <a:solidFill>
                  <a:schemeClr val="tx1"/>
                </a:solidFill>
              </a:defRPr>
            </a:lvl1pPr>
          </a:lstStyle>
          <a:p>
            <a:r>
              <a:rPr lang="en-US" noProof="0" dirty="0"/>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29F67369-B539-4843-BDB9-FC69064F04FB}"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a:t>FOOTER / PRESENTATION NAME</a:t>
            </a:r>
            <a:endParaRPr lang="en-US" dirty="0"/>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sp>
        <p:nvSpPr>
          <p:cNvPr id="28" name="Text Placeholder 15"/>
          <p:cNvSpPr>
            <a:spLocks noGrp="1"/>
          </p:cNvSpPr>
          <p:nvPr>
            <p:ph type="body" sz="quarter" idx="25" hasCustomPrompt="1"/>
          </p:nvPr>
        </p:nvSpPr>
        <p:spPr>
          <a:xfrm>
            <a:off x="380149"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29" name="Text Placeholder 15"/>
          <p:cNvSpPr>
            <a:spLocks noGrp="1"/>
          </p:cNvSpPr>
          <p:nvPr>
            <p:ph type="body" sz="quarter" idx="29" hasCustomPrompt="1"/>
          </p:nvPr>
        </p:nvSpPr>
        <p:spPr>
          <a:xfrm>
            <a:off x="3045373"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30" name="Text Placeholder 15"/>
          <p:cNvSpPr>
            <a:spLocks noGrp="1"/>
          </p:cNvSpPr>
          <p:nvPr>
            <p:ph type="body" sz="quarter" idx="30" hasCustomPrompt="1"/>
          </p:nvPr>
        </p:nvSpPr>
        <p:spPr>
          <a:xfrm>
            <a:off x="5714801"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31" name="Text Placeholder 15"/>
          <p:cNvSpPr>
            <a:spLocks noGrp="1"/>
          </p:cNvSpPr>
          <p:nvPr>
            <p:ph type="body" sz="quarter" idx="31" hasCustomPrompt="1"/>
          </p:nvPr>
        </p:nvSpPr>
        <p:spPr>
          <a:xfrm>
            <a:off x="8382132"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2111638463"/>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A8DA2E6-B4BC-45C1-89DE-0745E641692A}" type="datetime5">
              <a:rPr lang="en-US" smtClean="0"/>
              <a:t>6-Oct-21</a:t>
            </a:fld>
            <a:endParaRPr lang="en-US"/>
          </a:p>
        </p:txBody>
      </p:sp>
      <p:sp>
        <p:nvSpPr>
          <p:cNvPr id="6" name="Footer Placeholder 5"/>
          <p:cNvSpPr>
            <a:spLocks noGrp="1"/>
          </p:cNvSpPr>
          <p:nvPr>
            <p:ph type="ftr" sz="quarter" idx="11"/>
          </p:nvPr>
        </p:nvSpPr>
        <p:spPr/>
        <p:txBody>
          <a:bodyPr/>
          <a:lstStyle/>
          <a:p>
            <a:r>
              <a:rPr lang="en-US"/>
              <a:t>FOOTER / PRESENTATION NAME</a:t>
            </a:r>
          </a:p>
        </p:txBody>
      </p:sp>
      <p:sp>
        <p:nvSpPr>
          <p:cNvPr id="7" name="Slide Number Placeholder 6"/>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33392836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B6BAB3DB-02D0-42C0-8EC4-71D8B1EB1905}"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a:t>FOOTER / PRESENTATION NAME</a:t>
            </a:r>
            <a:endParaRPr lang="en-US" dirty="0"/>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grpSp>
        <p:nvGrpSpPr>
          <p:cNvPr id="9" name="Group 4"/>
          <p:cNvGrpSpPr>
            <a:grpSpLocks noChangeAspect="1"/>
          </p:cNvGrpSpPr>
          <p:nvPr userDrawn="1"/>
        </p:nvGrpSpPr>
        <p:grpSpPr bwMode="auto">
          <a:xfrm>
            <a:off x="760296" y="1524040"/>
            <a:ext cx="556566" cy="382167"/>
            <a:chOff x="760" y="163"/>
            <a:chExt cx="4288" cy="2945"/>
          </a:xfrm>
        </p:grpSpPr>
        <p:sp>
          <p:nvSpPr>
            <p:cNvPr id="10" name="Freeform 9"/>
            <p:cNvSpPr>
              <a:spLocks/>
            </p:cNvSpPr>
            <p:nvPr/>
          </p:nvSpPr>
          <p:spPr bwMode="auto">
            <a:xfrm>
              <a:off x="760" y="163"/>
              <a:ext cx="4288" cy="2945"/>
            </a:xfrm>
            <a:custGeom>
              <a:avLst/>
              <a:gdLst>
                <a:gd name="T0" fmla="*/ 1818 w 1818"/>
                <a:gd name="T1" fmla="*/ 624 h 1249"/>
                <a:gd name="T2" fmla="*/ 912 w 1818"/>
                <a:gd name="T3" fmla="*/ 1249 h 1249"/>
                <a:gd name="T4" fmla="*/ 0 w 1818"/>
                <a:gd name="T5" fmla="*/ 624 h 1249"/>
                <a:gd name="T6" fmla="*/ 906 w 1818"/>
                <a:gd name="T7" fmla="*/ 0 h 1249"/>
                <a:gd name="T8" fmla="*/ 1818 w 1818"/>
                <a:gd name="T9" fmla="*/ 624 h 1249"/>
              </a:gdLst>
              <a:ahLst/>
              <a:cxnLst>
                <a:cxn ang="0">
                  <a:pos x="T0" y="T1"/>
                </a:cxn>
                <a:cxn ang="0">
                  <a:pos x="T2" y="T3"/>
                </a:cxn>
                <a:cxn ang="0">
                  <a:pos x="T4" y="T5"/>
                </a:cxn>
                <a:cxn ang="0">
                  <a:pos x="T6" y="T7"/>
                </a:cxn>
                <a:cxn ang="0">
                  <a:pos x="T8" y="T9"/>
                </a:cxn>
              </a:cxnLst>
              <a:rect l="0" t="0" r="r" b="b"/>
              <a:pathLst>
                <a:path w="1818" h="1249">
                  <a:moveTo>
                    <a:pt x="1818" y="624"/>
                  </a:moveTo>
                  <a:cubicBezTo>
                    <a:pt x="1818" y="624"/>
                    <a:pt x="1414" y="1249"/>
                    <a:pt x="912" y="1249"/>
                  </a:cubicBezTo>
                  <a:cubicBezTo>
                    <a:pt x="411" y="1249"/>
                    <a:pt x="0" y="624"/>
                    <a:pt x="0" y="624"/>
                  </a:cubicBezTo>
                  <a:cubicBezTo>
                    <a:pt x="0" y="624"/>
                    <a:pt x="404" y="0"/>
                    <a:pt x="906" y="0"/>
                  </a:cubicBezTo>
                  <a:cubicBezTo>
                    <a:pt x="1407" y="0"/>
                    <a:pt x="1818" y="624"/>
                    <a:pt x="1818" y="624"/>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1" name="Freeform 10"/>
            <p:cNvSpPr>
              <a:spLocks/>
            </p:cNvSpPr>
            <p:nvPr/>
          </p:nvSpPr>
          <p:spPr bwMode="auto">
            <a:xfrm>
              <a:off x="2281" y="1009"/>
              <a:ext cx="1276" cy="1252"/>
            </a:xfrm>
            <a:custGeom>
              <a:avLst/>
              <a:gdLst>
                <a:gd name="T0" fmla="*/ 270 w 541"/>
                <a:gd name="T1" fmla="*/ 0 h 531"/>
                <a:gd name="T2" fmla="*/ 155 w 541"/>
                <a:gd name="T3" fmla="*/ 26 h 531"/>
                <a:gd name="T4" fmla="*/ 180 w 541"/>
                <a:gd name="T5" fmla="*/ 100 h 531"/>
                <a:gd name="T6" fmla="*/ 59 w 541"/>
                <a:gd name="T7" fmla="*/ 221 h 531"/>
                <a:gd name="T8" fmla="*/ 6 w 541"/>
                <a:gd name="T9" fmla="*/ 209 h 531"/>
                <a:gd name="T10" fmla="*/ 0 w 541"/>
                <a:gd name="T11" fmla="*/ 265 h 531"/>
                <a:gd name="T12" fmla="*/ 270 w 541"/>
                <a:gd name="T13" fmla="*/ 531 h 531"/>
                <a:gd name="T14" fmla="*/ 541 w 541"/>
                <a:gd name="T15" fmla="*/ 265 h 531"/>
                <a:gd name="T16" fmla="*/ 270 w 541"/>
                <a:gd name="T17"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1" h="531">
                  <a:moveTo>
                    <a:pt x="270" y="0"/>
                  </a:moveTo>
                  <a:cubicBezTo>
                    <a:pt x="229" y="0"/>
                    <a:pt x="190" y="9"/>
                    <a:pt x="155" y="26"/>
                  </a:cubicBezTo>
                  <a:cubicBezTo>
                    <a:pt x="170" y="46"/>
                    <a:pt x="180" y="72"/>
                    <a:pt x="180" y="100"/>
                  </a:cubicBezTo>
                  <a:cubicBezTo>
                    <a:pt x="180" y="167"/>
                    <a:pt x="126" y="221"/>
                    <a:pt x="59" y="221"/>
                  </a:cubicBezTo>
                  <a:cubicBezTo>
                    <a:pt x="40" y="221"/>
                    <a:pt x="22" y="217"/>
                    <a:pt x="6" y="209"/>
                  </a:cubicBezTo>
                  <a:cubicBezTo>
                    <a:pt x="2" y="227"/>
                    <a:pt x="0" y="246"/>
                    <a:pt x="0" y="265"/>
                  </a:cubicBezTo>
                  <a:cubicBezTo>
                    <a:pt x="0" y="412"/>
                    <a:pt x="121" y="531"/>
                    <a:pt x="270" y="531"/>
                  </a:cubicBezTo>
                  <a:cubicBezTo>
                    <a:pt x="420" y="531"/>
                    <a:pt x="541" y="412"/>
                    <a:pt x="541" y="265"/>
                  </a:cubicBezTo>
                  <a:cubicBezTo>
                    <a:pt x="541" y="119"/>
                    <a:pt x="420" y="0"/>
                    <a:pt x="270" y="0"/>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2" name="Freeform 11"/>
            <p:cNvSpPr>
              <a:spLocks/>
            </p:cNvSpPr>
            <p:nvPr/>
          </p:nvSpPr>
          <p:spPr bwMode="auto">
            <a:xfrm>
              <a:off x="3557" y="623"/>
              <a:ext cx="559" cy="2049"/>
            </a:xfrm>
            <a:custGeom>
              <a:avLst/>
              <a:gdLst>
                <a:gd name="T0" fmla="*/ 0 w 237"/>
                <a:gd name="T1" fmla="*/ 869 h 869"/>
                <a:gd name="T2" fmla="*/ 237 w 237"/>
                <a:gd name="T3" fmla="*/ 436 h 869"/>
                <a:gd name="T4" fmla="*/ 0 w 237"/>
                <a:gd name="T5" fmla="*/ 0 h 869"/>
              </a:gdLst>
              <a:ahLst/>
              <a:cxnLst>
                <a:cxn ang="0">
                  <a:pos x="T0" y="T1"/>
                </a:cxn>
                <a:cxn ang="0">
                  <a:pos x="T2" y="T3"/>
                </a:cxn>
                <a:cxn ang="0">
                  <a:pos x="T4" y="T5"/>
                </a:cxn>
              </a:cxnLst>
              <a:rect l="0" t="0" r="r" b="b"/>
              <a:pathLst>
                <a:path w="237" h="869">
                  <a:moveTo>
                    <a:pt x="0" y="869"/>
                  </a:moveTo>
                  <a:cubicBezTo>
                    <a:pt x="142" y="790"/>
                    <a:pt x="237" y="617"/>
                    <a:pt x="237" y="436"/>
                  </a:cubicBezTo>
                  <a:cubicBezTo>
                    <a:pt x="237" y="254"/>
                    <a:pt x="142" y="79"/>
                    <a:pt x="0" y="0"/>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3" name="Freeform 12"/>
            <p:cNvSpPr>
              <a:spLocks/>
            </p:cNvSpPr>
            <p:nvPr/>
          </p:nvSpPr>
          <p:spPr bwMode="auto">
            <a:xfrm>
              <a:off x="1692" y="623"/>
              <a:ext cx="558" cy="2049"/>
            </a:xfrm>
            <a:custGeom>
              <a:avLst/>
              <a:gdLst>
                <a:gd name="T0" fmla="*/ 237 w 237"/>
                <a:gd name="T1" fmla="*/ 0 h 869"/>
                <a:gd name="T2" fmla="*/ 0 w 237"/>
                <a:gd name="T3" fmla="*/ 436 h 869"/>
                <a:gd name="T4" fmla="*/ 237 w 237"/>
                <a:gd name="T5" fmla="*/ 869 h 869"/>
              </a:gdLst>
              <a:ahLst/>
              <a:cxnLst>
                <a:cxn ang="0">
                  <a:pos x="T0" y="T1"/>
                </a:cxn>
                <a:cxn ang="0">
                  <a:pos x="T2" y="T3"/>
                </a:cxn>
                <a:cxn ang="0">
                  <a:pos x="T4" y="T5"/>
                </a:cxn>
              </a:cxnLst>
              <a:rect l="0" t="0" r="r" b="b"/>
              <a:pathLst>
                <a:path w="237" h="869">
                  <a:moveTo>
                    <a:pt x="237" y="0"/>
                  </a:moveTo>
                  <a:cubicBezTo>
                    <a:pt x="95" y="79"/>
                    <a:pt x="0" y="254"/>
                    <a:pt x="0" y="436"/>
                  </a:cubicBezTo>
                  <a:cubicBezTo>
                    <a:pt x="0" y="617"/>
                    <a:pt x="95" y="790"/>
                    <a:pt x="237" y="869"/>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grpSp>
      <p:grpSp>
        <p:nvGrpSpPr>
          <p:cNvPr id="14" name="Group 11"/>
          <p:cNvGrpSpPr>
            <a:grpSpLocks noChangeAspect="1"/>
          </p:cNvGrpSpPr>
          <p:nvPr userDrawn="1"/>
        </p:nvGrpSpPr>
        <p:grpSpPr bwMode="auto">
          <a:xfrm>
            <a:off x="4190640" y="1524039"/>
            <a:ext cx="431579" cy="382171"/>
            <a:chOff x="1110" y="47"/>
            <a:chExt cx="3587" cy="3177"/>
          </a:xfrm>
        </p:grpSpPr>
        <p:sp>
          <p:nvSpPr>
            <p:cNvPr id="15" name="Freeform 12"/>
            <p:cNvSpPr>
              <a:spLocks/>
            </p:cNvSpPr>
            <p:nvPr/>
          </p:nvSpPr>
          <p:spPr bwMode="auto">
            <a:xfrm>
              <a:off x="1110" y="535"/>
              <a:ext cx="3587" cy="2689"/>
            </a:xfrm>
            <a:custGeom>
              <a:avLst/>
              <a:gdLst>
                <a:gd name="T0" fmla="*/ 2447 w 3587"/>
                <a:gd name="T1" fmla="*/ 0 h 2689"/>
                <a:gd name="T2" fmla="*/ 3587 w 3587"/>
                <a:gd name="T3" fmla="*/ 0 h 2689"/>
                <a:gd name="T4" fmla="*/ 3587 w 3587"/>
                <a:gd name="T5" fmla="*/ 2689 h 2689"/>
                <a:gd name="T6" fmla="*/ 0 w 3587"/>
                <a:gd name="T7" fmla="*/ 2689 h 2689"/>
                <a:gd name="T8" fmla="*/ 0 w 3587"/>
                <a:gd name="T9" fmla="*/ 0 h 2689"/>
                <a:gd name="T10" fmla="*/ 1305 w 3587"/>
                <a:gd name="T11" fmla="*/ 0 h 2689"/>
              </a:gdLst>
              <a:ahLst/>
              <a:cxnLst>
                <a:cxn ang="0">
                  <a:pos x="T0" y="T1"/>
                </a:cxn>
                <a:cxn ang="0">
                  <a:pos x="T2" y="T3"/>
                </a:cxn>
                <a:cxn ang="0">
                  <a:pos x="T4" y="T5"/>
                </a:cxn>
                <a:cxn ang="0">
                  <a:pos x="T6" y="T7"/>
                </a:cxn>
                <a:cxn ang="0">
                  <a:pos x="T8" y="T9"/>
                </a:cxn>
                <a:cxn ang="0">
                  <a:pos x="T10" y="T11"/>
                </a:cxn>
              </a:cxnLst>
              <a:rect l="0" t="0" r="r" b="b"/>
              <a:pathLst>
                <a:path w="3587" h="2689">
                  <a:moveTo>
                    <a:pt x="2447" y="0"/>
                  </a:moveTo>
                  <a:lnTo>
                    <a:pt x="3587" y="0"/>
                  </a:lnTo>
                  <a:lnTo>
                    <a:pt x="3587" y="2689"/>
                  </a:lnTo>
                  <a:lnTo>
                    <a:pt x="0" y="2689"/>
                  </a:lnTo>
                  <a:lnTo>
                    <a:pt x="0" y="0"/>
                  </a:lnTo>
                  <a:lnTo>
                    <a:pt x="1305" y="0"/>
                  </a:lnTo>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6" name="Rectangle 13"/>
            <p:cNvSpPr>
              <a:spLocks noChangeArrowheads="1"/>
            </p:cNvSpPr>
            <p:nvPr/>
          </p:nvSpPr>
          <p:spPr bwMode="auto">
            <a:xfrm>
              <a:off x="1516" y="1268"/>
              <a:ext cx="1305" cy="1548"/>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7" name="Freeform 14"/>
            <p:cNvSpPr>
              <a:spLocks/>
            </p:cNvSpPr>
            <p:nvPr/>
          </p:nvSpPr>
          <p:spPr bwMode="auto">
            <a:xfrm>
              <a:off x="1516" y="2331"/>
              <a:ext cx="1305" cy="485"/>
            </a:xfrm>
            <a:custGeom>
              <a:avLst/>
              <a:gdLst>
                <a:gd name="T0" fmla="*/ 277 w 553"/>
                <a:gd name="T1" fmla="*/ 206 h 206"/>
                <a:gd name="T2" fmla="*/ 553 w 553"/>
                <a:gd name="T3" fmla="*/ 206 h 206"/>
                <a:gd name="T4" fmla="*/ 553 w 553"/>
                <a:gd name="T5" fmla="*/ 88 h 206"/>
                <a:gd name="T6" fmla="*/ 277 w 553"/>
                <a:gd name="T7" fmla="*/ 0 h 206"/>
                <a:gd name="T8" fmla="*/ 0 w 553"/>
                <a:gd name="T9" fmla="*/ 88 h 206"/>
                <a:gd name="T10" fmla="*/ 0 w 553"/>
                <a:gd name="T11" fmla="*/ 206 h 206"/>
                <a:gd name="T12" fmla="*/ 277 w 55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553" h="206">
                  <a:moveTo>
                    <a:pt x="277" y="206"/>
                  </a:moveTo>
                  <a:cubicBezTo>
                    <a:pt x="553" y="206"/>
                    <a:pt x="553" y="206"/>
                    <a:pt x="553" y="206"/>
                  </a:cubicBezTo>
                  <a:cubicBezTo>
                    <a:pt x="553" y="88"/>
                    <a:pt x="553" y="88"/>
                    <a:pt x="553" y="88"/>
                  </a:cubicBezTo>
                  <a:cubicBezTo>
                    <a:pt x="540" y="74"/>
                    <a:pt x="405" y="0"/>
                    <a:pt x="277" y="0"/>
                  </a:cubicBezTo>
                  <a:cubicBezTo>
                    <a:pt x="149" y="0"/>
                    <a:pt x="13" y="74"/>
                    <a:pt x="0" y="88"/>
                  </a:cubicBezTo>
                  <a:cubicBezTo>
                    <a:pt x="0" y="206"/>
                    <a:pt x="0" y="206"/>
                    <a:pt x="0" y="206"/>
                  </a:cubicBezTo>
                  <a:lnTo>
                    <a:pt x="277" y="206"/>
                  </a:ln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8" name="Freeform 15"/>
            <p:cNvSpPr>
              <a:spLocks/>
            </p:cNvSpPr>
            <p:nvPr/>
          </p:nvSpPr>
          <p:spPr bwMode="auto">
            <a:xfrm>
              <a:off x="1924" y="1513"/>
              <a:ext cx="491" cy="573"/>
            </a:xfrm>
            <a:custGeom>
              <a:avLst/>
              <a:gdLst>
                <a:gd name="T0" fmla="*/ 104 w 208"/>
                <a:gd name="T1" fmla="*/ 0 h 243"/>
                <a:gd name="T2" fmla="*/ 104 w 208"/>
                <a:gd name="T3" fmla="*/ 0 h 243"/>
                <a:gd name="T4" fmla="*/ 0 w 208"/>
                <a:gd name="T5" fmla="*/ 105 h 243"/>
                <a:gd name="T6" fmla="*/ 0 w 208"/>
                <a:gd name="T7" fmla="*/ 138 h 243"/>
                <a:gd name="T8" fmla="*/ 104 w 208"/>
                <a:gd name="T9" fmla="*/ 243 h 243"/>
                <a:gd name="T10" fmla="*/ 104 w 208"/>
                <a:gd name="T11" fmla="*/ 243 h 243"/>
                <a:gd name="T12" fmla="*/ 208 w 208"/>
                <a:gd name="T13" fmla="*/ 138 h 243"/>
                <a:gd name="T14" fmla="*/ 208 w 208"/>
                <a:gd name="T15" fmla="*/ 105 h 243"/>
                <a:gd name="T16" fmla="*/ 104 w 208"/>
                <a:gd name="T17"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243">
                  <a:moveTo>
                    <a:pt x="104" y="0"/>
                  </a:moveTo>
                  <a:cubicBezTo>
                    <a:pt x="104" y="0"/>
                    <a:pt x="104" y="0"/>
                    <a:pt x="104" y="0"/>
                  </a:cubicBezTo>
                  <a:cubicBezTo>
                    <a:pt x="47" y="0"/>
                    <a:pt x="0" y="47"/>
                    <a:pt x="0" y="105"/>
                  </a:cubicBezTo>
                  <a:cubicBezTo>
                    <a:pt x="0" y="138"/>
                    <a:pt x="0" y="138"/>
                    <a:pt x="0" y="138"/>
                  </a:cubicBezTo>
                  <a:cubicBezTo>
                    <a:pt x="0" y="196"/>
                    <a:pt x="47" y="243"/>
                    <a:pt x="104" y="243"/>
                  </a:cubicBezTo>
                  <a:cubicBezTo>
                    <a:pt x="104" y="243"/>
                    <a:pt x="104" y="243"/>
                    <a:pt x="104" y="243"/>
                  </a:cubicBezTo>
                  <a:cubicBezTo>
                    <a:pt x="161" y="243"/>
                    <a:pt x="208" y="196"/>
                    <a:pt x="208" y="138"/>
                  </a:cubicBezTo>
                  <a:cubicBezTo>
                    <a:pt x="208" y="105"/>
                    <a:pt x="208" y="105"/>
                    <a:pt x="208" y="105"/>
                  </a:cubicBezTo>
                  <a:cubicBezTo>
                    <a:pt x="208" y="47"/>
                    <a:pt x="161" y="0"/>
                    <a:pt x="104" y="0"/>
                  </a:cubicBez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9" name="Line 16"/>
            <p:cNvSpPr>
              <a:spLocks noChangeShapeType="1"/>
            </p:cNvSpPr>
            <p:nvPr/>
          </p:nvSpPr>
          <p:spPr bwMode="auto">
            <a:xfrm>
              <a:off x="3229" y="1595"/>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0" name="Line 17"/>
            <p:cNvSpPr>
              <a:spLocks noChangeShapeType="1"/>
            </p:cNvSpPr>
            <p:nvPr/>
          </p:nvSpPr>
          <p:spPr bwMode="auto">
            <a:xfrm>
              <a:off x="3229" y="1921"/>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1" name="Line 18"/>
            <p:cNvSpPr>
              <a:spLocks noChangeShapeType="1"/>
            </p:cNvSpPr>
            <p:nvPr/>
          </p:nvSpPr>
          <p:spPr bwMode="auto">
            <a:xfrm>
              <a:off x="3229" y="2246"/>
              <a:ext cx="571"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2" name="Line 19"/>
            <p:cNvSpPr>
              <a:spLocks noChangeShapeType="1"/>
            </p:cNvSpPr>
            <p:nvPr/>
          </p:nvSpPr>
          <p:spPr bwMode="auto">
            <a:xfrm>
              <a:off x="2333" y="862"/>
              <a:ext cx="1305"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3" name="Line 20"/>
            <p:cNvSpPr>
              <a:spLocks noChangeShapeType="1"/>
            </p:cNvSpPr>
            <p:nvPr/>
          </p:nvSpPr>
          <p:spPr bwMode="auto">
            <a:xfrm flipH="1">
              <a:off x="2007"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4" name="Line 21"/>
            <p:cNvSpPr>
              <a:spLocks noChangeShapeType="1"/>
            </p:cNvSpPr>
            <p:nvPr/>
          </p:nvSpPr>
          <p:spPr bwMode="auto">
            <a:xfrm>
              <a:off x="3800"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5" name="Rectangle 22"/>
            <p:cNvSpPr>
              <a:spLocks noChangeArrowheads="1"/>
            </p:cNvSpPr>
            <p:nvPr/>
          </p:nvSpPr>
          <p:spPr bwMode="auto">
            <a:xfrm>
              <a:off x="2658" y="47"/>
              <a:ext cx="654" cy="815"/>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grpSp>
      <p:grpSp>
        <p:nvGrpSpPr>
          <p:cNvPr id="26" name="Group 25"/>
          <p:cNvGrpSpPr>
            <a:grpSpLocks noChangeAspect="1"/>
          </p:cNvGrpSpPr>
          <p:nvPr userDrawn="1"/>
        </p:nvGrpSpPr>
        <p:grpSpPr bwMode="auto">
          <a:xfrm>
            <a:off x="7620290" y="1423855"/>
            <a:ext cx="343892" cy="482351"/>
            <a:chOff x="1875" y="24852"/>
            <a:chExt cx="2050" cy="364666"/>
          </a:xfrm>
        </p:grpSpPr>
        <p:sp>
          <p:nvSpPr>
            <p:cNvPr id="27" name="Freeform 26"/>
            <p:cNvSpPr>
              <a:spLocks/>
            </p:cNvSpPr>
            <p:nvPr/>
          </p:nvSpPr>
          <p:spPr bwMode="auto">
            <a:xfrm>
              <a:off x="2260" y="24852"/>
              <a:ext cx="1280" cy="73035"/>
            </a:xfrm>
            <a:custGeom>
              <a:avLst/>
              <a:gdLst>
                <a:gd name="T0" fmla="*/ 347 w 542"/>
                <a:gd name="T1" fmla="*/ 108 h 244"/>
                <a:gd name="T2" fmla="*/ 352 w 542"/>
                <a:gd name="T3" fmla="*/ 81 h 244"/>
                <a:gd name="T4" fmla="*/ 271 w 542"/>
                <a:gd name="T5" fmla="*/ 0 h 244"/>
                <a:gd name="T6" fmla="*/ 190 w 542"/>
                <a:gd name="T7" fmla="*/ 81 h 244"/>
                <a:gd name="T8" fmla="*/ 195 w 542"/>
                <a:gd name="T9" fmla="*/ 108 h 244"/>
                <a:gd name="T10" fmla="*/ 0 w 542"/>
                <a:gd name="T11" fmla="*/ 108 h 244"/>
                <a:gd name="T12" fmla="*/ 0 w 542"/>
                <a:gd name="T13" fmla="*/ 244 h 244"/>
                <a:gd name="T14" fmla="*/ 542 w 542"/>
                <a:gd name="T15" fmla="*/ 244 h 244"/>
                <a:gd name="T16" fmla="*/ 542 w 542"/>
                <a:gd name="T17" fmla="*/ 108 h 244"/>
                <a:gd name="T18" fmla="*/ 347 w 542"/>
                <a:gd name="T19" fmla="*/ 1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2" h="244">
                  <a:moveTo>
                    <a:pt x="347" y="108"/>
                  </a:moveTo>
                  <a:cubicBezTo>
                    <a:pt x="350" y="100"/>
                    <a:pt x="352" y="91"/>
                    <a:pt x="352" y="81"/>
                  </a:cubicBezTo>
                  <a:cubicBezTo>
                    <a:pt x="352" y="36"/>
                    <a:pt x="316" y="0"/>
                    <a:pt x="271" y="0"/>
                  </a:cubicBezTo>
                  <a:cubicBezTo>
                    <a:pt x="226" y="0"/>
                    <a:pt x="190" y="36"/>
                    <a:pt x="190" y="81"/>
                  </a:cubicBezTo>
                  <a:cubicBezTo>
                    <a:pt x="190" y="91"/>
                    <a:pt x="192" y="100"/>
                    <a:pt x="195" y="108"/>
                  </a:cubicBezTo>
                  <a:cubicBezTo>
                    <a:pt x="0" y="108"/>
                    <a:pt x="0" y="108"/>
                    <a:pt x="0" y="108"/>
                  </a:cubicBezTo>
                  <a:cubicBezTo>
                    <a:pt x="0" y="244"/>
                    <a:pt x="0" y="244"/>
                    <a:pt x="0" y="244"/>
                  </a:cubicBezTo>
                  <a:cubicBezTo>
                    <a:pt x="542" y="244"/>
                    <a:pt x="542" y="244"/>
                    <a:pt x="542" y="244"/>
                  </a:cubicBezTo>
                  <a:cubicBezTo>
                    <a:pt x="542" y="108"/>
                    <a:pt x="542" y="108"/>
                    <a:pt x="542" y="108"/>
                  </a:cubicBezTo>
                  <a:lnTo>
                    <a:pt x="347" y="108"/>
                  </a:ln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8" name="Freeform 27"/>
            <p:cNvSpPr>
              <a:spLocks/>
            </p:cNvSpPr>
            <p:nvPr/>
          </p:nvSpPr>
          <p:spPr bwMode="auto">
            <a:xfrm>
              <a:off x="1875" y="73669"/>
              <a:ext cx="2050" cy="315849"/>
            </a:xfrm>
            <a:custGeom>
              <a:avLst/>
              <a:gdLst>
                <a:gd name="T0" fmla="*/ 1665 w 2050"/>
                <a:gd name="T1" fmla="*/ 0 h 2491"/>
                <a:gd name="T2" fmla="*/ 2050 w 2050"/>
                <a:gd name="T3" fmla="*/ 0 h 2491"/>
                <a:gd name="T4" fmla="*/ 2050 w 2050"/>
                <a:gd name="T5" fmla="*/ 2491 h 2491"/>
                <a:gd name="T6" fmla="*/ 0 w 2050"/>
                <a:gd name="T7" fmla="*/ 2491 h 2491"/>
                <a:gd name="T8" fmla="*/ 0 w 2050"/>
                <a:gd name="T9" fmla="*/ 0 h 2491"/>
                <a:gd name="T10" fmla="*/ 385 w 2050"/>
                <a:gd name="T11" fmla="*/ 0 h 2491"/>
              </a:gdLst>
              <a:ahLst/>
              <a:cxnLst>
                <a:cxn ang="0">
                  <a:pos x="T0" y="T1"/>
                </a:cxn>
                <a:cxn ang="0">
                  <a:pos x="T2" y="T3"/>
                </a:cxn>
                <a:cxn ang="0">
                  <a:pos x="T4" y="T5"/>
                </a:cxn>
                <a:cxn ang="0">
                  <a:pos x="T6" y="T7"/>
                </a:cxn>
                <a:cxn ang="0">
                  <a:pos x="T8" y="T9"/>
                </a:cxn>
                <a:cxn ang="0">
                  <a:pos x="T10" y="T11"/>
                </a:cxn>
              </a:cxnLst>
              <a:rect l="0" t="0" r="r" b="b"/>
              <a:pathLst>
                <a:path w="2050" h="2491">
                  <a:moveTo>
                    <a:pt x="1665" y="0"/>
                  </a:moveTo>
                  <a:lnTo>
                    <a:pt x="2050" y="0"/>
                  </a:lnTo>
                  <a:lnTo>
                    <a:pt x="2050" y="2491"/>
                  </a:lnTo>
                  <a:lnTo>
                    <a:pt x="0" y="2491"/>
                  </a:lnTo>
                  <a:lnTo>
                    <a:pt x="0" y="0"/>
                  </a:lnTo>
                  <a:lnTo>
                    <a:pt x="385"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9" name="Freeform 28"/>
            <p:cNvSpPr>
              <a:spLocks/>
            </p:cNvSpPr>
            <p:nvPr/>
          </p:nvSpPr>
          <p:spPr bwMode="auto">
            <a:xfrm>
              <a:off x="2196" y="154565"/>
              <a:ext cx="513" cy="64920"/>
            </a:xfrm>
            <a:custGeom>
              <a:avLst/>
              <a:gdLst>
                <a:gd name="T0" fmla="*/ 513 w 513"/>
                <a:gd name="T1" fmla="*/ 382 h 512"/>
                <a:gd name="T2" fmla="*/ 513 w 513"/>
                <a:gd name="T3" fmla="*/ 512 h 512"/>
                <a:gd name="T4" fmla="*/ 0 w 513"/>
                <a:gd name="T5" fmla="*/ 512 h 512"/>
                <a:gd name="T6" fmla="*/ 0 w 513"/>
                <a:gd name="T7" fmla="*/ 0 h 512"/>
                <a:gd name="T8" fmla="*/ 319 w 513"/>
                <a:gd name="T9" fmla="*/ 0 h 512"/>
              </a:gdLst>
              <a:ahLst/>
              <a:cxnLst>
                <a:cxn ang="0">
                  <a:pos x="T0" y="T1"/>
                </a:cxn>
                <a:cxn ang="0">
                  <a:pos x="T2" y="T3"/>
                </a:cxn>
                <a:cxn ang="0">
                  <a:pos x="T4" y="T5"/>
                </a:cxn>
                <a:cxn ang="0">
                  <a:pos x="T6" y="T7"/>
                </a:cxn>
                <a:cxn ang="0">
                  <a:pos x="T8" y="T9"/>
                </a:cxn>
              </a:cxnLst>
              <a:rect l="0" t="0" r="r" b="b"/>
              <a:pathLst>
                <a:path w="513" h="512">
                  <a:moveTo>
                    <a:pt x="513" y="382"/>
                  </a:moveTo>
                  <a:lnTo>
                    <a:pt x="513" y="512"/>
                  </a:lnTo>
                  <a:lnTo>
                    <a:pt x="0" y="512"/>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0" name="Freeform 29"/>
            <p:cNvSpPr>
              <a:spLocks/>
            </p:cNvSpPr>
            <p:nvPr/>
          </p:nvSpPr>
          <p:spPr bwMode="auto">
            <a:xfrm>
              <a:off x="2388" y="150380"/>
              <a:ext cx="479" cy="44632"/>
            </a:xfrm>
            <a:custGeom>
              <a:avLst/>
              <a:gdLst>
                <a:gd name="T0" fmla="*/ 0 w 479"/>
                <a:gd name="T1" fmla="*/ 224 h 352"/>
                <a:gd name="T2" fmla="*/ 127 w 479"/>
                <a:gd name="T3" fmla="*/ 352 h 352"/>
                <a:gd name="T4" fmla="*/ 479 w 479"/>
                <a:gd name="T5" fmla="*/ 0 h 352"/>
              </a:gdLst>
              <a:ahLst/>
              <a:cxnLst>
                <a:cxn ang="0">
                  <a:pos x="T0" y="T1"/>
                </a:cxn>
                <a:cxn ang="0">
                  <a:pos x="T2" y="T3"/>
                </a:cxn>
                <a:cxn ang="0">
                  <a:pos x="T4" y="T5"/>
                </a:cxn>
              </a:cxnLst>
              <a:rect l="0" t="0" r="r" b="b"/>
              <a:pathLst>
                <a:path w="479" h="352">
                  <a:moveTo>
                    <a:pt x="0" y="224"/>
                  </a:moveTo>
                  <a:lnTo>
                    <a:pt x="127" y="352"/>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1" name="Freeform 30"/>
            <p:cNvSpPr>
              <a:spLocks/>
            </p:cNvSpPr>
            <p:nvPr/>
          </p:nvSpPr>
          <p:spPr bwMode="auto">
            <a:xfrm>
              <a:off x="2196" y="267920"/>
              <a:ext cx="513" cy="64793"/>
            </a:xfrm>
            <a:custGeom>
              <a:avLst/>
              <a:gdLst>
                <a:gd name="T0" fmla="*/ 513 w 513"/>
                <a:gd name="T1" fmla="*/ 384 h 511"/>
                <a:gd name="T2" fmla="*/ 513 w 513"/>
                <a:gd name="T3" fmla="*/ 511 h 511"/>
                <a:gd name="T4" fmla="*/ 0 w 513"/>
                <a:gd name="T5" fmla="*/ 511 h 511"/>
                <a:gd name="T6" fmla="*/ 0 w 513"/>
                <a:gd name="T7" fmla="*/ 0 h 511"/>
                <a:gd name="T8" fmla="*/ 319 w 513"/>
                <a:gd name="T9" fmla="*/ 0 h 511"/>
              </a:gdLst>
              <a:ahLst/>
              <a:cxnLst>
                <a:cxn ang="0">
                  <a:pos x="T0" y="T1"/>
                </a:cxn>
                <a:cxn ang="0">
                  <a:pos x="T2" y="T3"/>
                </a:cxn>
                <a:cxn ang="0">
                  <a:pos x="T4" y="T5"/>
                </a:cxn>
                <a:cxn ang="0">
                  <a:pos x="T6" y="T7"/>
                </a:cxn>
                <a:cxn ang="0">
                  <a:pos x="T8" y="T9"/>
                </a:cxn>
              </a:cxnLst>
              <a:rect l="0" t="0" r="r" b="b"/>
              <a:pathLst>
                <a:path w="513" h="511">
                  <a:moveTo>
                    <a:pt x="513" y="384"/>
                  </a:moveTo>
                  <a:lnTo>
                    <a:pt x="513" y="511"/>
                  </a:lnTo>
                  <a:lnTo>
                    <a:pt x="0" y="511"/>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2" name="Freeform 31"/>
            <p:cNvSpPr>
              <a:spLocks/>
            </p:cNvSpPr>
            <p:nvPr/>
          </p:nvSpPr>
          <p:spPr bwMode="auto">
            <a:xfrm>
              <a:off x="2388" y="263990"/>
              <a:ext cx="479" cy="44505"/>
            </a:xfrm>
            <a:custGeom>
              <a:avLst/>
              <a:gdLst>
                <a:gd name="T0" fmla="*/ 0 w 479"/>
                <a:gd name="T1" fmla="*/ 224 h 351"/>
                <a:gd name="T2" fmla="*/ 127 w 479"/>
                <a:gd name="T3" fmla="*/ 351 h 351"/>
                <a:gd name="T4" fmla="*/ 479 w 479"/>
                <a:gd name="T5" fmla="*/ 0 h 351"/>
              </a:gdLst>
              <a:ahLst/>
              <a:cxnLst>
                <a:cxn ang="0">
                  <a:pos x="T0" y="T1"/>
                </a:cxn>
                <a:cxn ang="0">
                  <a:pos x="T2" y="T3"/>
                </a:cxn>
                <a:cxn ang="0">
                  <a:pos x="T4" y="T5"/>
                </a:cxn>
              </a:cxnLst>
              <a:rect l="0" t="0" r="r" b="b"/>
              <a:pathLst>
                <a:path w="479" h="351">
                  <a:moveTo>
                    <a:pt x="0" y="224"/>
                  </a:moveTo>
                  <a:lnTo>
                    <a:pt x="127" y="351"/>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3" name="Line 32"/>
            <p:cNvSpPr>
              <a:spLocks noChangeShapeType="1"/>
            </p:cNvSpPr>
            <p:nvPr/>
          </p:nvSpPr>
          <p:spPr bwMode="auto">
            <a:xfrm>
              <a:off x="3028" y="170794"/>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4" name="Line 33"/>
            <p:cNvSpPr>
              <a:spLocks noChangeShapeType="1"/>
            </p:cNvSpPr>
            <p:nvPr/>
          </p:nvSpPr>
          <p:spPr bwMode="auto">
            <a:xfrm>
              <a:off x="3028" y="203001"/>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5" name="Line 34"/>
            <p:cNvSpPr>
              <a:spLocks noChangeShapeType="1"/>
            </p:cNvSpPr>
            <p:nvPr/>
          </p:nvSpPr>
          <p:spPr bwMode="auto">
            <a:xfrm>
              <a:off x="3028" y="284277"/>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6" name="Line 35"/>
            <p:cNvSpPr>
              <a:spLocks noChangeShapeType="1"/>
            </p:cNvSpPr>
            <p:nvPr/>
          </p:nvSpPr>
          <p:spPr bwMode="auto">
            <a:xfrm>
              <a:off x="3028" y="316822"/>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grpSp>
      <p:sp>
        <p:nvSpPr>
          <p:cNvPr id="40" name="Text Placeholder 39"/>
          <p:cNvSpPr>
            <a:spLocks noGrp="1"/>
          </p:cNvSpPr>
          <p:nvPr>
            <p:ph type="body" sz="quarter" idx="13"/>
          </p:nvPr>
        </p:nvSpPr>
        <p:spPr>
          <a:xfrm>
            <a:off x="760294"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Text Placeholder 39"/>
          <p:cNvSpPr>
            <a:spLocks noGrp="1"/>
          </p:cNvSpPr>
          <p:nvPr>
            <p:ph type="body" sz="quarter" idx="14"/>
          </p:nvPr>
        </p:nvSpPr>
        <p:spPr>
          <a:xfrm>
            <a:off x="4189643"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Placeholder 39"/>
          <p:cNvSpPr>
            <a:spLocks noGrp="1"/>
          </p:cNvSpPr>
          <p:nvPr>
            <p:ph type="body" sz="quarter" idx="15"/>
          </p:nvPr>
        </p:nvSpPr>
        <p:spPr>
          <a:xfrm>
            <a:off x="7620289"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9305686"/>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4" name="Picture Placeholder 3"/>
          <p:cNvSpPr>
            <a:spLocks noGrp="1"/>
          </p:cNvSpPr>
          <p:nvPr>
            <p:ph type="pic" sz="quarter" idx="28"/>
          </p:nvPr>
        </p:nvSpPr>
        <p:spPr>
          <a:xfrm>
            <a:off x="5714803" y="525"/>
            <a:ext cx="6478070" cy="6857475"/>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dirty="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607533CD-0C7F-4733-95CA-B028E80BD381}" type="datetime5">
              <a:rPr lang="en-US" smtClean="0"/>
              <a:t>6-Oct-21</a:t>
            </a:fld>
            <a:endParaRPr lang="en-US" dirty="0"/>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a:t>FOOTER / PRESENTATION NAME</a:t>
            </a:r>
            <a:endParaRPr lang="en-US" dirty="0"/>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061885717"/>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1" name="Picture Placeholder 3"/>
          <p:cNvSpPr>
            <a:spLocks noGrp="1"/>
          </p:cNvSpPr>
          <p:nvPr>
            <p:ph type="pic" sz="quarter" idx="26"/>
          </p:nvPr>
        </p:nvSpPr>
        <p:spPr>
          <a:xfrm>
            <a:off x="5715327" y="524"/>
            <a:ext cx="3046950" cy="3428476"/>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23" name="Picture Placeholder 3"/>
          <p:cNvSpPr>
            <a:spLocks noGrp="1"/>
          </p:cNvSpPr>
          <p:nvPr>
            <p:ph type="pic" sz="quarter" idx="27"/>
          </p:nvPr>
        </p:nvSpPr>
        <p:spPr>
          <a:xfrm>
            <a:off x="5713753" y="3429001"/>
            <a:ext cx="3047474" cy="3428473"/>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24" name="Picture Placeholder 3"/>
          <p:cNvSpPr>
            <a:spLocks noGrp="1"/>
          </p:cNvSpPr>
          <p:nvPr>
            <p:ph type="pic" sz="quarter" idx="28"/>
          </p:nvPr>
        </p:nvSpPr>
        <p:spPr>
          <a:xfrm>
            <a:off x="8763153" y="525"/>
            <a:ext cx="3429720" cy="6857475"/>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dirty="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51E0FB36-D938-4C52-8E5F-B278CAC87CCA}" type="datetime5">
              <a:rPr lang="en-US" smtClean="0"/>
              <a:t>6-Oct-21</a:t>
            </a:fld>
            <a:endParaRPr lang="en-US" dirty="0"/>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a:t>FOOTER / PRESENTATION NAME</a:t>
            </a:r>
            <a:endParaRPr lang="en-US" dirty="0"/>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652855148"/>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10" name="Picture Placeholder 3"/>
          <p:cNvSpPr>
            <a:spLocks noGrp="1"/>
          </p:cNvSpPr>
          <p:nvPr>
            <p:ph type="pic" sz="quarter" idx="27"/>
          </p:nvPr>
        </p:nvSpPr>
        <p:spPr>
          <a:xfrm>
            <a:off x="762220" y="762234"/>
            <a:ext cx="1904583" cy="5333533"/>
          </a:xfrm>
          <a:solidFill>
            <a:schemeClr val="bg2">
              <a:lumMod val="60000"/>
              <a:lumOff val="40000"/>
            </a:schemeClr>
          </a:solidFill>
        </p:spPr>
        <p:txBody>
          <a:bodyPr anchor="ctr"/>
          <a:lstStyle>
            <a:lvl1pPr algn="ctr">
              <a:defRPr b="0">
                <a:solidFill>
                  <a:schemeClr val="bg1"/>
                </a:solidFill>
              </a:defRPr>
            </a:lvl1pPr>
          </a:lstStyle>
          <a:p>
            <a:r>
              <a:rPr lang="en-US" noProof="0" dirty="0"/>
              <a:t>Click icon to add picture</a:t>
            </a:r>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1" name="Picture Placeholder 3"/>
          <p:cNvSpPr>
            <a:spLocks noGrp="1"/>
          </p:cNvSpPr>
          <p:nvPr>
            <p:ph type="pic" sz="quarter" idx="23"/>
          </p:nvPr>
        </p:nvSpPr>
        <p:spPr>
          <a:xfrm>
            <a:off x="9144176" y="762234"/>
            <a:ext cx="2286130" cy="2666767"/>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7620088" y="3429001"/>
            <a:ext cx="3809518" cy="2667466"/>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760293" y="381466"/>
            <a:ext cx="5335707" cy="380942"/>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14" name="Picture Placeholder 3"/>
          <p:cNvSpPr>
            <a:spLocks noGrp="1"/>
          </p:cNvSpPr>
          <p:nvPr>
            <p:ph type="pic" sz="quarter" idx="28"/>
          </p:nvPr>
        </p:nvSpPr>
        <p:spPr>
          <a:xfrm>
            <a:off x="2667679" y="762234"/>
            <a:ext cx="2664878" cy="1524467"/>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15" name="Picture Placeholder 3"/>
          <p:cNvSpPr>
            <a:spLocks noGrp="1"/>
          </p:cNvSpPr>
          <p:nvPr>
            <p:ph type="pic" sz="quarter" idx="29"/>
          </p:nvPr>
        </p:nvSpPr>
        <p:spPr>
          <a:xfrm>
            <a:off x="2667330" y="2285827"/>
            <a:ext cx="2665228" cy="1905407"/>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6" name="Picture Placeholder 3"/>
          <p:cNvSpPr>
            <a:spLocks noGrp="1"/>
          </p:cNvSpPr>
          <p:nvPr>
            <p:ph type="pic" sz="quarter" idx="30"/>
          </p:nvPr>
        </p:nvSpPr>
        <p:spPr>
          <a:xfrm>
            <a:off x="2667679" y="4191234"/>
            <a:ext cx="2664878" cy="1904534"/>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2" name="Date Placeholder 1"/>
          <p:cNvSpPr>
            <a:spLocks noGrp="1"/>
          </p:cNvSpPr>
          <p:nvPr>
            <p:ph type="dt" sz="half" idx="31"/>
          </p:nvPr>
        </p:nvSpPr>
        <p:spPr/>
        <p:txBody>
          <a:bodyPr/>
          <a:lstStyle/>
          <a:p>
            <a:pPr>
              <a:defRPr/>
            </a:pPr>
            <a:fld id="{F178FB46-C1CF-407A-896C-12CDC788D1F5}" type="datetime5">
              <a:rPr lang="en-US" smtClean="0"/>
              <a:t>6-Oct-21</a:t>
            </a:fld>
            <a:endParaRPr lang="en-US" dirty="0"/>
          </a:p>
        </p:txBody>
      </p:sp>
      <p:sp>
        <p:nvSpPr>
          <p:cNvPr id="5" name="Footer Placeholder 4"/>
          <p:cNvSpPr>
            <a:spLocks noGrp="1"/>
          </p:cNvSpPr>
          <p:nvPr>
            <p:ph type="ftr" sz="quarter" idx="32"/>
          </p:nvPr>
        </p:nvSpPr>
        <p:spPr/>
        <p:txBody>
          <a:bodyPr/>
          <a:lstStyle/>
          <a:p>
            <a:pPr>
              <a:defRPr/>
            </a:pPr>
            <a:r>
              <a:rPr lang="en-US"/>
              <a:t>FOOTER / PRESENTATION NAME</a:t>
            </a:r>
            <a:endParaRPr lang="en-US" dirty="0"/>
          </a:p>
        </p:txBody>
      </p:sp>
      <p:sp>
        <p:nvSpPr>
          <p:cNvPr id="6" name="Slide Number Placeholder 5"/>
          <p:cNvSpPr>
            <a:spLocks noGrp="1"/>
          </p:cNvSpPr>
          <p:nvPr>
            <p:ph type="sldNum" sz="quarter" idx="33"/>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271847516"/>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6" name="Picture Placeholder 5"/>
          <p:cNvSpPr>
            <a:spLocks noGrp="1"/>
          </p:cNvSpPr>
          <p:nvPr>
            <p:ph type="pic" sz="quarter" idx="22"/>
          </p:nvPr>
        </p:nvSpPr>
        <p:spPr>
          <a:xfrm>
            <a:off x="760294" y="762234"/>
            <a:ext cx="3809869" cy="5333533"/>
          </a:xfrm>
          <a:solidFill>
            <a:schemeClr val="bg2"/>
          </a:solidFill>
        </p:spPr>
        <p:txBody>
          <a:bodyPr anchor="ctr"/>
          <a:lstStyle>
            <a:lvl1pPr algn="ctr">
              <a:defRPr b="0">
                <a:solidFill>
                  <a:srgbClr val="FAFAFA"/>
                </a:solidFill>
              </a:defRPr>
            </a:lvl1pPr>
          </a:lstStyle>
          <a:p>
            <a:r>
              <a:rPr lang="en-US" noProof="0" dirty="0"/>
              <a:t>Click icon to add picture</a:t>
            </a:r>
          </a:p>
        </p:txBody>
      </p:sp>
      <p:sp>
        <p:nvSpPr>
          <p:cNvPr id="3" name="Titel 2"/>
          <p:cNvSpPr>
            <a:spLocks noGrp="1"/>
          </p:cNvSpPr>
          <p:nvPr>
            <p:ph type="title"/>
          </p:nvPr>
        </p:nvSpPr>
        <p:spPr bwMode="gray">
          <a:xfrm>
            <a:off x="5333957" y="1904533"/>
            <a:ext cx="5715329" cy="1905407"/>
          </a:xfrm>
        </p:spPr>
        <p:txBody>
          <a:bodyPr anchor="b"/>
          <a:lstStyle>
            <a:lvl1pPr>
              <a:defRPr sz="4233" b="0" i="0">
                <a:latin typeface="adineue TEXT Black" panose="020B0A03020201060004" pitchFamily="34" charset="0"/>
              </a:defRPr>
            </a:lvl1pPr>
          </a:lstStyle>
          <a:p>
            <a:r>
              <a:rPr lang="en-US" noProof="0" dirty="0"/>
              <a:t>Click to edit Master title style</a:t>
            </a:r>
          </a:p>
        </p:txBody>
      </p:sp>
      <p:sp>
        <p:nvSpPr>
          <p:cNvPr id="4" name="Text Placeholder 3"/>
          <p:cNvSpPr>
            <a:spLocks noGrp="1"/>
          </p:cNvSpPr>
          <p:nvPr>
            <p:ph type="body" sz="quarter" idx="18"/>
          </p:nvPr>
        </p:nvSpPr>
        <p:spPr>
          <a:xfrm>
            <a:off x="5332556" y="3809941"/>
            <a:ext cx="5281083" cy="2285650"/>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3"/>
          </p:nvPr>
        </p:nvSpPr>
        <p:spPr/>
        <p:txBody>
          <a:bodyPr/>
          <a:lstStyle/>
          <a:p>
            <a:pPr>
              <a:defRPr/>
            </a:pPr>
            <a:fld id="{4AEEAF02-70BD-43CF-B541-E9244D2E1D54}" type="datetime5">
              <a:rPr lang="en-US" smtClean="0"/>
              <a:t>6-Oct-21</a:t>
            </a:fld>
            <a:endParaRPr lang="en-US" dirty="0"/>
          </a:p>
        </p:txBody>
      </p:sp>
      <p:sp>
        <p:nvSpPr>
          <p:cNvPr id="7" name="Footer Placeholder 6"/>
          <p:cNvSpPr>
            <a:spLocks noGrp="1"/>
          </p:cNvSpPr>
          <p:nvPr>
            <p:ph type="ftr" sz="quarter" idx="24"/>
          </p:nvPr>
        </p:nvSpPr>
        <p:spPr/>
        <p:txBody>
          <a:bodyPr/>
          <a:lstStyle/>
          <a:p>
            <a:pPr>
              <a:defRPr/>
            </a:pPr>
            <a:r>
              <a:rPr lang="en-US"/>
              <a:t>FOOTER / PRESENTATION NAME</a:t>
            </a:r>
            <a:endParaRPr lang="en-US" dirty="0"/>
          </a:p>
        </p:txBody>
      </p:sp>
      <p:sp>
        <p:nvSpPr>
          <p:cNvPr id="11" name="Slide Number Placeholder 10"/>
          <p:cNvSpPr>
            <a:spLocks noGrp="1"/>
          </p:cNvSpPr>
          <p:nvPr>
            <p:ph type="sldNum" sz="quarter" idx="25"/>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940454621"/>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tx2"/>
                </a:solidFill>
              </a:defRPr>
            </a:lvl1pPr>
          </a:lstStyle>
          <a:p>
            <a:pPr lvl="0"/>
            <a:r>
              <a:rPr lang="en-US" noProof="0" dirty="0"/>
              <a:t>Click icon to add picture</a:t>
            </a:r>
          </a:p>
        </p:txBody>
      </p:sp>
      <p:sp>
        <p:nvSpPr>
          <p:cNvPr id="6" name="Picture Placeholder 5"/>
          <p:cNvSpPr>
            <a:spLocks noGrp="1"/>
          </p:cNvSpPr>
          <p:nvPr>
            <p:ph type="pic" sz="quarter" idx="22"/>
          </p:nvPr>
        </p:nvSpPr>
        <p:spPr>
          <a:xfrm>
            <a:off x="760295" y="762233"/>
            <a:ext cx="4954633" cy="5715525"/>
          </a:xfrm>
          <a:solidFill>
            <a:schemeClr val="bg2">
              <a:lumMod val="40000"/>
              <a:lumOff val="60000"/>
            </a:schemeClr>
          </a:solidFill>
        </p:spPr>
        <p:txBody>
          <a:bodyPr anchor="ctr"/>
          <a:lstStyle>
            <a:lvl1pPr algn="ctr">
              <a:defRPr b="0"/>
            </a:lvl1pPr>
          </a:lstStyle>
          <a:p>
            <a:r>
              <a:rPr lang="en-US" noProof="0" dirty="0"/>
              <a:t>Click icon to add picture</a:t>
            </a:r>
          </a:p>
        </p:txBody>
      </p:sp>
      <p:sp>
        <p:nvSpPr>
          <p:cNvPr id="3" name="Titel 2"/>
          <p:cNvSpPr>
            <a:spLocks noGrp="1"/>
          </p:cNvSpPr>
          <p:nvPr>
            <p:ph type="title"/>
          </p:nvPr>
        </p:nvSpPr>
        <p:spPr bwMode="gray">
          <a:xfrm>
            <a:off x="6094950" y="3060188"/>
            <a:ext cx="4952409" cy="3035403"/>
          </a:xfrm>
        </p:spPr>
        <p:txBody>
          <a:bodyPr/>
          <a:lstStyle>
            <a:lvl1pPr>
              <a:defRPr sz="4233" b="0" i="0">
                <a:solidFill>
                  <a:schemeClr val="bg1"/>
                </a:solidFill>
                <a:latin typeface="adineue TEXT Black" panose="020B0A03020201060004" pitchFamily="34" charset="0"/>
              </a:defRPr>
            </a:lvl1pPr>
          </a:lstStyle>
          <a:p>
            <a:r>
              <a:rPr lang="en-US" noProof="0" dirty="0"/>
              <a:t>Click to edit Master title style</a:t>
            </a:r>
          </a:p>
        </p:txBody>
      </p:sp>
      <p:sp>
        <p:nvSpPr>
          <p:cNvPr id="4" name="Date Placeholder 3"/>
          <p:cNvSpPr>
            <a:spLocks noGrp="1"/>
          </p:cNvSpPr>
          <p:nvPr>
            <p:ph type="dt" sz="half" idx="23"/>
          </p:nvPr>
        </p:nvSpPr>
        <p:spPr/>
        <p:txBody>
          <a:bodyPr/>
          <a:lstStyle>
            <a:lvl1pPr>
              <a:defRPr>
                <a:solidFill>
                  <a:schemeClr val="bg1"/>
                </a:solidFill>
              </a:defRPr>
            </a:lvl1pPr>
          </a:lstStyle>
          <a:p>
            <a:pPr>
              <a:defRPr/>
            </a:pPr>
            <a:fld id="{4A042DAF-628C-4DBE-B5C7-A9FB887B9027}" type="datetime5">
              <a:rPr lang="en-US" smtClean="0"/>
              <a:t>6-Oct-21</a:t>
            </a:fld>
            <a:endParaRPr lang="en-US" dirty="0"/>
          </a:p>
        </p:txBody>
      </p:sp>
      <p:sp>
        <p:nvSpPr>
          <p:cNvPr id="5" name="Footer Placeholder 4"/>
          <p:cNvSpPr>
            <a:spLocks noGrp="1"/>
          </p:cNvSpPr>
          <p:nvPr>
            <p:ph type="ftr" sz="quarter" idx="24"/>
          </p:nvPr>
        </p:nvSpPr>
        <p:spPr/>
        <p:txBody>
          <a:bodyPr/>
          <a:lstStyle>
            <a:lvl1pPr>
              <a:defRPr>
                <a:solidFill>
                  <a:schemeClr val="bg1"/>
                </a:solidFill>
              </a:defRPr>
            </a:lvl1pPr>
          </a:lstStyle>
          <a:p>
            <a:pPr>
              <a:defRPr/>
            </a:pPr>
            <a:r>
              <a:rPr lang="en-US"/>
              <a:t>FOOTER / PRESENTATION NAME</a:t>
            </a:r>
            <a:endParaRPr lang="en-US" dirty="0"/>
          </a:p>
        </p:txBody>
      </p:sp>
      <p:sp>
        <p:nvSpPr>
          <p:cNvPr id="7" name="Slide Number Placeholder 6"/>
          <p:cNvSpPr>
            <a:spLocks noGrp="1"/>
          </p:cNvSpPr>
          <p:nvPr>
            <p:ph type="sldNum" sz="quarter" idx="25"/>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704441294"/>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bg1"/>
                </a:solidFill>
              </a:defRPr>
            </a:lvl1pPr>
          </a:lstStyle>
          <a:p>
            <a:pPr lvl="0"/>
            <a:r>
              <a:rPr lang="en-US" noProof="0" dirty="0"/>
              <a:t>Click icon to add picture</a:t>
            </a:r>
          </a:p>
        </p:txBody>
      </p:sp>
      <p:sp>
        <p:nvSpPr>
          <p:cNvPr id="3" name="Titel 2"/>
          <p:cNvSpPr>
            <a:spLocks noGrp="1"/>
          </p:cNvSpPr>
          <p:nvPr>
            <p:ph type="title"/>
          </p:nvPr>
        </p:nvSpPr>
        <p:spPr bwMode="gray">
          <a:xfrm>
            <a:off x="760294" y="2286701"/>
            <a:ext cx="6097050" cy="3808890"/>
          </a:xfrm>
        </p:spPr>
        <p:txBody>
          <a:bodyPr/>
          <a:lstStyle>
            <a:lvl1pPr>
              <a:defRPr sz="5291" b="0" i="0">
                <a:solidFill>
                  <a:schemeClr val="bg1"/>
                </a:solidFill>
                <a:latin typeface="adineue TEXT Black" panose="020B0A03020201060004" pitchFamily="34" charset="0"/>
              </a:defRPr>
            </a:lvl1pPr>
          </a:lstStyle>
          <a:p>
            <a:r>
              <a:rPr lang="en-US" noProof="0" dirty="0"/>
              <a:t>Click to edit Master title style</a:t>
            </a:r>
          </a:p>
        </p:txBody>
      </p:sp>
      <p:sp>
        <p:nvSpPr>
          <p:cNvPr id="4" name="Date Placeholder 3"/>
          <p:cNvSpPr>
            <a:spLocks noGrp="1"/>
          </p:cNvSpPr>
          <p:nvPr>
            <p:ph type="dt" sz="half" idx="15"/>
          </p:nvPr>
        </p:nvSpPr>
        <p:spPr/>
        <p:txBody>
          <a:bodyPr/>
          <a:lstStyle>
            <a:lvl1pPr>
              <a:defRPr>
                <a:solidFill>
                  <a:schemeClr val="bg1"/>
                </a:solidFill>
              </a:defRPr>
            </a:lvl1pPr>
          </a:lstStyle>
          <a:p>
            <a:pPr>
              <a:defRPr/>
            </a:pPr>
            <a:fld id="{D6F45EDF-5A2D-409E-B276-2C2614F0994C}" type="datetime5">
              <a:rPr lang="en-US" smtClean="0"/>
              <a:t>6-Oct-21</a:t>
            </a:fld>
            <a:endParaRPr lang="en-US" dirty="0"/>
          </a:p>
        </p:txBody>
      </p:sp>
      <p:sp>
        <p:nvSpPr>
          <p:cNvPr id="5" name="Footer Placeholder 4"/>
          <p:cNvSpPr>
            <a:spLocks noGrp="1"/>
          </p:cNvSpPr>
          <p:nvPr>
            <p:ph type="ftr" sz="quarter" idx="16"/>
          </p:nvPr>
        </p:nvSpPr>
        <p:spPr/>
        <p:txBody>
          <a:bodyPr/>
          <a:lstStyle>
            <a:lvl1pPr>
              <a:defRPr>
                <a:solidFill>
                  <a:schemeClr val="bg1"/>
                </a:solidFill>
              </a:defRPr>
            </a:lvl1pPr>
          </a:lstStyle>
          <a:p>
            <a:pPr>
              <a:defRPr/>
            </a:pPr>
            <a:r>
              <a:rPr lang="en-US"/>
              <a:t>FOOTER / PRESENTATION NAME</a:t>
            </a:r>
            <a:endParaRPr lang="en-US" dirty="0"/>
          </a:p>
        </p:txBody>
      </p:sp>
      <p:sp>
        <p:nvSpPr>
          <p:cNvPr id="6" name="Slide Number Placeholder 5"/>
          <p:cNvSpPr>
            <a:spLocks noGrp="1"/>
          </p:cNvSpPr>
          <p:nvPr>
            <p:ph type="sldNum" sz="quarter" idx="17"/>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461546080"/>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 Message (4)">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 y="0"/>
            <a:ext cx="12192000" cy="6858001"/>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dirty="0"/>
              <a:t>Click icon to add picture</a:t>
            </a:r>
          </a:p>
        </p:txBody>
      </p:sp>
      <p:sp>
        <p:nvSpPr>
          <p:cNvPr id="3" name="Titel 2"/>
          <p:cNvSpPr>
            <a:spLocks noGrp="1"/>
          </p:cNvSpPr>
          <p:nvPr>
            <p:ph type="title" hasCustomPrompt="1"/>
          </p:nvPr>
        </p:nvSpPr>
        <p:spPr bwMode="gray">
          <a:xfrm>
            <a:off x="2285082" y="1905232"/>
            <a:ext cx="7619736" cy="1142300"/>
          </a:xfrm>
        </p:spPr>
        <p:txBody>
          <a:bodyPr anchor="b"/>
          <a:lstStyle>
            <a:lvl1pPr algn="ctr">
              <a:lnSpc>
                <a:spcPct val="70000"/>
              </a:lnSpc>
              <a:defRPr sz="4762" b="0" i="0">
                <a:solidFill>
                  <a:schemeClr val="bg1"/>
                </a:solidFill>
                <a:latin typeface="adineue TEXT Black" panose="020B0A03020201060004" pitchFamily="34" charset="0"/>
              </a:defRPr>
            </a:lvl1pPr>
          </a:lstStyle>
          <a:p>
            <a:pPr lvl="0"/>
            <a:r>
              <a:rPr lang="en-US" dirty="0"/>
              <a:t>Click to edit </a:t>
            </a:r>
            <a:br>
              <a:rPr lang="en-US" dirty="0"/>
            </a:br>
            <a:r>
              <a:rPr lang="en-US" dirty="0"/>
              <a:t>Master title style</a:t>
            </a:r>
            <a:endParaRPr lang="de-DE" dirty="0"/>
          </a:p>
        </p:txBody>
      </p:sp>
      <p:sp>
        <p:nvSpPr>
          <p:cNvPr id="8" name="Text Placeholder 3"/>
          <p:cNvSpPr>
            <a:spLocks noGrp="1"/>
          </p:cNvSpPr>
          <p:nvPr>
            <p:ph type="body" sz="quarter" idx="18" hasCustomPrompt="1"/>
          </p:nvPr>
        </p:nvSpPr>
        <p:spPr>
          <a:xfrm>
            <a:off x="3047826" y="3428999"/>
            <a:ext cx="6094948" cy="2286701"/>
          </a:xfrm>
        </p:spPr>
        <p:txBody>
          <a:bodyPr anchor="t"/>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dirty="0"/>
              <a:t>CLICK TO EDIT MASTER TEXT STYLES</a:t>
            </a:r>
          </a:p>
        </p:txBody>
      </p:sp>
      <p:sp>
        <p:nvSpPr>
          <p:cNvPr id="2" name="Date Placeholder 1"/>
          <p:cNvSpPr>
            <a:spLocks noGrp="1"/>
          </p:cNvSpPr>
          <p:nvPr>
            <p:ph type="dt" sz="half" idx="19"/>
          </p:nvPr>
        </p:nvSpPr>
        <p:spPr/>
        <p:txBody>
          <a:bodyPr/>
          <a:lstStyle>
            <a:lvl1pPr>
              <a:defRPr>
                <a:solidFill>
                  <a:schemeClr val="bg1"/>
                </a:solidFill>
              </a:defRPr>
            </a:lvl1pPr>
          </a:lstStyle>
          <a:p>
            <a:pPr>
              <a:defRPr/>
            </a:pPr>
            <a:fld id="{D7204DC1-0FDB-4822-8F9A-166B0A240AD3}" type="datetime5">
              <a:rPr lang="en-US" smtClean="0"/>
              <a:t>6-Oct-21</a:t>
            </a:fld>
            <a:endParaRPr lang="en-US" dirty="0"/>
          </a:p>
        </p:txBody>
      </p:sp>
      <p:sp>
        <p:nvSpPr>
          <p:cNvPr id="4" name="Footer Placeholder 3"/>
          <p:cNvSpPr>
            <a:spLocks noGrp="1"/>
          </p:cNvSpPr>
          <p:nvPr>
            <p:ph type="ftr" sz="quarter" idx="20"/>
          </p:nvPr>
        </p:nvSpPr>
        <p:spPr/>
        <p:txBody>
          <a:bodyPr/>
          <a:lstStyle>
            <a:lvl1pPr>
              <a:defRPr>
                <a:solidFill>
                  <a:schemeClr val="bg1"/>
                </a:solidFill>
              </a:defRPr>
            </a:lvl1pPr>
          </a:lstStyle>
          <a:p>
            <a:pPr>
              <a:defRPr/>
            </a:pPr>
            <a:r>
              <a:rPr lang="en-US"/>
              <a:t>FOOTER / PRESENTATION NAME</a:t>
            </a:r>
            <a:endParaRPr lang="en-US" dirty="0"/>
          </a:p>
        </p:txBody>
      </p:sp>
      <p:sp>
        <p:nvSpPr>
          <p:cNvPr id="5" name="Slide Number Placeholder 4"/>
          <p:cNvSpPr>
            <a:spLocks noGrp="1"/>
          </p:cNvSpPr>
          <p:nvPr>
            <p:ph type="sldNum" sz="quarter" idx="2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634504662"/>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 Message (5)">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a:solidFill>
                  <a:schemeClr val="tx1"/>
                </a:solidFill>
              </a:defRPr>
            </a:lvl1pPr>
          </a:lstStyle>
          <a:p>
            <a:r>
              <a:rPr lang="en-US" dirty="0"/>
              <a:t>Click icon to add picture</a:t>
            </a:r>
          </a:p>
        </p:txBody>
      </p:sp>
      <p:sp>
        <p:nvSpPr>
          <p:cNvPr id="2" name="Titel 1"/>
          <p:cNvSpPr>
            <a:spLocks noGrp="1"/>
          </p:cNvSpPr>
          <p:nvPr>
            <p:ph type="title"/>
          </p:nvPr>
        </p:nvSpPr>
        <p:spPr bwMode="gray">
          <a:xfrm>
            <a:off x="380149" y="382167"/>
            <a:ext cx="5334656" cy="760133"/>
          </a:xfrm>
        </p:spPr>
        <p:txBody>
          <a:bodyPr/>
          <a:lstStyle>
            <a:lvl1pPr>
              <a:defRPr b="0"/>
            </a:lvl1pPr>
          </a:lstStyle>
          <a:p>
            <a:r>
              <a:rPr lang="en-US" dirty="0"/>
              <a:t>Click to edit Master title style</a:t>
            </a:r>
            <a:endParaRPr lang="de-DE" dirty="0"/>
          </a:p>
        </p:txBody>
      </p:sp>
      <p:sp>
        <p:nvSpPr>
          <p:cNvPr id="6" name="Picture Placeholder 5"/>
          <p:cNvSpPr>
            <a:spLocks noGrp="1"/>
          </p:cNvSpPr>
          <p:nvPr>
            <p:ph type="pic" sz="quarter" idx="27"/>
          </p:nvPr>
        </p:nvSpPr>
        <p:spPr>
          <a:xfrm>
            <a:off x="6857343" y="1142299"/>
            <a:ext cx="4190016" cy="4573400"/>
          </a:xfrm>
          <a:solidFill>
            <a:schemeClr val="bg2"/>
          </a:solidFill>
        </p:spPr>
        <p:txBody>
          <a:bodyPr anchor="ctr"/>
          <a:lstStyle>
            <a:lvl1pPr algn="ctr">
              <a:defRPr b="0">
                <a:solidFill>
                  <a:schemeClr val="bg1"/>
                </a:solidFill>
              </a:defRPr>
            </a:lvl1pPr>
          </a:lstStyle>
          <a:p>
            <a:r>
              <a:rPr lang="en-US" dirty="0"/>
              <a:t>Click icon to add picture</a:t>
            </a:r>
          </a:p>
        </p:txBody>
      </p:sp>
      <p:sp>
        <p:nvSpPr>
          <p:cNvPr id="7" name="Date Placeholder 6"/>
          <p:cNvSpPr>
            <a:spLocks noGrp="1"/>
          </p:cNvSpPr>
          <p:nvPr>
            <p:ph type="dt" sz="half" idx="28"/>
          </p:nvPr>
        </p:nvSpPr>
        <p:spPr/>
        <p:txBody>
          <a:bodyPr/>
          <a:lstStyle/>
          <a:p>
            <a:pPr>
              <a:defRPr/>
            </a:pPr>
            <a:fld id="{4C272660-F731-4475-B6FF-2D0088CBBAB5}" type="datetime5">
              <a:rPr lang="en-US" smtClean="0"/>
              <a:t>6-Oct-21</a:t>
            </a:fld>
            <a:endParaRPr lang="en-US" dirty="0"/>
          </a:p>
        </p:txBody>
      </p:sp>
      <p:sp>
        <p:nvSpPr>
          <p:cNvPr id="8" name="Footer Placeholder 7"/>
          <p:cNvSpPr>
            <a:spLocks noGrp="1"/>
          </p:cNvSpPr>
          <p:nvPr>
            <p:ph type="ftr" sz="quarter" idx="29"/>
          </p:nvPr>
        </p:nvSpPr>
        <p:spPr/>
        <p:txBody>
          <a:bodyPr/>
          <a:lstStyle/>
          <a:p>
            <a:pPr>
              <a:defRPr/>
            </a:pPr>
            <a:r>
              <a:rPr lang="en-US"/>
              <a:t>FOOTER / PRESENTATION NAME</a:t>
            </a:r>
            <a:endParaRPr lang="en-US" dirty="0"/>
          </a:p>
        </p:txBody>
      </p:sp>
      <p:sp>
        <p:nvSpPr>
          <p:cNvPr id="10" name="Slide Number Placeholder 9"/>
          <p:cNvSpPr>
            <a:spLocks noGrp="1"/>
          </p:cNvSpPr>
          <p:nvPr>
            <p:ph type="sldNum" sz="quarter" idx="30"/>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4017406975"/>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1" y="0"/>
            <a:ext cx="6096000" cy="6857474"/>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2" name="Titel 1"/>
          <p:cNvSpPr>
            <a:spLocks noGrp="1"/>
          </p:cNvSpPr>
          <p:nvPr>
            <p:ph type="title"/>
          </p:nvPr>
        </p:nvSpPr>
        <p:spPr bwMode="gray">
          <a:xfrm>
            <a:off x="380149" y="3809941"/>
            <a:ext cx="5334656" cy="1523066"/>
          </a:xfrm>
        </p:spPr>
        <p:txBody>
          <a:bodyPr/>
          <a:lstStyle>
            <a:lvl1pPr>
              <a:defRPr sz="4233" b="0" i="0">
                <a:solidFill>
                  <a:schemeClr val="bg1"/>
                </a:solidFill>
                <a:latin typeface="adineue TEXT Black" panose="020B0A03020201060004" pitchFamily="34" charset="0"/>
              </a:defRPr>
            </a:lvl1pPr>
          </a:lstStyle>
          <a:p>
            <a:r>
              <a:rPr lang="en-US" noProof="0" dirty="0"/>
              <a:t>Click to edit Master title style</a:t>
            </a:r>
          </a:p>
        </p:txBody>
      </p:sp>
      <p:sp>
        <p:nvSpPr>
          <p:cNvPr id="9" name="Picture Placeholder 5"/>
          <p:cNvSpPr>
            <a:spLocks noGrp="1"/>
          </p:cNvSpPr>
          <p:nvPr>
            <p:ph type="pic" sz="quarter" idx="28"/>
          </p:nvPr>
        </p:nvSpPr>
        <p:spPr>
          <a:xfrm>
            <a:off x="6096000" y="525"/>
            <a:ext cx="6096351" cy="6857476"/>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6" name="Picture Placeholder 5"/>
          <p:cNvSpPr>
            <a:spLocks noGrp="1"/>
          </p:cNvSpPr>
          <p:nvPr>
            <p:ph type="pic" sz="quarter" idx="27"/>
          </p:nvPr>
        </p:nvSpPr>
        <p:spPr>
          <a:xfrm>
            <a:off x="6857345" y="1143349"/>
            <a:ext cx="3429721" cy="3810118"/>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7" name="Date Placeholder 6"/>
          <p:cNvSpPr>
            <a:spLocks noGrp="1"/>
          </p:cNvSpPr>
          <p:nvPr>
            <p:ph type="dt" sz="half" idx="29"/>
          </p:nvPr>
        </p:nvSpPr>
        <p:spPr/>
        <p:txBody>
          <a:bodyPr/>
          <a:lstStyle>
            <a:lvl1pPr>
              <a:defRPr>
                <a:solidFill>
                  <a:schemeClr val="bg1"/>
                </a:solidFill>
              </a:defRPr>
            </a:lvl1pPr>
          </a:lstStyle>
          <a:p>
            <a:pPr>
              <a:defRPr/>
            </a:pPr>
            <a:fld id="{5E1E49DB-5020-43AB-9638-DEF8B860E0B9}" type="datetime5">
              <a:rPr lang="en-US" smtClean="0"/>
              <a:t>6-Oct-21</a:t>
            </a:fld>
            <a:endParaRPr lang="en-US" dirty="0"/>
          </a:p>
        </p:txBody>
      </p:sp>
      <p:sp>
        <p:nvSpPr>
          <p:cNvPr id="8" name="Footer Placeholder 7"/>
          <p:cNvSpPr>
            <a:spLocks noGrp="1"/>
          </p:cNvSpPr>
          <p:nvPr>
            <p:ph type="ftr" sz="quarter" idx="30"/>
          </p:nvPr>
        </p:nvSpPr>
        <p:spPr/>
        <p:txBody>
          <a:bodyPr/>
          <a:lstStyle>
            <a:lvl1pPr>
              <a:defRPr>
                <a:solidFill>
                  <a:schemeClr val="bg1"/>
                </a:solidFill>
              </a:defRPr>
            </a:lvl1pPr>
          </a:lstStyle>
          <a:p>
            <a:pPr>
              <a:defRPr/>
            </a:pPr>
            <a:r>
              <a:rPr lang="en-US"/>
              <a:t>FOOTER / PRESENTATION NAME</a:t>
            </a:r>
            <a:endParaRPr lang="en-US" dirty="0"/>
          </a:p>
        </p:txBody>
      </p:sp>
      <p:sp>
        <p:nvSpPr>
          <p:cNvPr id="11" name="Slide Number Placeholder 10"/>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70456304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8DD9703-F16C-4A2A-9FAF-5DA7D23DD060}" type="datetime5">
              <a:rPr lang="en-US" smtClean="0"/>
              <a:t>6-Oct-21</a:t>
            </a:fld>
            <a:endParaRPr lang="en-US"/>
          </a:p>
        </p:txBody>
      </p:sp>
      <p:sp>
        <p:nvSpPr>
          <p:cNvPr id="8" name="Footer Placeholder 7"/>
          <p:cNvSpPr>
            <a:spLocks noGrp="1"/>
          </p:cNvSpPr>
          <p:nvPr>
            <p:ph type="ftr" sz="quarter" idx="11"/>
          </p:nvPr>
        </p:nvSpPr>
        <p:spPr/>
        <p:txBody>
          <a:bodyPr/>
          <a:lstStyle/>
          <a:p>
            <a:r>
              <a:rPr lang="en-US"/>
              <a:t>FOOTER / PRESENTATION NAME</a:t>
            </a:r>
          </a:p>
        </p:txBody>
      </p:sp>
      <p:sp>
        <p:nvSpPr>
          <p:cNvPr id="9" name="Slide Number Placeholder 8"/>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42249410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s split">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i="0">
                <a:solidFill>
                  <a:schemeClr val="tx1"/>
                </a:solidFill>
              </a:defRPr>
            </a:lvl1pPr>
          </a:lstStyle>
          <a:p>
            <a:r>
              <a:rPr lang="en-US" noProof="0" dirty="0"/>
              <a:t>Click icon to add picture</a:t>
            </a:r>
          </a:p>
        </p:txBody>
      </p:sp>
      <p:sp>
        <p:nvSpPr>
          <p:cNvPr id="2" name="Titel 1"/>
          <p:cNvSpPr>
            <a:spLocks noGrp="1"/>
          </p:cNvSpPr>
          <p:nvPr>
            <p:ph type="title"/>
          </p:nvPr>
        </p:nvSpPr>
        <p:spPr bwMode="gray">
          <a:xfrm>
            <a:off x="760294" y="382167"/>
            <a:ext cx="10669312" cy="760133"/>
          </a:xfrm>
        </p:spPr>
        <p:txBody>
          <a:bodyPr/>
          <a:lstStyle>
            <a:lvl1pPr algn="ctr">
              <a:defRPr b="0" i="0">
                <a:solidFill>
                  <a:schemeClr val="bg1"/>
                </a:solidFill>
                <a:latin typeface="adineue TEXT Black" panose="020B0A03020201060004" pitchFamily="34" charset="0"/>
              </a:defRPr>
            </a:lvl1pPr>
          </a:lstStyle>
          <a:p>
            <a:r>
              <a:rPr lang="en-US" noProof="0" dirty="0"/>
              <a:t>Click to edit Master title style</a:t>
            </a:r>
          </a:p>
        </p:txBody>
      </p:sp>
      <p:sp>
        <p:nvSpPr>
          <p:cNvPr id="6" name="Picture Placeholder 5"/>
          <p:cNvSpPr>
            <a:spLocks noGrp="1"/>
          </p:cNvSpPr>
          <p:nvPr>
            <p:ph type="pic" sz="quarter" idx="27"/>
          </p:nvPr>
        </p:nvSpPr>
        <p:spPr>
          <a:xfrm>
            <a:off x="760293" y="1524040"/>
            <a:ext cx="5335707" cy="4191661"/>
          </a:xfrm>
          <a:solidFill>
            <a:schemeClr val="bg2"/>
          </a:solidFill>
        </p:spPr>
        <p:txBody>
          <a:bodyPr anchor="ctr"/>
          <a:lstStyle>
            <a:lvl1pPr algn="ctr">
              <a:defRPr b="0" i="0">
                <a:solidFill>
                  <a:schemeClr val="bg1"/>
                </a:solidFill>
              </a:defRPr>
            </a:lvl1pPr>
          </a:lstStyle>
          <a:p>
            <a:r>
              <a:rPr lang="en-US" noProof="0" dirty="0"/>
              <a:t>Click icon to add picture</a:t>
            </a:r>
          </a:p>
        </p:txBody>
      </p:sp>
      <p:sp>
        <p:nvSpPr>
          <p:cNvPr id="9" name="Picture Placeholder 5"/>
          <p:cNvSpPr>
            <a:spLocks noGrp="1"/>
          </p:cNvSpPr>
          <p:nvPr>
            <p:ph type="pic" sz="quarter" idx="28"/>
          </p:nvPr>
        </p:nvSpPr>
        <p:spPr>
          <a:xfrm>
            <a:off x="6095999" y="1524040"/>
            <a:ext cx="5335012" cy="4191661"/>
          </a:xfrm>
          <a:solidFill>
            <a:schemeClr val="bg2">
              <a:lumMod val="40000"/>
              <a:lumOff val="60000"/>
            </a:schemeClr>
          </a:solidFill>
        </p:spPr>
        <p:txBody>
          <a:bodyPr anchor="ctr"/>
          <a:lstStyle>
            <a:lvl1pPr algn="ctr">
              <a:defRPr b="0" i="0"/>
            </a:lvl1pPr>
          </a:lstStyle>
          <a:p>
            <a:r>
              <a:rPr lang="en-US" noProof="0" dirty="0"/>
              <a:t>Click icon to add picture</a:t>
            </a:r>
          </a:p>
        </p:txBody>
      </p:sp>
      <p:sp>
        <p:nvSpPr>
          <p:cNvPr id="7" name="Date Placeholder 6"/>
          <p:cNvSpPr>
            <a:spLocks noGrp="1"/>
          </p:cNvSpPr>
          <p:nvPr>
            <p:ph type="dt" sz="half" idx="29"/>
          </p:nvPr>
        </p:nvSpPr>
        <p:spPr/>
        <p:txBody>
          <a:bodyPr/>
          <a:lstStyle/>
          <a:p>
            <a:pPr>
              <a:defRPr/>
            </a:pPr>
            <a:fld id="{37F0E3B2-92D0-484F-A1BA-96DD7E691AD2}" type="datetime5">
              <a:rPr lang="en-US" smtClean="0"/>
              <a:t>6-Oct-21</a:t>
            </a:fld>
            <a:endParaRPr lang="en-US" dirty="0"/>
          </a:p>
        </p:txBody>
      </p:sp>
      <p:sp>
        <p:nvSpPr>
          <p:cNvPr id="8" name="Footer Placeholder 7"/>
          <p:cNvSpPr>
            <a:spLocks noGrp="1"/>
          </p:cNvSpPr>
          <p:nvPr>
            <p:ph type="ftr" sz="quarter" idx="30"/>
          </p:nvPr>
        </p:nvSpPr>
        <p:spPr/>
        <p:txBody>
          <a:bodyPr/>
          <a:lstStyle/>
          <a:p>
            <a:pPr>
              <a:defRPr/>
            </a:pPr>
            <a:r>
              <a:rPr lang="en-US"/>
              <a:t>FOOTER / PRESENTATION NAME</a:t>
            </a:r>
            <a:endParaRPr lang="en-US" dirty="0"/>
          </a:p>
        </p:txBody>
      </p:sp>
      <p:sp>
        <p:nvSpPr>
          <p:cNvPr id="11" name="Slide Number Placeholder 10"/>
          <p:cNvSpPr>
            <a:spLocks noGrp="1"/>
          </p:cNvSpPr>
          <p:nvPr>
            <p:ph type="sldNum" sz="quarter" idx="31"/>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129234105"/>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X-GUIDES">
    <p:spTree>
      <p:nvGrpSpPr>
        <p:cNvPr id="1" name=""/>
        <p:cNvGrpSpPr/>
        <p:nvPr/>
      </p:nvGrpSpPr>
      <p:grpSpPr>
        <a:xfrm>
          <a:off x="0" y="0"/>
          <a:ext cx="0" cy="0"/>
          <a:chOff x="0" y="0"/>
          <a:chExt cx="0" cy="0"/>
        </a:xfrm>
      </p:grpSpPr>
      <p:grpSp>
        <p:nvGrpSpPr>
          <p:cNvPr id="2" name="Group 2"/>
          <p:cNvGrpSpPr>
            <a:grpSpLocks/>
          </p:cNvGrpSpPr>
          <p:nvPr userDrawn="1"/>
        </p:nvGrpSpPr>
        <p:grpSpPr bwMode="auto">
          <a:xfrm>
            <a:off x="95252" y="1212476"/>
            <a:ext cx="11999382" cy="4441512"/>
            <a:chOff x="9468829" y="902018"/>
            <a:chExt cx="1008112" cy="3306445"/>
          </a:xfrm>
        </p:grpSpPr>
        <p:cxnSp>
          <p:nvCxnSpPr>
            <p:cNvPr id="3" name="Straight Connector 42"/>
            <p:cNvCxnSpPr/>
            <p:nvPr/>
          </p:nvCxnSpPr>
          <p:spPr bwMode="gray">
            <a:xfrm>
              <a:off x="9468829" y="338145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4" name="Straight Connector 43"/>
            <p:cNvCxnSpPr/>
            <p:nvPr/>
          </p:nvCxnSpPr>
          <p:spPr bwMode="gray">
            <a:xfrm>
              <a:off x="9468829" y="255287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5" name="Straight Connector 44"/>
            <p:cNvCxnSpPr/>
            <p:nvPr/>
          </p:nvCxnSpPr>
          <p:spPr bwMode="gray">
            <a:xfrm>
              <a:off x="9468829" y="4208463"/>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6" name="Straight Connector 56"/>
            <p:cNvCxnSpPr/>
            <p:nvPr/>
          </p:nvCxnSpPr>
          <p:spPr bwMode="gray">
            <a:xfrm>
              <a:off x="9468829" y="1724297"/>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7" name="Straight Connector 57"/>
            <p:cNvCxnSpPr/>
            <p:nvPr/>
          </p:nvCxnSpPr>
          <p:spPr bwMode="gray">
            <a:xfrm>
              <a:off x="9468829" y="902018"/>
              <a:ext cx="1008112" cy="0"/>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grpSp>
      <p:grpSp>
        <p:nvGrpSpPr>
          <p:cNvPr id="8" name="Group 1"/>
          <p:cNvGrpSpPr>
            <a:grpSpLocks/>
          </p:cNvGrpSpPr>
          <p:nvPr userDrawn="1"/>
        </p:nvGrpSpPr>
        <p:grpSpPr bwMode="auto">
          <a:xfrm>
            <a:off x="0" y="1"/>
            <a:ext cx="12192000" cy="6858000"/>
            <a:chOff x="0" y="0"/>
            <a:chExt cx="9072564" cy="5105402"/>
          </a:xfrm>
        </p:grpSpPr>
        <p:cxnSp>
          <p:nvCxnSpPr>
            <p:cNvPr id="9" name="Straight Connector 64"/>
            <p:cNvCxnSpPr/>
            <p:nvPr userDrawn="1"/>
          </p:nvCxnSpPr>
          <p:spPr bwMode="gray">
            <a:xfrm>
              <a:off x="1512360"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0" name="Straight Connector 65"/>
            <p:cNvCxnSpPr/>
            <p:nvPr userDrawn="1"/>
          </p:nvCxnSpPr>
          <p:spPr bwMode="gray">
            <a:xfrm>
              <a:off x="302472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1" name="Straight Connector 66"/>
            <p:cNvCxnSpPr/>
            <p:nvPr userDrawn="1"/>
          </p:nvCxnSpPr>
          <p:spPr bwMode="gray">
            <a:xfrm>
              <a:off x="604784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2" name="Straight Connector 67"/>
            <p:cNvCxnSpPr/>
            <p:nvPr userDrawn="1"/>
          </p:nvCxnSpPr>
          <p:spPr bwMode="gray">
            <a:xfrm>
              <a:off x="7560204"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3" name="Straight Connector 71"/>
            <p:cNvCxnSpPr/>
            <p:nvPr userDrawn="1"/>
          </p:nvCxnSpPr>
          <p:spPr bwMode="gray">
            <a:xfrm>
              <a:off x="4537082" y="0"/>
              <a:ext cx="0" cy="5105402"/>
            </a:xfrm>
            <a:prstGeom prst="line">
              <a:avLst/>
            </a:prstGeom>
            <a:ln w="12700" cap="rnd" cmpd="sng">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cxnSp>
        <p:cxnSp>
          <p:nvCxnSpPr>
            <p:cNvPr id="14" name="Straight Connector 45"/>
            <p:cNvCxnSpPr/>
            <p:nvPr userDrawn="1"/>
          </p:nvCxnSpPr>
          <p:spPr bwMode="gray">
            <a:xfrm flipH="1">
              <a:off x="0"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5" name="Straight Connector 46"/>
            <p:cNvCxnSpPr/>
            <p:nvPr userDrawn="1"/>
          </p:nvCxnSpPr>
          <p:spPr bwMode="gray">
            <a:xfrm flipH="1">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6" name="Straight Connector 47"/>
            <p:cNvCxnSpPr/>
            <p:nvPr userDrawn="1"/>
          </p:nvCxnSpPr>
          <p:spPr bwMode="gray">
            <a:xfrm flipH="1">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7" name="Straight Connector 48"/>
            <p:cNvCxnSpPr/>
            <p:nvPr userDrawn="1"/>
          </p:nvCxnSpPr>
          <p:spPr bwMode="gray">
            <a:xfrm>
              <a:off x="0" y="0"/>
              <a:ext cx="45370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18" name="Straight Connector 49"/>
            <p:cNvCxnSpPr/>
            <p:nvPr userDrawn="1"/>
          </p:nvCxnSpPr>
          <p:spPr bwMode="gray">
            <a:xfrm>
              <a:off x="0" y="0"/>
              <a:ext cx="9072564" cy="510540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19" name="Straight Connector 50"/>
            <p:cNvCxnSpPr/>
            <p:nvPr userDrawn="1"/>
          </p:nvCxnSpPr>
          <p:spPr bwMode="gray">
            <a:xfrm>
              <a:off x="4537082" y="0"/>
              <a:ext cx="4535482" cy="5105402"/>
            </a:xfrm>
            <a:prstGeom prst="line">
              <a:avLst/>
            </a:prstGeom>
            <a:ln w="12700" cap="rnd" cmpd="sng">
              <a:solidFill>
                <a:schemeClr val="bg1">
                  <a:lumMod val="50000"/>
                </a:schemeClr>
              </a:solidFill>
              <a:prstDash val="sysDot"/>
            </a:ln>
          </p:spPr>
          <p:style>
            <a:lnRef idx="1">
              <a:schemeClr val="dk1"/>
            </a:lnRef>
            <a:fillRef idx="0">
              <a:schemeClr val="dk1"/>
            </a:fillRef>
            <a:effectRef idx="0">
              <a:schemeClr val="dk1"/>
            </a:effectRef>
            <a:fontRef idx="minor">
              <a:schemeClr val="tx1"/>
            </a:fontRef>
          </p:style>
        </p:cxnSp>
        <p:cxnSp>
          <p:nvCxnSpPr>
            <p:cNvPr id="20" name="Straight Connector 52"/>
            <p:cNvCxnSpPr/>
            <p:nvPr userDrawn="1"/>
          </p:nvCxnSpPr>
          <p:spPr bwMode="gray">
            <a:xfrm flipV="1">
              <a:off x="0"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1" name="Straight Connector 53"/>
            <p:cNvCxnSpPr/>
            <p:nvPr userDrawn="1"/>
          </p:nvCxnSpPr>
          <p:spPr bwMode="gray">
            <a:xfrm>
              <a:off x="0" y="2553510"/>
              <a:ext cx="4537082" cy="2551892"/>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2" name="Straight Connector 54"/>
            <p:cNvCxnSpPr/>
            <p:nvPr userDrawn="1"/>
          </p:nvCxnSpPr>
          <p:spPr bwMode="gray">
            <a:xfrm flipH="1">
              <a:off x="4537082" y="2547038"/>
              <a:ext cx="4535482" cy="2558364"/>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cxnSp>
          <p:nvCxnSpPr>
            <p:cNvPr id="23" name="Straight Connector 61"/>
            <p:cNvCxnSpPr/>
            <p:nvPr userDrawn="1"/>
          </p:nvCxnSpPr>
          <p:spPr bwMode="gray">
            <a:xfrm flipH="1" flipV="1">
              <a:off x="4537082" y="0"/>
              <a:ext cx="4535482" cy="2547038"/>
            </a:xfrm>
            <a:prstGeom prst="line">
              <a:avLst/>
            </a:prstGeom>
            <a:ln w="12700" cap="rnd" cmpd="sng">
              <a:solidFill>
                <a:schemeClr val="accent1"/>
              </a:solidFill>
              <a:prstDash val="sysDot"/>
            </a:ln>
          </p:spPr>
          <p:style>
            <a:lnRef idx="1">
              <a:schemeClr val="dk1"/>
            </a:lnRef>
            <a:fillRef idx="0">
              <a:schemeClr val="dk1"/>
            </a:fillRef>
            <a:effectRef idx="0">
              <a:schemeClr val="dk1"/>
            </a:effectRef>
            <a:fontRef idx="minor">
              <a:schemeClr val="tx1"/>
            </a:fontRef>
          </p:style>
        </p:cxnSp>
      </p:grpSp>
      <p:sp>
        <p:nvSpPr>
          <p:cNvPr id="24" name="Oval 72"/>
          <p:cNvSpPr/>
          <p:nvPr userDrawn="1"/>
        </p:nvSpPr>
        <p:spPr bwMode="gray">
          <a:xfrm>
            <a:off x="5990167" y="3322142"/>
            <a:ext cx="211666"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5" name="Oval 73"/>
          <p:cNvSpPr/>
          <p:nvPr userDrawn="1"/>
        </p:nvSpPr>
        <p:spPr bwMode="gray">
          <a:xfrm>
            <a:off x="8987368" y="3322142"/>
            <a:ext cx="213784" cy="213718"/>
          </a:xfrm>
          <a:prstGeom prst="ellipse">
            <a:avLst/>
          </a:prstGeom>
          <a:noFill/>
          <a:ln>
            <a:solidFill>
              <a:schemeClr val="accent2"/>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6" name="Oval 78"/>
          <p:cNvSpPr/>
          <p:nvPr userDrawn="1"/>
        </p:nvSpPr>
        <p:spPr bwMode="gray">
          <a:xfrm>
            <a:off x="9988551" y="4435165"/>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7" name="Oval 38"/>
          <p:cNvSpPr/>
          <p:nvPr userDrawn="1"/>
        </p:nvSpPr>
        <p:spPr bwMode="gray">
          <a:xfrm>
            <a:off x="8987368" y="4987445"/>
            <a:ext cx="213784" cy="213717"/>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8" name="Oval 63"/>
          <p:cNvSpPr/>
          <p:nvPr userDrawn="1"/>
        </p:nvSpPr>
        <p:spPr bwMode="gray">
          <a:xfrm>
            <a:off x="7975600" y="4435165"/>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29" name="Oval 80"/>
          <p:cNvSpPr/>
          <p:nvPr userDrawn="1"/>
        </p:nvSpPr>
        <p:spPr bwMode="gray">
          <a:xfrm>
            <a:off x="9988551" y="2209119"/>
            <a:ext cx="211666"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30" name="Oval 82"/>
          <p:cNvSpPr/>
          <p:nvPr userDrawn="1"/>
        </p:nvSpPr>
        <p:spPr bwMode="gray">
          <a:xfrm>
            <a:off x="8987368" y="1650491"/>
            <a:ext cx="213784"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
        <p:nvSpPr>
          <p:cNvPr id="31" name="Oval 83"/>
          <p:cNvSpPr/>
          <p:nvPr userDrawn="1"/>
        </p:nvSpPr>
        <p:spPr bwMode="gray">
          <a:xfrm>
            <a:off x="7981951" y="2209119"/>
            <a:ext cx="213783" cy="213718"/>
          </a:xfrm>
          <a:prstGeom prst="ellipse">
            <a:avLst/>
          </a:prstGeom>
          <a:noFill/>
          <a:ln>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lIns="95971" tIns="95971" rIns="95971" bIns="95971" anchor="ctr"/>
          <a:lstStyle/>
          <a:p>
            <a:pPr algn="ctr" defTabSz="1218764" fontAlgn="auto">
              <a:spcBef>
                <a:spcPts val="0"/>
              </a:spcBef>
              <a:spcAft>
                <a:spcPts val="0"/>
              </a:spcAft>
              <a:defRPr/>
            </a:pPr>
            <a:endParaRPr lang="en-US" sz="1881" b="0" i="0" cap="all" dirty="0">
              <a:latin typeface="adineue PRO TT Black" panose="020B0A03020201060004" pitchFamily="34" charset="0"/>
              <a:cs typeface="AdihausDIN" panose="020B0504020101020102" pitchFamily="34" charset="0"/>
            </a:endParaRPr>
          </a:p>
        </p:txBody>
      </p:sp>
    </p:spTree>
    <p:extLst>
      <p:ext uri="{BB962C8B-B14F-4D97-AF65-F5344CB8AC3E}">
        <p14:creationId xmlns:p14="http://schemas.microsoft.com/office/powerpoint/2010/main" val="4145061217"/>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8EB7E47-58F9-4E01-8782-1ED32E0F0080}"/>
              </a:ext>
            </a:extLst>
          </p:cNvPr>
          <p:cNvSpPr/>
          <p:nvPr userDrawn="1"/>
        </p:nvSpPr>
        <p:spPr bwMode="gray">
          <a:xfrm>
            <a:off x="0" y="1"/>
            <a:ext cx="2032000" cy="6858000"/>
          </a:xfrm>
          <a:prstGeom prst="rect">
            <a:avLst/>
          </a:prstGeom>
          <a:solidFill>
            <a:schemeClr val="accent1"/>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7" name="Rectangle 6">
            <a:extLst>
              <a:ext uri="{FF2B5EF4-FFF2-40B4-BE49-F238E27FC236}">
                <a16:creationId xmlns:a16="http://schemas.microsoft.com/office/drawing/2014/main" id="{97061792-4EBB-449C-B551-E8C0281CA55D}"/>
              </a:ext>
            </a:extLst>
          </p:cNvPr>
          <p:cNvSpPr/>
          <p:nvPr userDrawn="1"/>
        </p:nvSpPr>
        <p:spPr bwMode="gray">
          <a:xfrm>
            <a:off x="2031999" y="1"/>
            <a:ext cx="2032000" cy="6858000"/>
          </a:xfrm>
          <a:prstGeom prst="rect">
            <a:avLst/>
          </a:prstGeom>
          <a:solidFill>
            <a:schemeClr val="accent2"/>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8" name="Rectangle 7">
            <a:extLst>
              <a:ext uri="{FF2B5EF4-FFF2-40B4-BE49-F238E27FC236}">
                <a16:creationId xmlns:a16="http://schemas.microsoft.com/office/drawing/2014/main" id="{32D66342-C4E5-4E6A-B602-C83DAAC0C118}"/>
              </a:ext>
            </a:extLst>
          </p:cNvPr>
          <p:cNvSpPr/>
          <p:nvPr userDrawn="1"/>
        </p:nvSpPr>
        <p:spPr bwMode="gray">
          <a:xfrm>
            <a:off x="4064000" y="1"/>
            <a:ext cx="2032000" cy="6858000"/>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9" name="Rectangle 8">
            <a:extLst>
              <a:ext uri="{FF2B5EF4-FFF2-40B4-BE49-F238E27FC236}">
                <a16:creationId xmlns:a16="http://schemas.microsoft.com/office/drawing/2014/main" id="{16F15D0B-0313-4703-8E3E-0A01F24ADF77}"/>
              </a:ext>
            </a:extLst>
          </p:cNvPr>
          <p:cNvSpPr/>
          <p:nvPr userDrawn="1"/>
        </p:nvSpPr>
        <p:spPr bwMode="gray">
          <a:xfrm>
            <a:off x="6096000" y="1"/>
            <a:ext cx="2032000" cy="6858000"/>
          </a:xfrm>
          <a:prstGeom prst="rect">
            <a:avLst/>
          </a:prstGeom>
          <a:solidFill>
            <a:schemeClr val="accent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10" name="Rectangle 9">
            <a:extLst>
              <a:ext uri="{FF2B5EF4-FFF2-40B4-BE49-F238E27FC236}">
                <a16:creationId xmlns:a16="http://schemas.microsoft.com/office/drawing/2014/main" id="{6EEA44E1-E041-4262-8E28-C4320552C8BF}"/>
              </a:ext>
            </a:extLst>
          </p:cNvPr>
          <p:cNvSpPr/>
          <p:nvPr userDrawn="1"/>
        </p:nvSpPr>
        <p:spPr bwMode="gray">
          <a:xfrm>
            <a:off x="8127999" y="1"/>
            <a:ext cx="2032000" cy="6858000"/>
          </a:xfrm>
          <a:prstGeom prst="rect">
            <a:avLst/>
          </a:prstGeom>
          <a:solidFill>
            <a:schemeClr val="accent5"/>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
        <p:nvSpPr>
          <p:cNvPr id="11" name="Rectangle 10">
            <a:extLst>
              <a:ext uri="{FF2B5EF4-FFF2-40B4-BE49-F238E27FC236}">
                <a16:creationId xmlns:a16="http://schemas.microsoft.com/office/drawing/2014/main" id="{5F255E2C-855C-4365-895D-7CC01F8F7921}"/>
              </a:ext>
            </a:extLst>
          </p:cNvPr>
          <p:cNvSpPr/>
          <p:nvPr userDrawn="1"/>
        </p:nvSpPr>
        <p:spPr bwMode="gray">
          <a:xfrm>
            <a:off x="10160000" y="1"/>
            <a:ext cx="2032000" cy="6858000"/>
          </a:xfrm>
          <a:prstGeom prst="rect">
            <a:avLst/>
          </a:prstGeom>
          <a:solidFill>
            <a:schemeClr val="accent6"/>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algn="ctr">
              <a:lnSpc>
                <a:spcPct val="90000"/>
              </a:lnSpc>
              <a:spcAft>
                <a:spcPts val="794"/>
              </a:spcAft>
            </a:pPr>
            <a:endParaRPr lang="en-US" sz="1587" b="1" dirty="0">
              <a:solidFill>
                <a:schemeClr val="bg1"/>
              </a:solidFill>
              <a:cs typeface="AdihausDIN Cn" panose="020B0506020101010102" pitchFamily="34" charset="0"/>
            </a:endParaRPr>
          </a:p>
        </p:txBody>
      </p:sp>
    </p:spTree>
    <p:extLst>
      <p:ext uri="{BB962C8B-B14F-4D97-AF65-F5344CB8AC3E}">
        <p14:creationId xmlns:p14="http://schemas.microsoft.com/office/powerpoint/2010/main" val="941327645"/>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828B2A-4D8F-4AAE-A4EF-E5DA61129E6B}"/>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18828B2A-4D8F-4AAE-A4EF-E5DA61129E6B}"/>
                          </a:ext>
                        </a:extLst>
                      </p:cNvPr>
                      <p:cNvPicPr/>
                      <p:nvPr/>
                    </p:nvPicPr>
                    <p:blipFill>
                      <a:blip r:embed="rId5"/>
                      <a:stretch>
                        <a:fillRect/>
                      </a:stretch>
                    </p:blipFill>
                    <p:spPr>
                      <a:xfrm>
                        <a:off x="2101" y="2101"/>
                        <a:ext cx="2100" cy="2099"/>
                      </a:xfrm>
                      <a:prstGeom prst="rect">
                        <a:avLst/>
                      </a:prstGeom>
                    </p:spPr>
                  </p:pic>
                </p:oleObj>
              </mc:Fallback>
            </mc:AlternateContent>
          </a:graphicData>
        </a:graphic>
      </p:graphicFrame>
      <p:sp>
        <p:nvSpPr>
          <p:cNvPr id="9" name="Subtitle 2"/>
          <p:cNvSpPr>
            <a:spLocks noGrp="1"/>
          </p:cNvSpPr>
          <p:nvPr>
            <p:ph type="subTitle" idx="1"/>
          </p:nvPr>
        </p:nvSpPr>
        <p:spPr bwMode="gray">
          <a:xfrm>
            <a:off x="1142541" y="4731037"/>
            <a:ext cx="8384230" cy="60332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a:t>Click to edit Master subtitle style</a:t>
            </a:r>
            <a:endParaRPr lang="en-US" noProof="0" dirty="0"/>
          </a:p>
        </p:txBody>
      </p:sp>
      <p:sp>
        <p:nvSpPr>
          <p:cNvPr id="2" name="Title 1"/>
          <p:cNvSpPr>
            <a:spLocks noGrp="1"/>
          </p:cNvSpPr>
          <p:nvPr>
            <p:ph type="title" hasCustomPrompt="1"/>
          </p:nvPr>
        </p:nvSpPr>
        <p:spPr>
          <a:xfrm>
            <a:off x="1142541" y="2286174"/>
            <a:ext cx="8384230" cy="2444863"/>
          </a:xfrm>
        </p:spPr>
        <p:txBody>
          <a:bodyPr tIns="0" anchor="b"/>
          <a:lstStyle>
            <a:lvl1pPr>
              <a:lnSpc>
                <a:spcPct val="70000"/>
              </a:lnSpc>
              <a:defRPr sz="6349" b="0" i="0">
                <a:solidFill>
                  <a:schemeClr val="tx1"/>
                </a:solidFill>
                <a:latin typeface="adineue PRO Black" pitchFamily="34" charset="0"/>
              </a:defRPr>
            </a:lvl1pPr>
          </a:lstStyle>
          <a:p>
            <a:r>
              <a:rPr lang="en-US" noProof="0" dirty="0"/>
              <a:t>Global Template</a:t>
            </a:r>
          </a:p>
        </p:txBody>
      </p:sp>
      <p:sp>
        <p:nvSpPr>
          <p:cNvPr id="13" name="Text Placeholder 12">
            <a:extLst>
              <a:ext uri="{FF2B5EF4-FFF2-40B4-BE49-F238E27FC236}">
                <a16:creationId xmlns:a16="http://schemas.microsoft.com/office/drawing/2014/main" id="{E4CEB5D7-12CC-4940-B511-8E9099FE97C0}"/>
              </a:ext>
            </a:extLst>
          </p:cNvPr>
          <p:cNvSpPr>
            <a:spLocks noGrp="1"/>
          </p:cNvSpPr>
          <p:nvPr>
            <p:ph type="body" sz="quarter" idx="10" hasCustomPrompt="1"/>
          </p:nvPr>
        </p:nvSpPr>
        <p:spPr>
          <a:xfrm>
            <a:off x="1142542" y="5845889"/>
            <a:ext cx="8384228" cy="466159"/>
          </a:xfrm>
        </p:spPr>
        <p:txBody>
          <a:bodyPr anchor="ctr"/>
          <a:lstStyle>
            <a:lvl1pPr>
              <a:defRPr sz="1389"/>
            </a:lvl1pPr>
            <a:lvl2pPr marL="0" indent="0">
              <a:buNone/>
              <a:defRPr/>
            </a:lvl2pPr>
          </a:lstStyle>
          <a:p>
            <a:pPr lvl="0"/>
            <a:r>
              <a:rPr lang="en-US" dirty="0"/>
              <a:t>Click to </a:t>
            </a:r>
            <a:r>
              <a:rPr lang="en-US"/>
              <a:t>insert date</a:t>
            </a:r>
            <a:endParaRPr lang="en-US" dirty="0"/>
          </a:p>
        </p:txBody>
      </p:sp>
      <p:sp>
        <p:nvSpPr>
          <p:cNvPr id="6" name="Freeform 6">
            <a:extLst>
              <a:ext uri="{FF2B5EF4-FFF2-40B4-BE49-F238E27FC236}">
                <a16:creationId xmlns:a16="http://schemas.microsoft.com/office/drawing/2014/main" id="{5CC7C3AF-C390-4E21-B5C7-43AC17F36662}"/>
              </a:ext>
            </a:extLst>
          </p:cNvPr>
          <p:cNvSpPr>
            <a:spLocks noEditPoints="1"/>
          </p:cNvSpPr>
          <p:nvPr userDrawn="1"/>
        </p:nvSpPr>
        <p:spPr bwMode="gray">
          <a:xfrm>
            <a:off x="8382132" y="1857373"/>
            <a:ext cx="1905663" cy="439628"/>
          </a:xfrm>
          <a:custGeom>
            <a:avLst/>
            <a:gdLst>
              <a:gd name="T0" fmla="*/ 464 w 2583"/>
              <a:gd name="T1" fmla="*/ 586 h 596"/>
              <a:gd name="T2" fmla="*/ 355 w 2583"/>
              <a:gd name="T3" fmla="*/ 149 h 596"/>
              <a:gd name="T4" fmla="*/ 226 w 2583"/>
              <a:gd name="T5" fmla="*/ 144 h 596"/>
              <a:gd name="T6" fmla="*/ 226 w 2583"/>
              <a:gd name="T7" fmla="*/ 596 h 596"/>
              <a:gd name="T8" fmla="*/ 355 w 2583"/>
              <a:gd name="T9" fmla="*/ 586 h 596"/>
              <a:gd name="T10" fmla="*/ 231 w 2583"/>
              <a:gd name="T11" fmla="*/ 245 h 596"/>
              <a:gd name="T12" fmla="*/ 231 w 2583"/>
              <a:gd name="T13" fmla="*/ 495 h 596"/>
              <a:gd name="T14" fmla="*/ 864 w 2583"/>
              <a:gd name="T15" fmla="*/ 0 h 596"/>
              <a:gd name="T16" fmla="*/ 734 w 2583"/>
              <a:gd name="T17" fmla="*/ 144 h 596"/>
              <a:gd name="T18" fmla="*/ 734 w 2583"/>
              <a:gd name="T19" fmla="*/ 596 h 596"/>
              <a:gd name="T20" fmla="*/ 864 w 2583"/>
              <a:gd name="T21" fmla="*/ 586 h 596"/>
              <a:gd name="T22" fmla="*/ 972 w 2583"/>
              <a:gd name="T23" fmla="*/ 0 h 596"/>
              <a:gd name="T24" fmla="*/ 614 w 2583"/>
              <a:gd name="T25" fmla="*/ 370 h 596"/>
              <a:gd name="T26" fmla="*/ 864 w 2583"/>
              <a:gd name="T27" fmla="*/ 370 h 596"/>
              <a:gd name="T28" fmla="*/ 614 w 2583"/>
              <a:gd name="T29" fmla="*/ 370 h 596"/>
              <a:gd name="T30" fmla="*/ 1134 w 2583"/>
              <a:gd name="T31" fmla="*/ 0 h 596"/>
              <a:gd name="T32" fmla="*/ 1025 w 2583"/>
              <a:gd name="T33" fmla="*/ 109 h 596"/>
              <a:gd name="T34" fmla="*/ 1134 w 2583"/>
              <a:gd name="T35" fmla="*/ 586 h 596"/>
              <a:gd name="T36" fmla="*/ 1025 w 2583"/>
              <a:gd name="T37" fmla="*/ 149 h 596"/>
              <a:gd name="T38" fmla="*/ 1134 w 2583"/>
              <a:gd name="T39" fmla="*/ 586 h 596"/>
              <a:gd name="T40" fmla="*/ 1534 w 2583"/>
              <a:gd name="T41" fmla="*/ 184 h 596"/>
              <a:gd name="T42" fmla="*/ 1179 w 2583"/>
              <a:gd name="T43" fmla="*/ 370 h 596"/>
              <a:gd name="T44" fmla="*/ 1534 w 2583"/>
              <a:gd name="T45" fmla="*/ 555 h 596"/>
              <a:gd name="T46" fmla="*/ 1642 w 2583"/>
              <a:gd name="T47" fmla="*/ 586 h 596"/>
              <a:gd name="T48" fmla="*/ 1534 w 2583"/>
              <a:gd name="T49" fmla="*/ 0 h 596"/>
              <a:gd name="T50" fmla="*/ 1410 w 2583"/>
              <a:gd name="T51" fmla="*/ 245 h 596"/>
              <a:gd name="T52" fmla="*/ 1410 w 2583"/>
              <a:gd name="T53" fmla="*/ 495 h 596"/>
              <a:gd name="T54" fmla="*/ 2042 w 2583"/>
              <a:gd name="T55" fmla="*/ 586 h 596"/>
              <a:gd name="T56" fmla="*/ 2151 w 2583"/>
              <a:gd name="T57" fmla="*/ 149 h 596"/>
              <a:gd name="T58" fmla="*/ 2042 w 2583"/>
              <a:gd name="T59" fmla="*/ 184 h 596"/>
              <a:gd name="T60" fmla="*/ 1687 w 2583"/>
              <a:gd name="T61" fmla="*/ 370 h 596"/>
              <a:gd name="T62" fmla="*/ 2042 w 2583"/>
              <a:gd name="T63" fmla="*/ 555 h 596"/>
              <a:gd name="T64" fmla="*/ 1793 w 2583"/>
              <a:gd name="T65" fmla="*/ 370 h 596"/>
              <a:gd name="T66" fmla="*/ 2043 w 2583"/>
              <a:gd name="T67" fmla="*/ 370 h 596"/>
              <a:gd name="T68" fmla="*/ 1793 w 2583"/>
              <a:gd name="T69" fmla="*/ 370 h 596"/>
              <a:gd name="T70" fmla="*/ 2396 w 2583"/>
              <a:gd name="T71" fmla="*/ 595 h 596"/>
              <a:gd name="T72" fmla="*/ 2456 w 2583"/>
              <a:gd name="T73" fmla="*/ 326 h 596"/>
              <a:gd name="T74" fmla="*/ 2311 w 2583"/>
              <a:gd name="T75" fmla="*/ 269 h 596"/>
              <a:gd name="T76" fmla="*/ 2457 w 2583"/>
              <a:gd name="T77" fmla="*/ 287 h 596"/>
              <a:gd name="T78" fmla="*/ 2382 w 2583"/>
              <a:gd name="T79" fmla="*/ 144 h 596"/>
              <a:gd name="T80" fmla="*/ 2350 w 2583"/>
              <a:gd name="T81" fmla="*/ 416 h 596"/>
              <a:gd name="T82" fmla="*/ 2467 w 2583"/>
              <a:gd name="T83" fmla="*/ 470 h 596"/>
              <a:gd name="T84" fmla="*/ 2302 w 2583"/>
              <a:gd name="T85" fmla="*/ 444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3" h="596">
                <a:moveTo>
                  <a:pt x="355" y="586"/>
                </a:moveTo>
                <a:cubicBezTo>
                  <a:pt x="464" y="586"/>
                  <a:pt x="464" y="586"/>
                  <a:pt x="464" y="586"/>
                </a:cubicBezTo>
                <a:cubicBezTo>
                  <a:pt x="464" y="149"/>
                  <a:pt x="464" y="149"/>
                  <a:pt x="464" y="149"/>
                </a:cubicBezTo>
                <a:cubicBezTo>
                  <a:pt x="355" y="149"/>
                  <a:pt x="355" y="149"/>
                  <a:pt x="355" y="149"/>
                </a:cubicBezTo>
                <a:cubicBezTo>
                  <a:pt x="355" y="184"/>
                  <a:pt x="355" y="184"/>
                  <a:pt x="355" y="184"/>
                </a:cubicBezTo>
                <a:cubicBezTo>
                  <a:pt x="318" y="158"/>
                  <a:pt x="274" y="144"/>
                  <a:pt x="226" y="144"/>
                </a:cubicBezTo>
                <a:cubicBezTo>
                  <a:pt x="101" y="144"/>
                  <a:pt x="0" y="245"/>
                  <a:pt x="0" y="370"/>
                </a:cubicBezTo>
                <a:cubicBezTo>
                  <a:pt x="0" y="495"/>
                  <a:pt x="101" y="596"/>
                  <a:pt x="226" y="596"/>
                </a:cubicBezTo>
                <a:cubicBezTo>
                  <a:pt x="274" y="596"/>
                  <a:pt x="318" y="581"/>
                  <a:pt x="355" y="555"/>
                </a:cubicBezTo>
                <a:cubicBezTo>
                  <a:pt x="355" y="586"/>
                  <a:pt x="355" y="586"/>
                  <a:pt x="355" y="586"/>
                </a:cubicBezTo>
                <a:close/>
                <a:moveTo>
                  <a:pt x="106" y="370"/>
                </a:moveTo>
                <a:cubicBezTo>
                  <a:pt x="106" y="300"/>
                  <a:pt x="162" y="245"/>
                  <a:pt x="231" y="245"/>
                </a:cubicBezTo>
                <a:cubicBezTo>
                  <a:pt x="300" y="245"/>
                  <a:pt x="356" y="300"/>
                  <a:pt x="356" y="370"/>
                </a:cubicBezTo>
                <a:cubicBezTo>
                  <a:pt x="356" y="439"/>
                  <a:pt x="300" y="495"/>
                  <a:pt x="231" y="495"/>
                </a:cubicBezTo>
                <a:cubicBezTo>
                  <a:pt x="162" y="495"/>
                  <a:pt x="106" y="439"/>
                  <a:pt x="106" y="370"/>
                </a:cubicBezTo>
                <a:close/>
                <a:moveTo>
                  <a:pt x="864" y="0"/>
                </a:moveTo>
                <a:cubicBezTo>
                  <a:pt x="864" y="184"/>
                  <a:pt x="864" y="184"/>
                  <a:pt x="864" y="184"/>
                </a:cubicBezTo>
                <a:cubicBezTo>
                  <a:pt x="827" y="158"/>
                  <a:pt x="782" y="144"/>
                  <a:pt x="734" y="144"/>
                </a:cubicBezTo>
                <a:cubicBezTo>
                  <a:pt x="609" y="144"/>
                  <a:pt x="508" y="245"/>
                  <a:pt x="508" y="370"/>
                </a:cubicBezTo>
                <a:cubicBezTo>
                  <a:pt x="508" y="495"/>
                  <a:pt x="609" y="596"/>
                  <a:pt x="734" y="596"/>
                </a:cubicBezTo>
                <a:cubicBezTo>
                  <a:pt x="782" y="596"/>
                  <a:pt x="827" y="581"/>
                  <a:pt x="864" y="555"/>
                </a:cubicBezTo>
                <a:cubicBezTo>
                  <a:pt x="864" y="586"/>
                  <a:pt x="864" y="586"/>
                  <a:pt x="864" y="586"/>
                </a:cubicBezTo>
                <a:cubicBezTo>
                  <a:pt x="972" y="586"/>
                  <a:pt x="972" y="586"/>
                  <a:pt x="972" y="586"/>
                </a:cubicBezTo>
                <a:cubicBezTo>
                  <a:pt x="972" y="0"/>
                  <a:pt x="972" y="0"/>
                  <a:pt x="972" y="0"/>
                </a:cubicBezTo>
                <a:cubicBezTo>
                  <a:pt x="864" y="0"/>
                  <a:pt x="864" y="0"/>
                  <a:pt x="864" y="0"/>
                </a:cubicBezTo>
                <a:close/>
                <a:moveTo>
                  <a:pt x="614" y="370"/>
                </a:moveTo>
                <a:cubicBezTo>
                  <a:pt x="614" y="300"/>
                  <a:pt x="670" y="245"/>
                  <a:pt x="739" y="245"/>
                </a:cubicBezTo>
                <a:cubicBezTo>
                  <a:pt x="809" y="245"/>
                  <a:pt x="864" y="300"/>
                  <a:pt x="864" y="370"/>
                </a:cubicBezTo>
                <a:cubicBezTo>
                  <a:pt x="864" y="439"/>
                  <a:pt x="809" y="495"/>
                  <a:pt x="739" y="495"/>
                </a:cubicBezTo>
                <a:cubicBezTo>
                  <a:pt x="670" y="495"/>
                  <a:pt x="614" y="439"/>
                  <a:pt x="614" y="370"/>
                </a:cubicBezTo>
                <a:close/>
                <a:moveTo>
                  <a:pt x="1134" y="109"/>
                </a:moveTo>
                <a:cubicBezTo>
                  <a:pt x="1134" y="0"/>
                  <a:pt x="1134" y="0"/>
                  <a:pt x="1134" y="0"/>
                </a:cubicBezTo>
                <a:cubicBezTo>
                  <a:pt x="1025" y="0"/>
                  <a:pt x="1025" y="0"/>
                  <a:pt x="1025" y="0"/>
                </a:cubicBezTo>
                <a:cubicBezTo>
                  <a:pt x="1025" y="109"/>
                  <a:pt x="1025" y="109"/>
                  <a:pt x="1025" y="109"/>
                </a:cubicBezTo>
                <a:cubicBezTo>
                  <a:pt x="1134" y="109"/>
                  <a:pt x="1134" y="109"/>
                  <a:pt x="1134" y="109"/>
                </a:cubicBezTo>
                <a:close/>
                <a:moveTo>
                  <a:pt x="1134" y="586"/>
                </a:moveTo>
                <a:cubicBezTo>
                  <a:pt x="1134" y="149"/>
                  <a:pt x="1134" y="149"/>
                  <a:pt x="1134" y="149"/>
                </a:cubicBezTo>
                <a:cubicBezTo>
                  <a:pt x="1025" y="149"/>
                  <a:pt x="1025" y="149"/>
                  <a:pt x="1025" y="149"/>
                </a:cubicBezTo>
                <a:cubicBezTo>
                  <a:pt x="1025" y="586"/>
                  <a:pt x="1025" y="586"/>
                  <a:pt x="1025" y="586"/>
                </a:cubicBezTo>
                <a:cubicBezTo>
                  <a:pt x="1134" y="586"/>
                  <a:pt x="1134" y="586"/>
                  <a:pt x="1134" y="586"/>
                </a:cubicBezTo>
                <a:close/>
                <a:moveTo>
                  <a:pt x="1534" y="0"/>
                </a:moveTo>
                <a:cubicBezTo>
                  <a:pt x="1534" y="184"/>
                  <a:pt x="1534" y="184"/>
                  <a:pt x="1534" y="184"/>
                </a:cubicBezTo>
                <a:cubicBezTo>
                  <a:pt x="1497" y="158"/>
                  <a:pt x="1452" y="144"/>
                  <a:pt x="1404" y="144"/>
                </a:cubicBezTo>
                <a:cubicBezTo>
                  <a:pt x="1280" y="144"/>
                  <a:pt x="1179" y="245"/>
                  <a:pt x="1179" y="370"/>
                </a:cubicBezTo>
                <a:cubicBezTo>
                  <a:pt x="1179" y="495"/>
                  <a:pt x="1280" y="596"/>
                  <a:pt x="1404" y="596"/>
                </a:cubicBezTo>
                <a:cubicBezTo>
                  <a:pt x="1452" y="596"/>
                  <a:pt x="1497" y="581"/>
                  <a:pt x="1534" y="555"/>
                </a:cubicBezTo>
                <a:cubicBezTo>
                  <a:pt x="1534" y="586"/>
                  <a:pt x="1534" y="586"/>
                  <a:pt x="1534" y="586"/>
                </a:cubicBezTo>
                <a:cubicBezTo>
                  <a:pt x="1642" y="586"/>
                  <a:pt x="1642" y="586"/>
                  <a:pt x="1642" y="586"/>
                </a:cubicBezTo>
                <a:cubicBezTo>
                  <a:pt x="1642" y="0"/>
                  <a:pt x="1642" y="0"/>
                  <a:pt x="1642" y="0"/>
                </a:cubicBezTo>
                <a:cubicBezTo>
                  <a:pt x="1534" y="0"/>
                  <a:pt x="1534" y="0"/>
                  <a:pt x="1534" y="0"/>
                </a:cubicBezTo>
                <a:close/>
                <a:moveTo>
                  <a:pt x="1285" y="370"/>
                </a:moveTo>
                <a:cubicBezTo>
                  <a:pt x="1285" y="300"/>
                  <a:pt x="1340" y="245"/>
                  <a:pt x="1410" y="245"/>
                </a:cubicBezTo>
                <a:cubicBezTo>
                  <a:pt x="1479" y="245"/>
                  <a:pt x="1535" y="300"/>
                  <a:pt x="1535" y="370"/>
                </a:cubicBezTo>
                <a:cubicBezTo>
                  <a:pt x="1535" y="439"/>
                  <a:pt x="1479" y="495"/>
                  <a:pt x="1410" y="495"/>
                </a:cubicBezTo>
                <a:cubicBezTo>
                  <a:pt x="1340" y="495"/>
                  <a:pt x="1285" y="439"/>
                  <a:pt x="1285" y="370"/>
                </a:cubicBezTo>
                <a:close/>
                <a:moveTo>
                  <a:pt x="2042" y="586"/>
                </a:moveTo>
                <a:cubicBezTo>
                  <a:pt x="2151" y="586"/>
                  <a:pt x="2151" y="586"/>
                  <a:pt x="2151" y="586"/>
                </a:cubicBezTo>
                <a:cubicBezTo>
                  <a:pt x="2151" y="149"/>
                  <a:pt x="2151" y="149"/>
                  <a:pt x="2151" y="149"/>
                </a:cubicBezTo>
                <a:cubicBezTo>
                  <a:pt x="2042" y="149"/>
                  <a:pt x="2042" y="149"/>
                  <a:pt x="2042" y="149"/>
                </a:cubicBezTo>
                <a:cubicBezTo>
                  <a:pt x="2042" y="184"/>
                  <a:pt x="2042" y="184"/>
                  <a:pt x="2042" y="184"/>
                </a:cubicBezTo>
                <a:cubicBezTo>
                  <a:pt x="2005" y="158"/>
                  <a:pt x="1961" y="144"/>
                  <a:pt x="1913" y="144"/>
                </a:cubicBezTo>
                <a:cubicBezTo>
                  <a:pt x="1788" y="144"/>
                  <a:pt x="1687" y="245"/>
                  <a:pt x="1687" y="370"/>
                </a:cubicBezTo>
                <a:cubicBezTo>
                  <a:pt x="1687" y="495"/>
                  <a:pt x="1788" y="596"/>
                  <a:pt x="1913" y="596"/>
                </a:cubicBezTo>
                <a:cubicBezTo>
                  <a:pt x="1961" y="596"/>
                  <a:pt x="2005" y="581"/>
                  <a:pt x="2042" y="555"/>
                </a:cubicBezTo>
                <a:cubicBezTo>
                  <a:pt x="2042" y="586"/>
                  <a:pt x="2042" y="586"/>
                  <a:pt x="2042" y="586"/>
                </a:cubicBezTo>
                <a:close/>
                <a:moveTo>
                  <a:pt x="1793" y="370"/>
                </a:moveTo>
                <a:cubicBezTo>
                  <a:pt x="1793" y="300"/>
                  <a:pt x="1849" y="245"/>
                  <a:pt x="1918" y="245"/>
                </a:cubicBezTo>
                <a:cubicBezTo>
                  <a:pt x="1987" y="245"/>
                  <a:pt x="2043" y="300"/>
                  <a:pt x="2043" y="370"/>
                </a:cubicBezTo>
                <a:cubicBezTo>
                  <a:pt x="2043" y="439"/>
                  <a:pt x="1987" y="495"/>
                  <a:pt x="1918" y="495"/>
                </a:cubicBezTo>
                <a:cubicBezTo>
                  <a:pt x="1849" y="495"/>
                  <a:pt x="1793" y="439"/>
                  <a:pt x="1793" y="370"/>
                </a:cubicBezTo>
                <a:close/>
                <a:moveTo>
                  <a:pt x="2191" y="444"/>
                </a:moveTo>
                <a:cubicBezTo>
                  <a:pt x="2195" y="532"/>
                  <a:pt x="2270" y="595"/>
                  <a:pt x="2396" y="595"/>
                </a:cubicBezTo>
                <a:cubicBezTo>
                  <a:pt x="2498" y="595"/>
                  <a:pt x="2583" y="550"/>
                  <a:pt x="2583" y="452"/>
                </a:cubicBezTo>
                <a:cubicBezTo>
                  <a:pt x="2583" y="383"/>
                  <a:pt x="2545" y="343"/>
                  <a:pt x="2456" y="326"/>
                </a:cubicBezTo>
                <a:cubicBezTo>
                  <a:pt x="2386" y="312"/>
                  <a:pt x="2386" y="312"/>
                  <a:pt x="2386" y="312"/>
                </a:cubicBezTo>
                <a:cubicBezTo>
                  <a:pt x="2342" y="304"/>
                  <a:pt x="2311" y="295"/>
                  <a:pt x="2311" y="269"/>
                </a:cubicBezTo>
                <a:cubicBezTo>
                  <a:pt x="2311" y="240"/>
                  <a:pt x="2341" y="227"/>
                  <a:pt x="2379" y="227"/>
                </a:cubicBezTo>
                <a:cubicBezTo>
                  <a:pt x="2433" y="227"/>
                  <a:pt x="2456" y="254"/>
                  <a:pt x="2457" y="287"/>
                </a:cubicBezTo>
                <a:cubicBezTo>
                  <a:pt x="2567" y="287"/>
                  <a:pt x="2567" y="287"/>
                  <a:pt x="2567" y="287"/>
                </a:cubicBezTo>
                <a:cubicBezTo>
                  <a:pt x="2561" y="201"/>
                  <a:pt x="2492" y="144"/>
                  <a:pt x="2382" y="144"/>
                </a:cubicBezTo>
                <a:cubicBezTo>
                  <a:pt x="2268" y="144"/>
                  <a:pt x="2201" y="206"/>
                  <a:pt x="2201" y="287"/>
                </a:cubicBezTo>
                <a:cubicBezTo>
                  <a:pt x="2201" y="387"/>
                  <a:pt x="2281" y="403"/>
                  <a:pt x="2350" y="416"/>
                </a:cubicBezTo>
                <a:cubicBezTo>
                  <a:pt x="2408" y="426"/>
                  <a:pt x="2408" y="426"/>
                  <a:pt x="2408" y="426"/>
                </a:cubicBezTo>
                <a:cubicBezTo>
                  <a:pt x="2449" y="434"/>
                  <a:pt x="2467" y="446"/>
                  <a:pt x="2467" y="470"/>
                </a:cubicBezTo>
                <a:cubicBezTo>
                  <a:pt x="2467" y="491"/>
                  <a:pt x="2446" y="513"/>
                  <a:pt x="2397" y="513"/>
                </a:cubicBezTo>
                <a:cubicBezTo>
                  <a:pt x="2326" y="513"/>
                  <a:pt x="2303" y="476"/>
                  <a:pt x="2302" y="444"/>
                </a:cubicBezTo>
                <a:cubicBezTo>
                  <a:pt x="2191" y="444"/>
                  <a:pt x="2191" y="444"/>
                  <a:pt x="2191" y="444"/>
                </a:cubicBezTo>
                <a:close/>
              </a:path>
            </a:pathLst>
          </a:custGeom>
          <a:solidFill>
            <a:schemeClr val="tx1"/>
          </a:solidFill>
          <a:ln>
            <a:noFill/>
          </a:ln>
        </p:spPr>
        <p:txBody>
          <a:bodyPr vert="horz" wrap="square" lIns="120949" tIns="60475" rIns="120949" bIns="60475" numCol="1" anchor="t" anchorCtr="0" compatLnSpc="1">
            <a:prstTxWarp prst="textNoShape">
              <a:avLst/>
            </a:prstTxWarp>
          </a:bodyPr>
          <a:lstStyle/>
          <a:p>
            <a:endParaRPr lang="en-US" sz="2381" dirty="0">
              <a:latin typeface="adiText Light Beta" pitchFamily="34" charset="0"/>
            </a:endParaRPr>
          </a:p>
        </p:txBody>
      </p:sp>
    </p:spTree>
    <p:extLst>
      <p:ext uri="{BB962C8B-B14F-4D97-AF65-F5344CB8AC3E}">
        <p14:creationId xmlns:p14="http://schemas.microsoft.com/office/powerpoint/2010/main" val="3160723170"/>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1"/>
            <a:ext cx="12192000" cy="6858000"/>
          </a:xfrm>
          <a:solidFill>
            <a:schemeClr val="bg2"/>
          </a:solidFill>
        </p:spPr>
        <p:txBody>
          <a:bodyPr anchor="ctr"/>
          <a:lstStyle>
            <a:lvl1pPr algn="ctr">
              <a:defRPr>
                <a:solidFill>
                  <a:schemeClr val="bg1"/>
                </a:solidFill>
              </a:defRPr>
            </a:lvl1pPr>
          </a:lstStyle>
          <a:p>
            <a:r>
              <a:rPr lang="en-US" noProof="0"/>
              <a:t>Click icon to add picture</a:t>
            </a:r>
            <a:endParaRPr lang="en-US" noProof="0" dirty="0"/>
          </a:p>
        </p:txBody>
      </p:sp>
      <p:sp>
        <p:nvSpPr>
          <p:cNvPr id="2" name="Title 1"/>
          <p:cNvSpPr>
            <a:spLocks noGrp="1"/>
          </p:cNvSpPr>
          <p:nvPr>
            <p:ph type="ctrTitle" hasCustomPrompt="1"/>
          </p:nvPr>
        </p:nvSpPr>
        <p:spPr bwMode="gray">
          <a:xfrm>
            <a:off x="1142062" y="1143048"/>
            <a:ext cx="5335134" cy="1143653"/>
          </a:xfrm>
        </p:spPr>
        <p:txBody>
          <a:bodyPr lIns="0" anchor="t"/>
          <a:lstStyle>
            <a:lvl1pPr algn="l">
              <a:lnSpc>
                <a:spcPct val="100000"/>
              </a:lnSpc>
              <a:defRPr sz="5291" b="0" i="0" cap="all" spc="0" baseline="0">
                <a:solidFill>
                  <a:schemeClr val="bg1"/>
                </a:solidFill>
                <a:latin typeface="adineue TEXT Black" panose="020B0A03020201060004" pitchFamily="34" charset="0"/>
              </a:defRPr>
            </a:lvl1pPr>
          </a:lstStyle>
          <a:p>
            <a:r>
              <a:rPr lang="en-US" noProof="0" dirty="0"/>
              <a:t>Content</a:t>
            </a:r>
          </a:p>
        </p:txBody>
      </p:sp>
      <p:sp>
        <p:nvSpPr>
          <p:cNvPr id="6" name="Text Placeholder 5"/>
          <p:cNvSpPr>
            <a:spLocks noGrp="1"/>
          </p:cNvSpPr>
          <p:nvPr>
            <p:ph type="body" sz="quarter" idx="10" hasCustomPrompt="1"/>
          </p:nvPr>
        </p:nvSpPr>
        <p:spPr bwMode="gray">
          <a:xfrm>
            <a:off x="2667579" y="2667015"/>
            <a:ext cx="6476999" cy="3428752"/>
          </a:xfrm>
        </p:spPr>
        <p:txBody>
          <a:bodyPr anchor="t" anchorCtr="0"/>
          <a:lstStyle>
            <a:lvl1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defRPr>
            </a:lvl1pPr>
            <a:lvl2pPr marL="0" indent="0" algn="l">
              <a:lnSpc>
                <a:spcPct val="80000"/>
              </a:lnSpc>
              <a:spcBef>
                <a:spcPts val="0"/>
              </a:spcBef>
              <a:spcAft>
                <a:spcPts val="1323"/>
              </a:spcAft>
              <a:buClrTx/>
              <a:buSzPct val="90000"/>
              <a:buFont typeface="+mj-lt"/>
              <a:buNone/>
              <a:defRPr sz="1587" b="0" i="0" cap="all" baseline="0">
                <a:solidFill>
                  <a:schemeClr val="bg1"/>
                </a:solidFill>
                <a:latin typeface="+mn-lt"/>
                <a:cs typeface="AdihausDIN" panose="020B0504020101020102" pitchFamily="34" charset="0"/>
              </a:defRPr>
            </a:lvl2pPr>
            <a:lvl3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3pPr>
            <a:lvl4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4pPr>
            <a:lvl5pPr marL="380938" indent="-380938" algn="l">
              <a:lnSpc>
                <a:spcPct val="80000"/>
              </a:lnSpc>
              <a:spcBef>
                <a:spcPts val="0"/>
              </a:spcBef>
              <a:spcAft>
                <a:spcPts val="1323"/>
              </a:spcAft>
              <a:buClrTx/>
              <a:buSzPct val="90000"/>
              <a:defRPr sz="1587" b="0" i="0" cap="all" baseline="0">
                <a:solidFill>
                  <a:schemeClr val="bg1"/>
                </a:solidFill>
                <a:latin typeface="+mn-lt"/>
                <a:cs typeface="AdihausDIN" panose="020B0504020101020102" pitchFamily="34" charset="0"/>
              </a:defRPr>
            </a:lvl5pPr>
            <a:lvl6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6pPr>
            <a:lvl7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7pPr>
            <a:lvl8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8pPr>
            <a:lvl9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9pPr>
          </a:lstStyle>
          <a:p>
            <a:pPr lvl="0"/>
            <a:r>
              <a:rPr lang="en-US" noProof="0" dirty="0"/>
              <a:t>ADD AN AGENDA POINT HERE</a:t>
            </a:r>
          </a:p>
        </p:txBody>
      </p:sp>
      <p:sp>
        <p:nvSpPr>
          <p:cNvPr id="7" name="Slide Number Placeholder 5">
            <a:extLst>
              <a:ext uri="{FF2B5EF4-FFF2-40B4-BE49-F238E27FC236}">
                <a16:creationId xmlns:a16="http://schemas.microsoft.com/office/drawing/2014/main" id="{579BA224-7CAA-4142-B741-26EF58C8E599}"/>
              </a:ext>
            </a:extLst>
          </p:cNvPr>
          <p:cNvSpPr>
            <a:spLocks noGrp="1"/>
          </p:cNvSpPr>
          <p:nvPr>
            <p:ph type="sldNum" sz="quarter" idx="4"/>
          </p:nvPr>
        </p:nvSpPr>
        <p:spPr bwMode="gray">
          <a:xfrm>
            <a:off x="11811853" y="6476936"/>
            <a:ext cx="380147"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266072702"/>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01" y="2101"/>
                        <a:ext cx="2100" cy="2099"/>
                      </a:xfrm>
                      <a:prstGeom prst="rect">
                        <a:avLst/>
                      </a:prstGeom>
                    </p:spPr>
                  </p:pic>
                </p:oleObj>
              </mc:Fallback>
            </mc:AlternateContent>
          </a:graphicData>
        </a:graphic>
      </p:graphicFrame>
      <p:sp>
        <p:nvSpPr>
          <p:cNvPr id="3" name="Titel 2"/>
          <p:cNvSpPr>
            <a:spLocks noGrp="1"/>
          </p:cNvSpPr>
          <p:nvPr>
            <p:ph type="title"/>
          </p:nvPr>
        </p:nvSpPr>
        <p:spPr bwMode="gray">
          <a:xfrm>
            <a:off x="380148" y="382168"/>
            <a:ext cx="11431705" cy="760132"/>
          </a:xfrm>
        </p:spPr>
        <p:txBody>
          <a:bodyPr/>
          <a:lstStyle>
            <a:lvl1pPr>
              <a:defRPr b="0"/>
            </a:lvl1pPr>
          </a:lstStyle>
          <a:p>
            <a:r>
              <a:rPr lang="en-US" noProof="0"/>
              <a:t>Click to edit Master title style</a:t>
            </a:r>
            <a:endParaRPr lang="en-US" noProof="0" dirty="0"/>
          </a:p>
        </p:txBody>
      </p:sp>
      <p:sp>
        <p:nvSpPr>
          <p:cNvPr id="4" name="Slide Number Placeholder 5">
            <a:extLst>
              <a:ext uri="{FF2B5EF4-FFF2-40B4-BE49-F238E27FC236}">
                <a16:creationId xmlns:a16="http://schemas.microsoft.com/office/drawing/2014/main" id="{AAA3035C-884A-4B81-B0ED-6D5A078ACD5E}"/>
              </a:ext>
            </a:extLst>
          </p:cNvPr>
          <p:cNvSpPr>
            <a:spLocks noGrp="1"/>
          </p:cNvSpPr>
          <p:nvPr>
            <p:ph type="sldNum" sz="quarter" idx="4"/>
          </p:nvPr>
        </p:nvSpPr>
        <p:spPr bwMode="gray">
          <a:xfrm>
            <a:off x="11811853" y="6476936"/>
            <a:ext cx="380147"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917348443"/>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 Footn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01" y="2101"/>
                        <a:ext cx="2100" cy="2099"/>
                      </a:xfrm>
                      <a:prstGeom prst="rect">
                        <a:avLst/>
                      </a:prstGeom>
                    </p:spPr>
                  </p:pic>
                </p:oleObj>
              </mc:Fallback>
            </mc:AlternateContent>
          </a:graphicData>
        </a:graphic>
      </p:graphicFrame>
      <p:sp>
        <p:nvSpPr>
          <p:cNvPr id="3" name="Titel 2"/>
          <p:cNvSpPr>
            <a:spLocks noGrp="1"/>
          </p:cNvSpPr>
          <p:nvPr>
            <p:ph type="title"/>
          </p:nvPr>
        </p:nvSpPr>
        <p:spPr bwMode="gray">
          <a:xfrm>
            <a:off x="380148" y="382168"/>
            <a:ext cx="11431705" cy="760132"/>
          </a:xfrm>
        </p:spPr>
        <p:txBody>
          <a:bodyPr/>
          <a:lstStyle>
            <a:lvl1pPr>
              <a:defRPr b="0"/>
            </a:lvl1pPr>
          </a:lstStyle>
          <a:p>
            <a:r>
              <a:rPr lang="en-US" noProof="0"/>
              <a:t>Click to edit Master title style</a:t>
            </a:r>
            <a:endParaRPr lang="en-US" noProof="0" dirty="0"/>
          </a:p>
        </p:txBody>
      </p:sp>
      <p:sp>
        <p:nvSpPr>
          <p:cNvPr id="4" name="Slide Number Placeholder 5">
            <a:extLst>
              <a:ext uri="{FF2B5EF4-FFF2-40B4-BE49-F238E27FC236}">
                <a16:creationId xmlns:a16="http://schemas.microsoft.com/office/drawing/2014/main" id="{AAA3035C-884A-4B81-B0ED-6D5A078ACD5E}"/>
              </a:ext>
            </a:extLst>
          </p:cNvPr>
          <p:cNvSpPr>
            <a:spLocks noGrp="1"/>
          </p:cNvSpPr>
          <p:nvPr>
            <p:ph type="sldNum" sz="quarter" idx="4"/>
          </p:nvPr>
        </p:nvSpPr>
        <p:spPr bwMode="gray">
          <a:xfrm>
            <a:off x="11811853" y="6476936"/>
            <a:ext cx="380147"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
        <p:nvSpPr>
          <p:cNvPr id="6" name="Text Placeholder 5">
            <a:extLst>
              <a:ext uri="{FF2B5EF4-FFF2-40B4-BE49-F238E27FC236}">
                <a16:creationId xmlns:a16="http://schemas.microsoft.com/office/drawing/2014/main" id="{C88A8358-3A55-4556-B086-617123AC6845}"/>
              </a:ext>
            </a:extLst>
          </p:cNvPr>
          <p:cNvSpPr>
            <a:spLocks noGrp="1"/>
          </p:cNvSpPr>
          <p:nvPr>
            <p:ph type="body" sz="quarter" idx="10" hasCustomPrompt="1"/>
          </p:nvPr>
        </p:nvSpPr>
        <p:spPr>
          <a:xfrm>
            <a:off x="380148" y="6476936"/>
            <a:ext cx="11431705" cy="296073"/>
          </a:xfrm>
        </p:spPr>
        <p:txBody>
          <a:bodyPr anchor="b"/>
          <a:lstStyle>
            <a:lvl1pPr>
              <a:spcAft>
                <a:spcPts val="0"/>
              </a:spcAft>
              <a:defRPr sz="926"/>
            </a:lvl1pPr>
          </a:lstStyle>
          <a:p>
            <a:pPr lvl="0"/>
            <a:r>
              <a:rPr lang="en-US" dirty="0"/>
              <a:t>Footnote</a:t>
            </a:r>
          </a:p>
        </p:txBody>
      </p:sp>
    </p:spTree>
    <p:extLst>
      <p:ext uri="{BB962C8B-B14F-4D97-AF65-F5344CB8AC3E}">
        <p14:creationId xmlns:p14="http://schemas.microsoft.com/office/powerpoint/2010/main" val="4173714066"/>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Agend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AGENDA</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1BF784C-CB2E-4C83-8DCB-C9F73BE083FB}" type="datetime5">
              <a:rPr lang="en-US" smtClean="0"/>
              <a:t>6-Oct-21</a:t>
            </a:fld>
            <a:endParaRPr lang="en-US"/>
          </a:p>
        </p:txBody>
      </p:sp>
      <p:sp>
        <p:nvSpPr>
          <p:cNvPr id="5" name="Footer Placeholder 4"/>
          <p:cNvSpPr>
            <a:spLocks noGrp="1"/>
          </p:cNvSpPr>
          <p:nvPr>
            <p:ph type="ftr" sz="quarter" idx="11"/>
          </p:nvPr>
        </p:nvSpPr>
        <p:spPr/>
        <p:txBody>
          <a:bodyPr/>
          <a:lstStyle/>
          <a:p>
            <a:r>
              <a:rPr lang="en-US"/>
              <a:t>FOOTER / PRESENTATION NAME</a:t>
            </a:r>
          </a:p>
        </p:txBody>
      </p:sp>
      <p:sp>
        <p:nvSpPr>
          <p:cNvPr id="6" name="Slide Number Placeholder 5"/>
          <p:cNvSpPr>
            <a:spLocks noGrp="1"/>
          </p:cNvSpPr>
          <p:nvPr>
            <p:ph type="sldNum" sz="quarter" idx="12"/>
          </p:nvPr>
        </p:nvSpPr>
        <p:spPr/>
        <p:txBody>
          <a:bodyPr/>
          <a:lstStyle/>
          <a:p>
            <a:fld id="{C495D736-9399-F84C-A4D0-FDB9C0F35C47}" type="slidenum">
              <a:rPr lang="en-US" smtClean="0"/>
              <a:t>‹#›</a:t>
            </a:fld>
            <a:endParaRPr lang="en-US"/>
          </a:p>
        </p:txBody>
      </p:sp>
    </p:spTree>
    <p:extLst>
      <p:ext uri="{BB962C8B-B14F-4D97-AF65-F5344CB8AC3E}">
        <p14:creationId xmlns:p14="http://schemas.microsoft.com/office/powerpoint/2010/main" val="2615501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477197" y="1"/>
            <a:ext cx="571480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Picture Placeholder 3"/>
          <p:cNvSpPr>
            <a:spLocks noGrp="1"/>
          </p:cNvSpPr>
          <p:nvPr>
            <p:ph type="pic" sz="quarter" idx="18"/>
          </p:nvPr>
        </p:nvSpPr>
        <p:spPr>
          <a:xfrm>
            <a:off x="5714978" y="1143349"/>
            <a:ext cx="4952234" cy="45723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2" name="Text Placeholder 11"/>
          <p:cNvSpPr>
            <a:spLocks noGrp="1"/>
          </p:cNvSpPr>
          <p:nvPr>
            <p:ph type="body" sz="quarter" idx="19"/>
          </p:nvPr>
        </p:nvSpPr>
        <p:spPr>
          <a:xfrm>
            <a:off x="760293" y="1524467"/>
            <a:ext cx="4192116"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4"/>
          </p:nvPr>
        </p:nvSpPr>
        <p:spPr/>
        <p:txBody>
          <a:bodyPr/>
          <a:lstStyle/>
          <a:p>
            <a:pPr>
              <a:defRPr/>
            </a:pPr>
            <a:fld id="{85E66569-E0FE-4B8D-BFAD-77B7FF7D49F3}" type="datetime5">
              <a:rPr lang="en-US" smtClean="0"/>
              <a:t>6-Oct-21</a:t>
            </a:fld>
            <a:endParaRPr lang="en-US" dirty="0"/>
          </a:p>
        </p:txBody>
      </p:sp>
      <p:sp>
        <p:nvSpPr>
          <p:cNvPr id="6" name="Footer Placeholder 5"/>
          <p:cNvSpPr>
            <a:spLocks noGrp="1"/>
          </p:cNvSpPr>
          <p:nvPr>
            <p:ph type="ftr" sz="quarter" idx="25"/>
          </p:nvPr>
        </p:nvSpPr>
        <p:spPr/>
        <p:txBody>
          <a:bodyPr/>
          <a:lstStyle/>
          <a:p>
            <a:pPr>
              <a:defRPr/>
            </a:pPr>
            <a:r>
              <a:rPr lang="en-US" dirty="0"/>
              <a:t>FOOTER / PRESENTATION NAME</a:t>
            </a:r>
          </a:p>
        </p:txBody>
      </p:sp>
      <p:sp>
        <p:nvSpPr>
          <p:cNvPr id="7" name="Slide Number Placeholder 6"/>
          <p:cNvSpPr>
            <a:spLocks noGrp="1"/>
          </p:cNvSpPr>
          <p:nvPr>
            <p:ph type="sldNum" sz="quarter" idx="26"/>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960580112"/>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2665223" cy="419165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3" name="Picture Placeholder 3"/>
          <p:cNvSpPr>
            <a:spLocks noGrp="1"/>
          </p:cNvSpPr>
          <p:nvPr>
            <p:ph type="pic" sz="quarter" idx="23"/>
          </p:nvPr>
        </p:nvSpPr>
        <p:spPr>
          <a:xfrm>
            <a:off x="3045373" y="1142300"/>
            <a:ext cx="2669555" cy="4191659"/>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4" name="Picture Placeholder 3"/>
          <p:cNvSpPr>
            <a:spLocks noGrp="1"/>
          </p:cNvSpPr>
          <p:nvPr>
            <p:ph type="pic" sz="quarter" idx="24"/>
          </p:nvPr>
        </p:nvSpPr>
        <p:spPr>
          <a:xfrm>
            <a:off x="5714801" y="1142300"/>
            <a:ext cx="2667329" cy="419165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2" name="Picture Placeholder 3"/>
          <p:cNvSpPr>
            <a:spLocks noGrp="1"/>
          </p:cNvSpPr>
          <p:nvPr>
            <p:ph type="pic" sz="quarter" idx="28"/>
          </p:nvPr>
        </p:nvSpPr>
        <p:spPr>
          <a:xfrm>
            <a:off x="8382130" y="1142300"/>
            <a:ext cx="2667329" cy="4191659"/>
          </a:xfrm>
          <a:solidFill>
            <a:schemeClr val="bg2">
              <a:lumMod val="20000"/>
              <a:lumOff val="80000"/>
            </a:schemeClr>
          </a:solidFill>
        </p:spPr>
        <p:txBody>
          <a:bodyPr anchor="ctr"/>
          <a:lstStyle>
            <a:lvl1pPr algn="ctr">
              <a:defRPr b="0">
                <a:solidFill>
                  <a:schemeClr val="tx1"/>
                </a:solidFill>
              </a:defRPr>
            </a:lvl1pPr>
          </a:lstStyle>
          <a:p>
            <a:r>
              <a:rPr lang="en-US" noProof="0" dirty="0"/>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BD27F3AD-D2BC-4C12-9A41-6CA59A8E9612}"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dirty="0"/>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sp>
        <p:nvSpPr>
          <p:cNvPr id="28" name="Text Placeholder 15"/>
          <p:cNvSpPr>
            <a:spLocks noGrp="1"/>
          </p:cNvSpPr>
          <p:nvPr>
            <p:ph type="body" sz="quarter" idx="25" hasCustomPrompt="1"/>
          </p:nvPr>
        </p:nvSpPr>
        <p:spPr>
          <a:xfrm>
            <a:off x="380149"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29" name="Text Placeholder 15"/>
          <p:cNvSpPr>
            <a:spLocks noGrp="1"/>
          </p:cNvSpPr>
          <p:nvPr>
            <p:ph type="body" sz="quarter" idx="29" hasCustomPrompt="1"/>
          </p:nvPr>
        </p:nvSpPr>
        <p:spPr>
          <a:xfrm>
            <a:off x="3045373"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30" name="Text Placeholder 15"/>
          <p:cNvSpPr>
            <a:spLocks noGrp="1"/>
          </p:cNvSpPr>
          <p:nvPr>
            <p:ph type="body" sz="quarter" idx="30" hasCustomPrompt="1"/>
          </p:nvPr>
        </p:nvSpPr>
        <p:spPr>
          <a:xfrm>
            <a:off x="5714801"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31" name="Text Placeholder 15"/>
          <p:cNvSpPr>
            <a:spLocks noGrp="1"/>
          </p:cNvSpPr>
          <p:nvPr>
            <p:ph type="body" sz="quarter" idx="31" hasCustomPrompt="1"/>
          </p:nvPr>
        </p:nvSpPr>
        <p:spPr>
          <a:xfrm>
            <a:off x="8382132"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3313107693"/>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4661786-64FC-4EA7-99FE-DC4A331D1694}" type="datetime5">
              <a:rPr lang="en-US" smtClean="0"/>
              <a:t>6-Oct-21</a:t>
            </a:fld>
            <a:endParaRPr lang="en-US"/>
          </a:p>
        </p:txBody>
      </p:sp>
      <p:sp>
        <p:nvSpPr>
          <p:cNvPr id="4" name="Footer Placeholder 3"/>
          <p:cNvSpPr>
            <a:spLocks noGrp="1"/>
          </p:cNvSpPr>
          <p:nvPr>
            <p:ph type="ftr" sz="quarter" idx="11"/>
          </p:nvPr>
        </p:nvSpPr>
        <p:spPr/>
        <p:txBody>
          <a:bodyPr/>
          <a:lstStyle/>
          <a:p>
            <a:r>
              <a:rPr lang="en-US"/>
              <a:t>FOOTER / PRESENTATION NAME</a:t>
            </a:r>
          </a:p>
        </p:txBody>
      </p:sp>
      <p:sp>
        <p:nvSpPr>
          <p:cNvPr id="5" name="Slide Number Placeholder 4"/>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41927823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828B2A-4D8F-4AAE-A4EF-E5DA61129E6B}"/>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18828B2A-4D8F-4AAE-A4EF-E5DA61129E6B}"/>
                          </a:ext>
                        </a:extLst>
                      </p:cNvPr>
                      <p:cNvPicPr/>
                      <p:nvPr/>
                    </p:nvPicPr>
                    <p:blipFill>
                      <a:blip r:embed="rId5"/>
                      <a:stretch>
                        <a:fillRect/>
                      </a:stretch>
                    </p:blipFill>
                    <p:spPr>
                      <a:xfrm>
                        <a:off x="2101" y="2101"/>
                        <a:ext cx="2100" cy="2099"/>
                      </a:xfrm>
                      <a:prstGeom prst="rect">
                        <a:avLst/>
                      </a:prstGeom>
                    </p:spPr>
                  </p:pic>
                </p:oleObj>
              </mc:Fallback>
            </mc:AlternateContent>
          </a:graphicData>
        </a:graphic>
      </p:graphicFrame>
      <p:sp>
        <p:nvSpPr>
          <p:cNvPr id="9" name="Subtitle 2"/>
          <p:cNvSpPr>
            <a:spLocks noGrp="1"/>
          </p:cNvSpPr>
          <p:nvPr>
            <p:ph type="subTitle" idx="1"/>
          </p:nvPr>
        </p:nvSpPr>
        <p:spPr bwMode="gray">
          <a:xfrm>
            <a:off x="1142541" y="4731037"/>
            <a:ext cx="8384230" cy="60332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dirty="0"/>
              <a:t>Click to edit Master subtitle style</a:t>
            </a:r>
          </a:p>
        </p:txBody>
      </p:sp>
      <p:sp>
        <p:nvSpPr>
          <p:cNvPr id="2" name="Title 1"/>
          <p:cNvSpPr>
            <a:spLocks noGrp="1"/>
          </p:cNvSpPr>
          <p:nvPr>
            <p:ph type="title" hasCustomPrompt="1"/>
          </p:nvPr>
        </p:nvSpPr>
        <p:spPr>
          <a:xfrm>
            <a:off x="1142541" y="2286174"/>
            <a:ext cx="8384230" cy="2444863"/>
          </a:xfrm>
        </p:spPr>
        <p:txBody>
          <a:bodyPr tIns="0" anchor="b"/>
          <a:lstStyle>
            <a:lvl1pPr>
              <a:lnSpc>
                <a:spcPct val="70000"/>
              </a:lnSpc>
              <a:defRPr sz="7936" b="0" i="0">
                <a:solidFill>
                  <a:schemeClr val="tx1"/>
                </a:solidFill>
                <a:latin typeface="+mj-lt"/>
              </a:defRPr>
            </a:lvl1pPr>
          </a:lstStyle>
          <a:p>
            <a:r>
              <a:rPr lang="en-US" noProof="0" dirty="0"/>
              <a:t>Global Template</a:t>
            </a:r>
          </a:p>
        </p:txBody>
      </p:sp>
      <p:sp>
        <p:nvSpPr>
          <p:cNvPr id="13" name="Text Placeholder 12">
            <a:extLst>
              <a:ext uri="{FF2B5EF4-FFF2-40B4-BE49-F238E27FC236}">
                <a16:creationId xmlns:a16="http://schemas.microsoft.com/office/drawing/2014/main" id="{E4CEB5D7-12CC-4940-B511-8E9099FE97C0}"/>
              </a:ext>
            </a:extLst>
          </p:cNvPr>
          <p:cNvSpPr>
            <a:spLocks noGrp="1"/>
          </p:cNvSpPr>
          <p:nvPr>
            <p:ph type="body" sz="quarter" idx="10" hasCustomPrompt="1"/>
          </p:nvPr>
        </p:nvSpPr>
        <p:spPr>
          <a:xfrm>
            <a:off x="1142542" y="5845889"/>
            <a:ext cx="8384228" cy="466159"/>
          </a:xfrm>
        </p:spPr>
        <p:txBody>
          <a:bodyPr anchor="ctr"/>
          <a:lstStyle>
            <a:lvl1pPr>
              <a:defRPr sz="1389"/>
            </a:lvl1pPr>
            <a:lvl2pPr marL="0" indent="0">
              <a:buNone/>
              <a:defRPr/>
            </a:lvl2pPr>
          </a:lstStyle>
          <a:p>
            <a:pPr lvl="0"/>
            <a:r>
              <a:rPr lang="en-US" dirty="0"/>
              <a:t>Click to insert date</a:t>
            </a:r>
          </a:p>
        </p:txBody>
      </p:sp>
    </p:spTree>
    <p:extLst>
      <p:ext uri="{BB962C8B-B14F-4D97-AF65-F5344CB8AC3E}">
        <p14:creationId xmlns:p14="http://schemas.microsoft.com/office/powerpoint/2010/main" val="4076267450"/>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57F2C5-EE41-4EF0-BCF3-6C904DFF1E82}"/>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7170"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F57F2C5-EE41-4EF0-BCF3-6C904DFF1E82}"/>
                          </a:ext>
                        </a:extLst>
                      </p:cNvPr>
                      <p:cNvPicPr/>
                      <p:nvPr/>
                    </p:nvPicPr>
                    <p:blipFill>
                      <a:blip r:embed="rId6"/>
                      <a:stretch>
                        <a:fillRect/>
                      </a:stretch>
                    </p:blipFill>
                    <p:spPr>
                      <a:xfrm>
                        <a:off x="2101" y="2101"/>
                        <a:ext cx="2100" cy="209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B54E9-046E-4BC1-8C47-8AFBD3F30655}"/>
              </a:ext>
            </a:extLst>
          </p:cNvPr>
          <p:cNvSpPr/>
          <p:nvPr userDrawn="1">
            <p:custDataLst>
              <p:tags r:id="rId3"/>
            </p:custDataLst>
          </p:nvPr>
        </p:nvSpPr>
        <p:spPr bwMode="gray">
          <a:xfrm>
            <a:off x="0" y="0"/>
            <a:ext cx="210026" cy="209982"/>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2381" b="0" i="0" baseline="0" dirty="0">
              <a:solidFill>
                <a:schemeClr val="bg1"/>
              </a:solidFill>
              <a:latin typeface="adineue TEXT Black" panose="020B0A03020201060004" pitchFamily="34" charset="0"/>
              <a:ea typeface="+mj-ea"/>
              <a:cs typeface="+mj-cs"/>
              <a:sym typeface="adineue TEXT Black" panose="020B0A03020201060004" pitchFamily="34" charset="0"/>
            </a:endParaRPr>
          </a:p>
        </p:txBody>
      </p:sp>
      <p:sp>
        <p:nvSpPr>
          <p:cNvPr id="3" name="Titel 2"/>
          <p:cNvSpPr>
            <a:spLocks noGrp="1"/>
          </p:cNvSpPr>
          <p:nvPr>
            <p:ph type="title"/>
          </p:nvPr>
        </p:nvSpPr>
        <p:spPr bwMode="gray">
          <a:xfrm>
            <a:off x="380148" y="382168"/>
            <a:ext cx="11431705" cy="760132"/>
          </a:xfrm>
        </p:spPr>
        <p:txBody>
          <a:bodyPr/>
          <a:lstStyle>
            <a:lvl1pPr>
              <a:defRPr sz="2381" b="0"/>
            </a:lvl1pPr>
          </a:lstStyle>
          <a:p>
            <a:r>
              <a:rPr lang="en-US" noProof="0" dirty="0"/>
              <a:t>Click to edit Master title style</a:t>
            </a:r>
          </a:p>
        </p:txBody>
      </p:sp>
      <p:sp>
        <p:nvSpPr>
          <p:cNvPr id="6" name="Slide Number Placeholder 5">
            <a:extLst>
              <a:ext uri="{FF2B5EF4-FFF2-40B4-BE49-F238E27FC236}">
                <a16:creationId xmlns:a16="http://schemas.microsoft.com/office/drawing/2014/main" id="{ED8CE5AB-9F81-4DFC-858B-BCDB0A0E378A}"/>
              </a:ext>
            </a:extLst>
          </p:cNvPr>
          <p:cNvSpPr>
            <a:spLocks noGrp="1"/>
          </p:cNvSpPr>
          <p:nvPr>
            <p:ph type="sldNum" sz="quarter" idx="4"/>
          </p:nvPr>
        </p:nvSpPr>
        <p:spPr bwMode="gray">
          <a:xfrm>
            <a:off x="11811366" y="6476936"/>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922417094"/>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Footno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AE627D-0BF4-4F66-AB30-89CC360B4073}"/>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86AE627D-0BF4-4F66-AB30-89CC360B4073}"/>
                          </a:ext>
                        </a:extLst>
                      </p:cNvPr>
                      <p:cNvPicPr/>
                      <p:nvPr/>
                    </p:nvPicPr>
                    <p:blipFill>
                      <a:blip r:embed="rId6"/>
                      <a:stretch>
                        <a:fillRect/>
                      </a:stretch>
                    </p:blipFill>
                    <p:spPr>
                      <a:xfrm>
                        <a:off x="2101" y="2101"/>
                        <a:ext cx="2100" cy="209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F75970-EB71-4402-8CB0-23DFF5F8A8F6}"/>
              </a:ext>
            </a:extLst>
          </p:cNvPr>
          <p:cNvSpPr/>
          <p:nvPr userDrawn="1">
            <p:custDataLst>
              <p:tags r:id="rId3"/>
            </p:custDataLst>
          </p:nvPr>
        </p:nvSpPr>
        <p:spPr bwMode="gray">
          <a:xfrm>
            <a:off x="0" y="0"/>
            <a:ext cx="210026" cy="209982"/>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2381" b="0" i="0" baseline="0" dirty="0">
              <a:solidFill>
                <a:schemeClr val="bg1"/>
              </a:solidFill>
              <a:latin typeface="adineue TEXT Black" panose="020B0A03020201060004" pitchFamily="34" charset="0"/>
              <a:ea typeface="+mj-ea"/>
              <a:cs typeface="+mj-cs"/>
              <a:sym typeface="adineue TEXT Black" panose="020B0A03020201060004" pitchFamily="34" charset="0"/>
            </a:endParaRPr>
          </a:p>
        </p:txBody>
      </p:sp>
      <p:sp>
        <p:nvSpPr>
          <p:cNvPr id="3" name="Titel 2"/>
          <p:cNvSpPr>
            <a:spLocks noGrp="1"/>
          </p:cNvSpPr>
          <p:nvPr>
            <p:ph type="title"/>
          </p:nvPr>
        </p:nvSpPr>
        <p:spPr bwMode="gray">
          <a:xfrm>
            <a:off x="380148" y="382168"/>
            <a:ext cx="11431705" cy="760132"/>
          </a:xfrm>
        </p:spPr>
        <p:txBody>
          <a:bodyPr/>
          <a:lstStyle>
            <a:lvl1pPr>
              <a:defRPr sz="2381" b="0">
                <a:solidFill>
                  <a:schemeClr val="tx1"/>
                </a:solidFill>
              </a:defRPr>
            </a:lvl1pPr>
          </a:lstStyle>
          <a:p>
            <a:r>
              <a:rPr lang="en-US" noProof="0" dirty="0"/>
              <a:t>Click to edit Master title style</a:t>
            </a:r>
          </a:p>
        </p:txBody>
      </p:sp>
      <p:sp>
        <p:nvSpPr>
          <p:cNvPr id="6" name="Text Placeholder 5">
            <a:extLst>
              <a:ext uri="{FF2B5EF4-FFF2-40B4-BE49-F238E27FC236}">
                <a16:creationId xmlns:a16="http://schemas.microsoft.com/office/drawing/2014/main" id="{AB5A2E32-1815-451D-84B2-5E73F2F410F8}"/>
              </a:ext>
            </a:extLst>
          </p:cNvPr>
          <p:cNvSpPr>
            <a:spLocks noGrp="1"/>
          </p:cNvSpPr>
          <p:nvPr>
            <p:ph type="body" sz="quarter" idx="10" hasCustomPrompt="1"/>
          </p:nvPr>
        </p:nvSpPr>
        <p:spPr>
          <a:xfrm>
            <a:off x="380148" y="6475832"/>
            <a:ext cx="11431218" cy="314974"/>
          </a:xfrm>
        </p:spPr>
        <p:txBody>
          <a:bodyPr anchor="b"/>
          <a:lstStyle>
            <a:lvl1pPr>
              <a:spcAft>
                <a:spcPts val="0"/>
              </a:spcAft>
              <a:defRPr sz="926">
                <a:solidFill>
                  <a:schemeClr val="tx1"/>
                </a:solidFill>
              </a:defRPr>
            </a:lvl1pPr>
            <a:lvl2pPr>
              <a:defRPr sz="926"/>
            </a:lvl2pPr>
            <a:lvl3pPr>
              <a:defRPr sz="926"/>
            </a:lvl3pPr>
            <a:lvl4pPr>
              <a:defRPr sz="926"/>
            </a:lvl4pPr>
            <a:lvl5pPr>
              <a:defRPr sz="926"/>
            </a:lvl5pPr>
          </a:lstStyle>
          <a:p>
            <a:pPr lvl="0"/>
            <a:r>
              <a:rPr lang="en-US" dirty="0"/>
              <a:t>Footnote</a:t>
            </a:r>
          </a:p>
        </p:txBody>
      </p:sp>
      <p:sp>
        <p:nvSpPr>
          <p:cNvPr id="7" name="Slide Number Placeholder 5">
            <a:extLst>
              <a:ext uri="{FF2B5EF4-FFF2-40B4-BE49-F238E27FC236}">
                <a16:creationId xmlns:a16="http://schemas.microsoft.com/office/drawing/2014/main" id="{59791228-7154-4576-836A-9BB99454ADFA}"/>
              </a:ext>
            </a:extLst>
          </p:cNvPr>
          <p:cNvSpPr>
            <a:spLocks noGrp="1"/>
          </p:cNvSpPr>
          <p:nvPr>
            <p:ph type="sldNum" sz="quarter" idx="4"/>
          </p:nvPr>
        </p:nvSpPr>
        <p:spPr bwMode="gray">
          <a:xfrm>
            <a:off x="11811366" y="6476936"/>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975527100"/>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Footno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AE627D-0BF4-4F66-AB30-89CC360B4073}"/>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86AE627D-0BF4-4F66-AB30-89CC360B4073}"/>
                          </a:ext>
                        </a:extLst>
                      </p:cNvPr>
                      <p:cNvPicPr/>
                      <p:nvPr/>
                    </p:nvPicPr>
                    <p:blipFill>
                      <a:blip r:embed="rId5"/>
                      <a:stretch>
                        <a:fillRect/>
                      </a:stretch>
                    </p:blipFill>
                    <p:spPr>
                      <a:xfrm>
                        <a:off x="2101" y="2101"/>
                        <a:ext cx="2100" cy="2099"/>
                      </a:xfrm>
                      <a:prstGeom prst="rect">
                        <a:avLst/>
                      </a:prstGeom>
                    </p:spPr>
                  </p:pic>
                </p:oleObj>
              </mc:Fallback>
            </mc:AlternateContent>
          </a:graphicData>
        </a:graphic>
      </p:graphicFrame>
      <p:sp>
        <p:nvSpPr>
          <p:cNvPr id="3" name="Titel 2"/>
          <p:cNvSpPr>
            <a:spLocks noGrp="1"/>
          </p:cNvSpPr>
          <p:nvPr>
            <p:ph type="title"/>
          </p:nvPr>
        </p:nvSpPr>
        <p:spPr bwMode="gray">
          <a:xfrm>
            <a:off x="380148" y="382168"/>
            <a:ext cx="11431705" cy="760132"/>
          </a:xfrm>
        </p:spPr>
        <p:txBody>
          <a:bodyPr/>
          <a:lstStyle>
            <a:lvl1pPr>
              <a:defRPr sz="2381" b="0">
                <a:solidFill>
                  <a:schemeClr val="bg1"/>
                </a:solidFill>
              </a:defRPr>
            </a:lvl1pPr>
          </a:lstStyle>
          <a:p>
            <a:r>
              <a:rPr lang="en-US" noProof="0" dirty="0"/>
              <a:t>Click to edit Master title style</a:t>
            </a:r>
          </a:p>
        </p:txBody>
      </p:sp>
      <p:sp>
        <p:nvSpPr>
          <p:cNvPr id="6" name="Text Placeholder 5">
            <a:extLst>
              <a:ext uri="{FF2B5EF4-FFF2-40B4-BE49-F238E27FC236}">
                <a16:creationId xmlns:a16="http://schemas.microsoft.com/office/drawing/2014/main" id="{AB5A2E32-1815-451D-84B2-5E73F2F410F8}"/>
              </a:ext>
            </a:extLst>
          </p:cNvPr>
          <p:cNvSpPr>
            <a:spLocks noGrp="1"/>
          </p:cNvSpPr>
          <p:nvPr>
            <p:ph type="body" sz="quarter" idx="10" hasCustomPrompt="1"/>
          </p:nvPr>
        </p:nvSpPr>
        <p:spPr>
          <a:xfrm>
            <a:off x="380148" y="6475832"/>
            <a:ext cx="11431218" cy="314974"/>
          </a:xfrm>
        </p:spPr>
        <p:txBody>
          <a:bodyPr anchor="b"/>
          <a:lstStyle>
            <a:lvl1pPr>
              <a:spcAft>
                <a:spcPts val="0"/>
              </a:spcAft>
              <a:defRPr sz="926">
                <a:solidFill>
                  <a:schemeClr val="bg1"/>
                </a:solidFill>
              </a:defRPr>
            </a:lvl1pPr>
            <a:lvl2pPr>
              <a:defRPr sz="926"/>
            </a:lvl2pPr>
            <a:lvl3pPr>
              <a:defRPr sz="926"/>
            </a:lvl3pPr>
            <a:lvl4pPr>
              <a:defRPr sz="926"/>
            </a:lvl4pPr>
            <a:lvl5pPr>
              <a:defRPr sz="926"/>
            </a:lvl5pPr>
          </a:lstStyle>
          <a:p>
            <a:pPr lvl="0"/>
            <a:r>
              <a:rPr lang="en-US" dirty="0"/>
              <a:t>Footnote</a:t>
            </a:r>
          </a:p>
        </p:txBody>
      </p:sp>
      <p:sp>
        <p:nvSpPr>
          <p:cNvPr id="7" name="Slide Number Placeholder 5">
            <a:extLst>
              <a:ext uri="{FF2B5EF4-FFF2-40B4-BE49-F238E27FC236}">
                <a16:creationId xmlns:a16="http://schemas.microsoft.com/office/drawing/2014/main" id="{59791228-7154-4576-836A-9BB99454ADFA}"/>
              </a:ext>
            </a:extLst>
          </p:cNvPr>
          <p:cNvSpPr>
            <a:spLocks noGrp="1"/>
          </p:cNvSpPr>
          <p:nvPr>
            <p:ph type="sldNum" sz="quarter" idx="4"/>
          </p:nvPr>
        </p:nvSpPr>
        <p:spPr bwMode="gray">
          <a:xfrm>
            <a:off x="11811366" y="6476936"/>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585770384"/>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2B4175-4514-4154-ADC8-6F6BA21FF3A7}"/>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10242"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ED2B4175-4514-4154-ADC8-6F6BA21FF3A7}"/>
                          </a:ext>
                        </a:extLst>
                      </p:cNvPr>
                      <p:cNvPicPr/>
                      <p:nvPr/>
                    </p:nvPicPr>
                    <p:blipFill>
                      <a:blip r:embed="rId6"/>
                      <a:stretch>
                        <a:fillRect/>
                      </a:stretch>
                    </p:blipFill>
                    <p:spPr>
                      <a:xfrm>
                        <a:off x="2101" y="2101"/>
                        <a:ext cx="2100" cy="209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D1FB18-1F7C-426C-A9F4-F539E0DBB06C}"/>
              </a:ext>
            </a:extLst>
          </p:cNvPr>
          <p:cNvSpPr/>
          <p:nvPr userDrawn="1">
            <p:custDataLst>
              <p:tags r:id="rId3"/>
            </p:custDataLst>
          </p:nvPr>
        </p:nvSpPr>
        <p:spPr bwMode="gray">
          <a:xfrm>
            <a:off x="0" y="0"/>
            <a:ext cx="210026" cy="209982"/>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7143" b="0" i="0" baseline="0" dirty="0">
              <a:solidFill>
                <a:schemeClr val="bg1"/>
              </a:solidFill>
              <a:latin typeface="adineue TEXT Black" panose="020B0A03020201060004" pitchFamily="34" charset="0"/>
              <a:ea typeface="+mj-ea"/>
              <a:cs typeface="+mj-cs"/>
              <a:sym typeface="adineue TEXT Black" panose="020B0A03020201060004" pitchFamily="34" charset="0"/>
            </a:endParaRPr>
          </a:p>
        </p:txBody>
      </p:sp>
      <p:sp>
        <p:nvSpPr>
          <p:cNvPr id="4" name="Picture Placeholder 3"/>
          <p:cNvSpPr>
            <a:spLocks noGrp="1"/>
          </p:cNvSpPr>
          <p:nvPr>
            <p:ph type="pic" sz="quarter" idx="18"/>
          </p:nvPr>
        </p:nvSpPr>
        <p:spPr>
          <a:xfrm>
            <a:off x="5085210" y="524"/>
            <a:ext cx="7106790" cy="68569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380148" y="381465"/>
            <a:ext cx="4324430" cy="6095470"/>
          </a:xfrm>
        </p:spPr>
        <p:txBody>
          <a:bodyPr anchor="ctr"/>
          <a:lstStyle>
            <a:lvl1pPr algn="ctr">
              <a:lnSpc>
                <a:spcPct val="80000"/>
              </a:lnSpc>
              <a:defRPr sz="7143" b="0" i="0">
                <a:solidFill>
                  <a:schemeClr val="tx1"/>
                </a:solidFill>
                <a:latin typeface="adineue TEXT Black" panose="020B0A03020201060004" pitchFamily="34" charset="0"/>
              </a:defRPr>
            </a:lvl1pPr>
          </a:lstStyle>
          <a:p>
            <a:r>
              <a:rPr lang="en-US" noProof="0" dirty="0"/>
              <a:t>Click to edit Master title style</a:t>
            </a:r>
          </a:p>
        </p:txBody>
      </p:sp>
      <p:sp>
        <p:nvSpPr>
          <p:cNvPr id="9" name="Slide Number Placeholder 5">
            <a:extLst>
              <a:ext uri="{FF2B5EF4-FFF2-40B4-BE49-F238E27FC236}">
                <a16:creationId xmlns:a16="http://schemas.microsoft.com/office/drawing/2014/main" id="{6D14F403-375B-4372-84AB-E0A6366B37EF}"/>
              </a:ext>
            </a:extLst>
          </p:cNvPr>
          <p:cNvSpPr>
            <a:spLocks noGrp="1"/>
          </p:cNvSpPr>
          <p:nvPr>
            <p:ph type="sldNum" sz="quarter" idx="4"/>
          </p:nvPr>
        </p:nvSpPr>
        <p:spPr bwMode="gray">
          <a:xfrm>
            <a:off x="11811368" y="6476937"/>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738671521"/>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ll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2B4175-4514-4154-ADC8-6F6BA21FF3A7}"/>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11266"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ED2B4175-4514-4154-ADC8-6F6BA21FF3A7}"/>
                          </a:ext>
                        </a:extLst>
                      </p:cNvPr>
                      <p:cNvPicPr/>
                      <p:nvPr/>
                    </p:nvPicPr>
                    <p:blipFill>
                      <a:blip r:embed="rId6"/>
                      <a:stretch>
                        <a:fillRect/>
                      </a:stretch>
                    </p:blipFill>
                    <p:spPr>
                      <a:xfrm>
                        <a:off x="2101" y="2101"/>
                        <a:ext cx="2100" cy="209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D1FB18-1F7C-426C-A9F4-F539E0DBB06C}"/>
              </a:ext>
            </a:extLst>
          </p:cNvPr>
          <p:cNvSpPr/>
          <p:nvPr userDrawn="1">
            <p:custDataLst>
              <p:tags r:id="rId3"/>
            </p:custDataLst>
          </p:nvPr>
        </p:nvSpPr>
        <p:spPr bwMode="gray">
          <a:xfrm>
            <a:off x="0" y="0"/>
            <a:ext cx="210026" cy="209982"/>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7143" b="0" i="0" baseline="0" dirty="0">
              <a:solidFill>
                <a:schemeClr val="bg1"/>
              </a:solidFill>
              <a:latin typeface="adineue TEXT Black" panose="020B0A03020201060004" pitchFamily="34" charset="0"/>
              <a:ea typeface="+mj-ea"/>
              <a:cs typeface="+mj-cs"/>
              <a:sym typeface="adineue TEXT Black" panose="020B0A03020201060004" pitchFamily="34" charset="0"/>
            </a:endParaRPr>
          </a:p>
        </p:txBody>
      </p:sp>
      <p:sp>
        <p:nvSpPr>
          <p:cNvPr id="4" name="Picture Placeholder 3"/>
          <p:cNvSpPr>
            <a:spLocks noGrp="1"/>
          </p:cNvSpPr>
          <p:nvPr>
            <p:ph type="pic" sz="quarter" idx="18"/>
          </p:nvPr>
        </p:nvSpPr>
        <p:spPr>
          <a:xfrm>
            <a:off x="0" y="524"/>
            <a:ext cx="7106790" cy="68569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7486938" y="381465"/>
            <a:ext cx="4324430" cy="6095470"/>
          </a:xfrm>
        </p:spPr>
        <p:txBody>
          <a:bodyPr anchor="ctr"/>
          <a:lstStyle>
            <a:lvl1pPr algn="ctr">
              <a:lnSpc>
                <a:spcPct val="80000"/>
              </a:lnSpc>
              <a:defRPr sz="7143" b="0" i="0">
                <a:solidFill>
                  <a:schemeClr val="tx1"/>
                </a:solidFill>
                <a:latin typeface="adineue TEXT Black" panose="020B0A03020201060004" pitchFamily="34" charset="0"/>
              </a:defRPr>
            </a:lvl1pPr>
          </a:lstStyle>
          <a:p>
            <a:r>
              <a:rPr lang="en-US" noProof="0" dirty="0"/>
              <a:t>Click to edit Master title style</a:t>
            </a:r>
          </a:p>
        </p:txBody>
      </p:sp>
      <p:sp>
        <p:nvSpPr>
          <p:cNvPr id="9" name="Slide Number Placeholder 5">
            <a:extLst>
              <a:ext uri="{FF2B5EF4-FFF2-40B4-BE49-F238E27FC236}">
                <a16:creationId xmlns:a16="http://schemas.microsoft.com/office/drawing/2014/main" id="{6D14F403-375B-4372-84AB-E0A6366B37EF}"/>
              </a:ext>
            </a:extLst>
          </p:cNvPr>
          <p:cNvSpPr>
            <a:spLocks noGrp="1"/>
          </p:cNvSpPr>
          <p:nvPr>
            <p:ph type="sldNum" sz="quarter" idx="4"/>
          </p:nvPr>
        </p:nvSpPr>
        <p:spPr bwMode="gray">
          <a:xfrm>
            <a:off x="11811368" y="6476937"/>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126893829"/>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Coll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2B4175-4514-4154-ADC8-6F6BA21FF3A7}"/>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12290"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ED2B4175-4514-4154-ADC8-6F6BA21FF3A7}"/>
                          </a:ext>
                        </a:extLst>
                      </p:cNvPr>
                      <p:cNvPicPr/>
                      <p:nvPr/>
                    </p:nvPicPr>
                    <p:blipFill>
                      <a:blip r:embed="rId6"/>
                      <a:stretch>
                        <a:fillRect/>
                      </a:stretch>
                    </p:blipFill>
                    <p:spPr>
                      <a:xfrm>
                        <a:off x="2101" y="2101"/>
                        <a:ext cx="2100" cy="209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881F43-9CCA-47FC-8BB6-63DBECD722FF}"/>
              </a:ext>
            </a:extLst>
          </p:cNvPr>
          <p:cNvSpPr/>
          <p:nvPr userDrawn="1">
            <p:custDataLst>
              <p:tags r:id="rId3"/>
            </p:custDataLst>
          </p:nvPr>
        </p:nvSpPr>
        <p:spPr bwMode="gray">
          <a:xfrm>
            <a:off x="0" y="0"/>
            <a:ext cx="210026" cy="209982"/>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7143" b="0" i="0" baseline="0" dirty="0">
              <a:solidFill>
                <a:schemeClr val="bg1"/>
              </a:solidFill>
              <a:latin typeface="adineue TEXT Black" panose="020B0A03020201060004" pitchFamily="34" charset="0"/>
              <a:ea typeface="+mj-ea"/>
              <a:cs typeface="+mj-cs"/>
              <a:sym typeface="adineue TEXT Black" panose="020B0A03020201060004" pitchFamily="34" charset="0"/>
            </a:endParaRPr>
          </a:p>
        </p:txBody>
      </p:sp>
      <p:sp>
        <p:nvSpPr>
          <p:cNvPr id="4" name="Picture Placeholder 3"/>
          <p:cNvSpPr>
            <a:spLocks noGrp="1"/>
          </p:cNvSpPr>
          <p:nvPr>
            <p:ph type="pic" sz="quarter" idx="18"/>
          </p:nvPr>
        </p:nvSpPr>
        <p:spPr>
          <a:xfrm>
            <a:off x="6762108" y="524"/>
            <a:ext cx="2714791" cy="68569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8" name="Picture Placeholder 3"/>
          <p:cNvSpPr>
            <a:spLocks noGrp="1"/>
          </p:cNvSpPr>
          <p:nvPr>
            <p:ph type="pic" sz="quarter" idx="23"/>
          </p:nvPr>
        </p:nvSpPr>
        <p:spPr>
          <a:xfrm>
            <a:off x="4047387" y="525"/>
            <a:ext cx="2714791" cy="2286177"/>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0" name="Picture Placeholder 3"/>
          <p:cNvSpPr>
            <a:spLocks noGrp="1"/>
          </p:cNvSpPr>
          <p:nvPr>
            <p:ph type="pic" sz="quarter" idx="25"/>
          </p:nvPr>
        </p:nvSpPr>
        <p:spPr>
          <a:xfrm>
            <a:off x="4046906" y="2286703"/>
            <a:ext cx="2714791" cy="4570773"/>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9" name="Picture Placeholder 3">
            <a:extLst>
              <a:ext uri="{FF2B5EF4-FFF2-40B4-BE49-F238E27FC236}">
                <a16:creationId xmlns:a16="http://schemas.microsoft.com/office/drawing/2014/main" id="{F8239B8A-8675-45CE-8CD4-AA2D20CEA767}"/>
              </a:ext>
            </a:extLst>
          </p:cNvPr>
          <p:cNvSpPr>
            <a:spLocks noGrp="1"/>
          </p:cNvSpPr>
          <p:nvPr>
            <p:ph type="pic" sz="quarter" idx="27"/>
          </p:nvPr>
        </p:nvSpPr>
        <p:spPr>
          <a:xfrm>
            <a:off x="9476728" y="524"/>
            <a:ext cx="2714791" cy="4570773"/>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0" name="Picture Placeholder 3">
            <a:extLst>
              <a:ext uri="{FF2B5EF4-FFF2-40B4-BE49-F238E27FC236}">
                <a16:creationId xmlns:a16="http://schemas.microsoft.com/office/drawing/2014/main" id="{2287F104-3702-44AF-9DA3-9AAC1F7493E3}"/>
              </a:ext>
            </a:extLst>
          </p:cNvPr>
          <p:cNvSpPr>
            <a:spLocks noGrp="1"/>
          </p:cNvSpPr>
          <p:nvPr>
            <p:ph type="pic" sz="quarter" idx="26"/>
          </p:nvPr>
        </p:nvSpPr>
        <p:spPr>
          <a:xfrm>
            <a:off x="9476898" y="4571823"/>
            <a:ext cx="2714791" cy="2286177"/>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7" name="Slide Number Placeholder 5">
            <a:extLst>
              <a:ext uri="{FF2B5EF4-FFF2-40B4-BE49-F238E27FC236}">
                <a16:creationId xmlns:a16="http://schemas.microsoft.com/office/drawing/2014/main" id="{EB0B30EC-4B9E-4E97-BFC6-66680BA58FDF}"/>
              </a:ext>
            </a:extLst>
          </p:cNvPr>
          <p:cNvSpPr>
            <a:spLocks noGrp="1"/>
          </p:cNvSpPr>
          <p:nvPr>
            <p:ph type="sldNum" sz="quarter" idx="4"/>
          </p:nvPr>
        </p:nvSpPr>
        <p:spPr bwMode="gray">
          <a:xfrm>
            <a:off x="11811366" y="6476936"/>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
        <p:nvSpPr>
          <p:cNvPr id="11" name="Titel 2">
            <a:extLst>
              <a:ext uri="{FF2B5EF4-FFF2-40B4-BE49-F238E27FC236}">
                <a16:creationId xmlns:a16="http://schemas.microsoft.com/office/drawing/2014/main" id="{E3DE4379-1249-44DC-94AF-4CC09A721BEF}"/>
              </a:ext>
            </a:extLst>
          </p:cNvPr>
          <p:cNvSpPr>
            <a:spLocks noGrp="1"/>
          </p:cNvSpPr>
          <p:nvPr>
            <p:ph type="title"/>
          </p:nvPr>
        </p:nvSpPr>
        <p:spPr bwMode="gray">
          <a:xfrm>
            <a:off x="380149" y="381465"/>
            <a:ext cx="3285804" cy="6095470"/>
          </a:xfrm>
        </p:spPr>
        <p:txBody>
          <a:bodyPr anchor="ctr"/>
          <a:lstStyle>
            <a:lvl1pPr algn="ctr">
              <a:lnSpc>
                <a:spcPct val="80000"/>
              </a:lnSpc>
              <a:defRPr sz="7143" b="0" i="0">
                <a:solidFill>
                  <a:schemeClr val="tx1"/>
                </a:solidFill>
                <a:latin typeface="adineue TEXT Black" panose="020B0A03020201060004" pitchFamily="34" charset="0"/>
              </a:defRPr>
            </a:lvl1pPr>
          </a:lstStyle>
          <a:p>
            <a:r>
              <a:rPr lang="en-US" noProof="0" dirty="0"/>
              <a:t>Click to edit Master title style</a:t>
            </a:r>
          </a:p>
        </p:txBody>
      </p:sp>
    </p:spTree>
    <p:extLst>
      <p:ext uri="{BB962C8B-B14F-4D97-AF65-F5344CB8AC3E}">
        <p14:creationId xmlns:p14="http://schemas.microsoft.com/office/powerpoint/2010/main" val="3855069345"/>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Coll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2B4175-4514-4154-ADC8-6F6BA21FF3A7}"/>
              </a:ext>
            </a:extLst>
          </p:cNvPr>
          <p:cNvGraphicFramePr>
            <a:graphicFrameLocks noChangeAspect="1"/>
          </p:cNvGraphicFramePr>
          <p:nvPr userDrawn="1">
            <p:custDataLst>
              <p:tags r:id="rId2"/>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13314"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ED2B4175-4514-4154-ADC8-6F6BA21FF3A7}"/>
                          </a:ext>
                        </a:extLst>
                      </p:cNvPr>
                      <p:cNvPicPr/>
                      <p:nvPr/>
                    </p:nvPicPr>
                    <p:blipFill>
                      <a:blip r:embed="rId6"/>
                      <a:stretch>
                        <a:fillRect/>
                      </a:stretch>
                    </p:blipFill>
                    <p:spPr>
                      <a:xfrm>
                        <a:off x="2101" y="2101"/>
                        <a:ext cx="2100" cy="209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881F43-9CCA-47FC-8BB6-63DBECD722FF}"/>
              </a:ext>
            </a:extLst>
          </p:cNvPr>
          <p:cNvSpPr/>
          <p:nvPr userDrawn="1">
            <p:custDataLst>
              <p:tags r:id="rId3"/>
            </p:custDataLst>
          </p:nvPr>
        </p:nvSpPr>
        <p:spPr bwMode="gray">
          <a:xfrm>
            <a:off x="0" y="0"/>
            <a:ext cx="210026" cy="209982"/>
          </a:xfrm>
          <a:prstGeom prst="rect">
            <a:avLst/>
          </a:prstGeom>
          <a:solidFill>
            <a:schemeClr val="accent3"/>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7143" b="0" i="0" baseline="0" dirty="0">
              <a:solidFill>
                <a:schemeClr val="bg1"/>
              </a:solidFill>
              <a:latin typeface="adineue TEXT Black" panose="020B0A03020201060004" pitchFamily="34" charset="0"/>
              <a:ea typeface="+mj-ea"/>
              <a:cs typeface="+mj-cs"/>
              <a:sym typeface="adineue TEXT Black" panose="020B0A03020201060004" pitchFamily="34" charset="0"/>
            </a:endParaRPr>
          </a:p>
        </p:txBody>
      </p:sp>
      <p:sp>
        <p:nvSpPr>
          <p:cNvPr id="18" name="Picture Placeholder 3"/>
          <p:cNvSpPr>
            <a:spLocks noGrp="1"/>
          </p:cNvSpPr>
          <p:nvPr>
            <p:ph type="pic" sz="quarter" idx="23"/>
          </p:nvPr>
        </p:nvSpPr>
        <p:spPr>
          <a:xfrm>
            <a:off x="4201" y="525"/>
            <a:ext cx="3810232" cy="2286177"/>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0" name="Picture Placeholder 3"/>
          <p:cNvSpPr>
            <a:spLocks noGrp="1"/>
          </p:cNvSpPr>
          <p:nvPr>
            <p:ph type="pic" sz="quarter" idx="25"/>
          </p:nvPr>
        </p:nvSpPr>
        <p:spPr>
          <a:xfrm>
            <a:off x="3719" y="2286703"/>
            <a:ext cx="3810232" cy="4570773"/>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9" name="Picture Placeholder 3">
            <a:extLst>
              <a:ext uri="{FF2B5EF4-FFF2-40B4-BE49-F238E27FC236}">
                <a16:creationId xmlns:a16="http://schemas.microsoft.com/office/drawing/2014/main" id="{F8239B8A-8675-45CE-8CD4-AA2D20CEA767}"/>
              </a:ext>
            </a:extLst>
          </p:cNvPr>
          <p:cNvSpPr>
            <a:spLocks noGrp="1"/>
          </p:cNvSpPr>
          <p:nvPr>
            <p:ph type="pic" sz="quarter" idx="27"/>
          </p:nvPr>
        </p:nvSpPr>
        <p:spPr>
          <a:xfrm>
            <a:off x="3814433" y="525"/>
            <a:ext cx="3810232" cy="3954330"/>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0" name="Picture Placeholder 3">
            <a:extLst>
              <a:ext uri="{FF2B5EF4-FFF2-40B4-BE49-F238E27FC236}">
                <a16:creationId xmlns:a16="http://schemas.microsoft.com/office/drawing/2014/main" id="{2287F104-3702-44AF-9DA3-9AAC1F7493E3}"/>
              </a:ext>
            </a:extLst>
          </p:cNvPr>
          <p:cNvSpPr>
            <a:spLocks noGrp="1"/>
          </p:cNvSpPr>
          <p:nvPr>
            <p:ph type="pic" sz="quarter" idx="26"/>
          </p:nvPr>
        </p:nvSpPr>
        <p:spPr>
          <a:xfrm>
            <a:off x="3814604" y="3954854"/>
            <a:ext cx="3810232" cy="2903146"/>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7" name="Slide Number Placeholder 5">
            <a:extLst>
              <a:ext uri="{FF2B5EF4-FFF2-40B4-BE49-F238E27FC236}">
                <a16:creationId xmlns:a16="http://schemas.microsoft.com/office/drawing/2014/main" id="{EB0B30EC-4B9E-4E97-BFC6-66680BA58FDF}"/>
              </a:ext>
            </a:extLst>
          </p:cNvPr>
          <p:cNvSpPr>
            <a:spLocks noGrp="1"/>
          </p:cNvSpPr>
          <p:nvPr>
            <p:ph type="sldNum" sz="quarter" idx="4"/>
          </p:nvPr>
        </p:nvSpPr>
        <p:spPr bwMode="gray">
          <a:xfrm>
            <a:off x="11811366" y="6476936"/>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
        <p:nvSpPr>
          <p:cNvPr id="11" name="Titel 2">
            <a:extLst>
              <a:ext uri="{FF2B5EF4-FFF2-40B4-BE49-F238E27FC236}">
                <a16:creationId xmlns:a16="http://schemas.microsoft.com/office/drawing/2014/main" id="{E3DE4379-1249-44DC-94AF-4CC09A721BEF}"/>
              </a:ext>
            </a:extLst>
          </p:cNvPr>
          <p:cNvSpPr>
            <a:spLocks noGrp="1"/>
          </p:cNvSpPr>
          <p:nvPr>
            <p:ph type="title"/>
          </p:nvPr>
        </p:nvSpPr>
        <p:spPr bwMode="gray">
          <a:xfrm>
            <a:off x="8001134" y="381465"/>
            <a:ext cx="3810232" cy="6095470"/>
          </a:xfrm>
        </p:spPr>
        <p:txBody>
          <a:bodyPr anchor="ctr"/>
          <a:lstStyle>
            <a:lvl1pPr algn="ctr">
              <a:lnSpc>
                <a:spcPct val="80000"/>
              </a:lnSpc>
              <a:defRPr sz="7143" b="0" i="0">
                <a:solidFill>
                  <a:schemeClr val="tx1"/>
                </a:solidFill>
                <a:latin typeface="adineue TEXT Black" panose="020B0A03020201060004" pitchFamily="34" charset="0"/>
              </a:defRPr>
            </a:lvl1pPr>
          </a:lstStyle>
          <a:p>
            <a:r>
              <a:rPr lang="en-US" noProof="0" dirty="0"/>
              <a:t>Click to edit Master title style</a:t>
            </a:r>
          </a:p>
        </p:txBody>
      </p:sp>
    </p:spTree>
    <p:extLst>
      <p:ext uri="{BB962C8B-B14F-4D97-AF65-F5344CB8AC3E}">
        <p14:creationId xmlns:p14="http://schemas.microsoft.com/office/powerpoint/2010/main" val="517388396"/>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Company">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1"/>
          </a:solidFill>
          <a:ln>
            <a:noFill/>
          </a:ln>
        </p:spPr>
        <p:txBody>
          <a:bodyPr tIns="678733" anchor="ctr" anchorCtr="0"/>
          <a:lstStyle>
            <a:lvl1pPr algn="ctr">
              <a:lnSpc>
                <a:spcPct val="100000"/>
              </a:lnSpc>
              <a:spcAft>
                <a:spcPts val="0"/>
              </a:spcAft>
              <a:defRPr sz="1344">
                <a:solidFill>
                  <a:schemeClr val="bg2"/>
                </a:solidFill>
              </a:defRPr>
            </a:lvl1pPr>
          </a:lstStyle>
          <a:p>
            <a:pPr lvl="0"/>
            <a:r>
              <a:rPr lang="en-US" noProof="0" dirty="0"/>
              <a:t>Click icon to add picture</a:t>
            </a:r>
          </a:p>
        </p:txBody>
      </p:sp>
      <p:sp>
        <p:nvSpPr>
          <p:cNvPr id="9"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tx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6pPr>
            <a:lvl7pPr marL="0" indent="0" algn="l">
              <a:lnSpc>
                <a:spcPct val="100000"/>
              </a:lnSpc>
              <a:spcBef>
                <a:spcPts val="0"/>
              </a:spcBef>
              <a:spcAft>
                <a:spcPts val="1190"/>
              </a:spcAft>
              <a:buNone/>
              <a:defRPr sz="1852" b="0" cap="all" baseline="0">
                <a:solidFill>
                  <a:schemeClr val="tx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tx1"/>
                </a:solidFill>
                <a:latin typeface="adiText Light Beta" pitchFamily="34" charset="0"/>
              </a:defRPr>
            </a:lvl8pPr>
            <a:lvl9pPr marL="0" indent="0" algn="l">
              <a:lnSpc>
                <a:spcPct val="100000"/>
              </a:lnSpc>
              <a:spcBef>
                <a:spcPts val="0"/>
              </a:spcBef>
              <a:spcAft>
                <a:spcPts val="1190"/>
              </a:spcAft>
              <a:buNone/>
              <a:defRPr sz="1852" b="0" cap="all" baseline="0">
                <a:solidFill>
                  <a:schemeClr val="tx1"/>
                </a:solidFill>
                <a:latin typeface="adiText Light Beta" pitchFamily="34" charset="0"/>
              </a:defRPr>
            </a:lvl9pPr>
          </a:lstStyle>
          <a:p>
            <a:pPr lvl="0"/>
            <a:r>
              <a:rPr lang="en-US" noProof="0" dirty="0"/>
              <a:t>Click to edit Master subtitle style</a:t>
            </a:r>
          </a:p>
        </p:txBody>
      </p:sp>
      <p:sp>
        <p:nvSpPr>
          <p:cNvPr id="2" name="Title 1"/>
          <p:cNvSpPr>
            <a:spLocks noGrp="1"/>
          </p:cNvSpPr>
          <p:nvPr>
            <p:ph type="title" hasCustomPrompt="1"/>
          </p:nvPr>
        </p:nvSpPr>
        <p:spPr>
          <a:xfrm>
            <a:off x="1142542" y="2286174"/>
            <a:ext cx="6477197" cy="2444863"/>
          </a:xfrm>
        </p:spPr>
        <p:txBody>
          <a:bodyPr tIns="0" anchor="b"/>
          <a:lstStyle>
            <a:lvl1pPr>
              <a:lnSpc>
                <a:spcPct val="70000"/>
              </a:lnSpc>
              <a:defRPr sz="6349" b="0" i="0">
                <a:solidFill>
                  <a:schemeClr val="tx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4FD55A66-EC97-4214-9CB0-5624D1302067}"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11"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439727138"/>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Badge of Sport">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tx1"/>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
        <p:nvSpPr>
          <p:cNvPr id="10" name="Date Placeholder 2"/>
          <p:cNvSpPr>
            <a:spLocks noGrp="1"/>
          </p:cNvSpPr>
          <p:nvPr>
            <p:ph type="dt" sz="half" idx="15"/>
          </p:nvPr>
        </p:nvSpPr>
        <p:spPr>
          <a:xfrm>
            <a:off x="10287794" y="6951653"/>
            <a:ext cx="1143218" cy="379993"/>
          </a:xfrm>
        </p:spPr>
        <p:txBody>
          <a:bodyPr/>
          <a:lstStyle/>
          <a:p>
            <a:pPr>
              <a:defRPr/>
            </a:pPr>
            <a:fld id="{BB194DC6-080C-486F-ADEC-4BD4ADE92806}" type="datetime5">
              <a:rPr lang="en-US" smtClean="0"/>
              <a:t>6-Oct-21</a:t>
            </a:fld>
            <a:endParaRPr lang="en-US" dirty="0"/>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64485996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963DB5-70E6-40B7-B193-A90425562AC1}" type="datetime5">
              <a:rPr lang="en-US" smtClean="0"/>
              <a:t>6-Oct-21</a:t>
            </a:fld>
            <a:endParaRPr lang="en-US"/>
          </a:p>
        </p:txBody>
      </p:sp>
      <p:sp>
        <p:nvSpPr>
          <p:cNvPr id="3" name="Footer Placeholder 2"/>
          <p:cNvSpPr>
            <a:spLocks noGrp="1"/>
          </p:cNvSpPr>
          <p:nvPr>
            <p:ph type="ftr" sz="quarter" idx="11"/>
          </p:nvPr>
        </p:nvSpPr>
        <p:spPr/>
        <p:txBody>
          <a:bodyPr/>
          <a:lstStyle/>
          <a:p>
            <a:r>
              <a:rPr lang="en-US"/>
              <a:t>FOOTER / PRESENTATION NAME</a:t>
            </a:r>
          </a:p>
        </p:txBody>
      </p:sp>
      <p:sp>
        <p:nvSpPr>
          <p:cNvPr id="4" name="Slide Number Placeholder 3"/>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15393669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Originals">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1E82C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7CFC7D2D-E793-4358-829E-42D804FE8BDA}"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Tree>
    <p:extLst>
      <p:ext uri="{BB962C8B-B14F-4D97-AF65-F5344CB8AC3E}">
        <p14:creationId xmlns:p14="http://schemas.microsoft.com/office/powerpoint/2010/main" val="2857678796"/>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Y-3">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rgbClr val="F39323"/>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5FDF63DB-B4B4-47C0-A695-0CC944C0EC8F}"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Tree>
    <p:extLst>
      <p:ext uri="{BB962C8B-B14F-4D97-AF65-F5344CB8AC3E}">
        <p14:creationId xmlns:p14="http://schemas.microsoft.com/office/powerpoint/2010/main" val="3655698143"/>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Stella">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12192000"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78733" anchor="ctr" anchorCtr="0"/>
          <a:lstStyle>
            <a:lvl1pPr algn="ctr">
              <a:lnSpc>
                <a:spcPct val="100000"/>
              </a:lnSpc>
              <a:spcAft>
                <a:spcPts val="0"/>
              </a:spcAft>
              <a:defRPr sz="1344">
                <a:solidFill>
                  <a:schemeClr val="bg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5522"/>
            <a:ext cx="6477197" cy="2444863"/>
          </a:xfrm>
        </p:spPr>
        <p:txBody>
          <a:bodyPr tIns="0" anchor="b"/>
          <a:lstStyle>
            <a:lvl1pPr>
              <a:lnSpc>
                <a:spcPct val="70000"/>
              </a:lnSpc>
              <a:defRPr sz="6349" b="0" i="0">
                <a:solidFill>
                  <a:schemeClr val="bg1"/>
                </a:solidFill>
                <a:latin typeface="adineue PRO Black" pitchFamily="34" charset="0"/>
              </a:defRPr>
            </a:lvl1pPr>
          </a:lstStyle>
          <a:p>
            <a:r>
              <a:rPr lang="en-US" noProof="0" dirty="0"/>
              <a:t>Global Template</a:t>
            </a:r>
          </a:p>
        </p:txBody>
      </p:sp>
      <p:sp>
        <p:nvSpPr>
          <p:cNvPr id="3" name="Date Placeholder 2"/>
          <p:cNvSpPr>
            <a:spLocks noGrp="1"/>
          </p:cNvSpPr>
          <p:nvPr>
            <p:ph type="dt" sz="half" idx="15"/>
          </p:nvPr>
        </p:nvSpPr>
        <p:spPr>
          <a:xfrm>
            <a:off x="10287794" y="6951653"/>
            <a:ext cx="1143218" cy="379993"/>
          </a:xfrm>
        </p:spPr>
        <p:txBody>
          <a:bodyPr/>
          <a:lstStyle/>
          <a:p>
            <a:pPr>
              <a:defRPr/>
            </a:pPr>
            <a:fld id="{2187733B-632D-4B56-85D1-D4DA917731F7}" type="datetime5">
              <a:rPr lang="en-US" smtClean="0"/>
              <a:t>6-Oct-21</a:t>
            </a:fld>
            <a:endParaRPr lang="en-US" dirty="0"/>
          </a:p>
        </p:txBody>
      </p:sp>
      <p:sp>
        <p:nvSpPr>
          <p:cNvPr id="4"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5" name="Slide Number Placeholder 4"/>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
        <p:nvSpPr>
          <p:cNvPr id="8" name="Subtitle 2"/>
          <p:cNvSpPr>
            <a:spLocks noGrp="1"/>
          </p:cNvSpPr>
          <p:nvPr>
            <p:ph type="subTitle" idx="1"/>
          </p:nvPr>
        </p:nvSpPr>
        <p:spPr bwMode="gray">
          <a:xfrm>
            <a:off x="1142542" y="4572127"/>
            <a:ext cx="6477197" cy="762233"/>
          </a:xfrm>
        </p:spPr>
        <p:txBody>
          <a:bodyPr tIns="72000" anchor="t" anchorCtr="0"/>
          <a:lstStyle>
            <a:lvl1pPr marL="0" indent="0" algn="l">
              <a:lnSpc>
                <a:spcPct val="100000"/>
              </a:lnSpc>
              <a:spcBef>
                <a:spcPts val="0"/>
              </a:spcBef>
              <a:spcAft>
                <a:spcPts val="1190"/>
              </a:spcAft>
              <a:buNone/>
              <a:defRPr sz="1852" b="0" i="0" cap="all" spc="0" baseline="0">
                <a:solidFill>
                  <a:schemeClr val="bg1"/>
                </a:solidFill>
                <a:latin typeface="adineue TEXT Light" panose="020B0303020201060004" pitchFamily="34" charset="0"/>
                <a:cs typeface="AdihausDIN" panose="020B0504020101020102" pitchFamily="34" charset="0"/>
              </a:defRPr>
            </a:lvl1pPr>
            <a:lvl2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2pPr>
            <a:lvl3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3pPr>
            <a:lvl4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4pPr>
            <a:lvl5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5pPr>
            <a:lvl6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6pPr>
            <a:lvl7pPr marL="0" indent="0" algn="l">
              <a:lnSpc>
                <a:spcPct val="100000"/>
              </a:lnSpc>
              <a:spcBef>
                <a:spcPts val="0"/>
              </a:spcBef>
              <a:spcAft>
                <a:spcPts val="1190"/>
              </a:spcAft>
              <a:buNone/>
              <a:defRPr sz="1852" b="0" cap="all" baseline="0">
                <a:solidFill>
                  <a:schemeClr val="bg1"/>
                </a:solidFill>
                <a:latin typeface="adiText Light Beta" pitchFamily="34" charset="0"/>
              </a:defRPr>
            </a:lvl7pPr>
            <a:lvl8pPr marL="0" indent="0" algn="l">
              <a:lnSpc>
                <a:spcPct val="100000"/>
              </a:lnSpc>
              <a:spcBef>
                <a:spcPts val="0"/>
              </a:spcBef>
              <a:spcAft>
                <a:spcPts val="1190"/>
              </a:spcAft>
              <a:buFont typeface="AdihausDIN" panose="020B0604020202020204" pitchFamily="34" charset="0"/>
              <a:buNone/>
              <a:defRPr sz="1852" b="0" cap="all" baseline="0">
                <a:solidFill>
                  <a:schemeClr val="bg1"/>
                </a:solidFill>
                <a:latin typeface="adiText Light Beta" pitchFamily="34" charset="0"/>
              </a:defRPr>
            </a:lvl8pPr>
            <a:lvl9pPr marL="0" indent="0" algn="l">
              <a:lnSpc>
                <a:spcPct val="100000"/>
              </a:lnSpc>
              <a:spcBef>
                <a:spcPts val="0"/>
              </a:spcBef>
              <a:spcAft>
                <a:spcPts val="1190"/>
              </a:spcAft>
              <a:buNone/>
              <a:defRPr sz="1852" b="0" cap="all" baseline="0">
                <a:solidFill>
                  <a:schemeClr val="bg1"/>
                </a:solidFill>
                <a:latin typeface="adiText Light Beta" pitchFamily="34" charset="0"/>
              </a:defRPr>
            </a:lvl9pPr>
          </a:lstStyle>
          <a:p>
            <a:pPr lvl="0"/>
            <a:r>
              <a:rPr lang="en-US" noProof="0" dirty="0"/>
              <a:t>Click to edit Master subtitle style</a:t>
            </a:r>
          </a:p>
        </p:txBody>
      </p:sp>
    </p:spTree>
    <p:extLst>
      <p:ext uri="{BB962C8B-B14F-4D97-AF65-F5344CB8AC3E}">
        <p14:creationId xmlns:p14="http://schemas.microsoft.com/office/powerpoint/2010/main" val="4225581044"/>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1"/>
            <a:ext cx="12192000" cy="6858000"/>
          </a:xfrm>
          <a:solidFill>
            <a:schemeClr val="bg2"/>
          </a:solidFill>
        </p:spPr>
        <p:txBody>
          <a:bodyPr anchor="ctr"/>
          <a:lstStyle>
            <a:lvl1pPr algn="ctr">
              <a:defRPr>
                <a:solidFill>
                  <a:schemeClr val="bg1"/>
                </a:solidFill>
              </a:defRPr>
            </a:lvl1pPr>
          </a:lstStyle>
          <a:p>
            <a:r>
              <a:rPr lang="en-US" noProof="0" dirty="0"/>
              <a:t>Click icon to add picture</a:t>
            </a:r>
          </a:p>
        </p:txBody>
      </p:sp>
      <p:sp>
        <p:nvSpPr>
          <p:cNvPr id="2" name="Title 1"/>
          <p:cNvSpPr>
            <a:spLocks noGrp="1"/>
          </p:cNvSpPr>
          <p:nvPr>
            <p:ph type="ctrTitle" hasCustomPrompt="1"/>
          </p:nvPr>
        </p:nvSpPr>
        <p:spPr bwMode="gray">
          <a:xfrm>
            <a:off x="1142062" y="1143048"/>
            <a:ext cx="5335134" cy="1143653"/>
          </a:xfrm>
        </p:spPr>
        <p:txBody>
          <a:bodyPr lIns="0" anchor="t"/>
          <a:lstStyle>
            <a:lvl1pPr algn="l">
              <a:lnSpc>
                <a:spcPct val="100000"/>
              </a:lnSpc>
              <a:defRPr sz="5291" b="0" i="0" cap="all" spc="0" baseline="0">
                <a:solidFill>
                  <a:schemeClr val="bg1"/>
                </a:solidFill>
                <a:latin typeface="adineue TEXT Black" panose="020B0A03020201060004" pitchFamily="34" charset="0"/>
              </a:defRPr>
            </a:lvl1pPr>
          </a:lstStyle>
          <a:p>
            <a:r>
              <a:rPr lang="en-US" noProof="0" dirty="0"/>
              <a:t>Content</a:t>
            </a:r>
          </a:p>
        </p:txBody>
      </p:sp>
      <p:sp>
        <p:nvSpPr>
          <p:cNvPr id="6" name="Text Placeholder 5"/>
          <p:cNvSpPr>
            <a:spLocks noGrp="1"/>
          </p:cNvSpPr>
          <p:nvPr>
            <p:ph type="body" sz="quarter" idx="10" hasCustomPrompt="1"/>
          </p:nvPr>
        </p:nvSpPr>
        <p:spPr bwMode="gray">
          <a:xfrm>
            <a:off x="2667579" y="2667015"/>
            <a:ext cx="6476999" cy="3428752"/>
          </a:xfrm>
        </p:spPr>
        <p:txBody>
          <a:bodyPr anchor="t" anchorCtr="0"/>
          <a:lstStyle>
            <a:lvl1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defRPr>
            </a:lvl1pPr>
            <a:lvl2pPr marL="0" indent="0" algn="l">
              <a:lnSpc>
                <a:spcPct val="80000"/>
              </a:lnSpc>
              <a:spcBef>
                <a:spcPts val="0"/>
              </a:spcBef>
              <a:spcAft>
                <a:spcPts val="1323"/>
              </a:spcAft>
              <a:buClrTx/>
              <a:buSzPct val="90000"/>
              <a:buFont typeface="+mj-lt"/>
              <a:buNone/>
              <a:defRPr sz="1587" b="0" i="0" cap="all" baseline="0">
                <a:solidFill>
                  <a:schemeClr val="bg1"/>
                </a:solidFill>
                <a:latin typeface="+mn-lt"/>
                <a:cs typeface="AdihausDIN" panose="020B0504020101020102" pitchFamily="34" charset="0"/>
              </a:defRPr>
            </a:lvl2pPr>
            <a:lvl3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3pPr>
            <a:lvl4pPr marL="380938" indent="-380938" algn="l">
              <a:lnSpc>
                <a:spcPct val="80000"/>
              </a:lnSpc>
              <a:spcBef>
                <a:spcPts val="0"/>
              </a:spcBef>
              <a:spcAft>
                <a:spcPts val="1323"/>
              </a:spcAft>
              <a:buClrTx/>
              <a:buSzPct val="90000"/>
              <a:buFont typeface="+mj-lt"/>
              <a:buAutoNum type="arabicPeriod"/>
              <a:defRPr sz="1587" b="0" i="0" cap="all" baseline="0">
                <a:solidFill>
                  <a:schemeClr val="bg1"/>
                </a:solidFill>
                <a:latin typeface="+mn-lt"/>
                <a:cs typeface="AdihausDIN" panose="020B0504020101020102" pitchFamily="34" charset="0"/>
              </a:defRPr>
            </a:lvl4pPr>
            <a:lvl5pPr marL="380938" indent="-380938" algn="l">
              <a:lnSpc>
                <a:spcPct val="80000"/>
              </a:lnSpc>
              <a:spcBef>
                <a:spcPts val="0"/>
              </a:spcBef>
              <a:spcAft>
                <a:spcPts val="1323"/>
              </a:spcAft>
              <a:buClrTx/>
              <a:buSzPct val="90000"/>
              <a:defRPr sz="1587" b="0" i="0" cap="all" baseline="0">
                <a:solidFill>
                  <a:schemeClr val="bg1"/>
                </a:solidFill>
                <a:latin typeface="+mn-lt"/>
                <a:cs typeface="AdihausDIN" panose="020B0504020101020102" pitchFamily="34" charset="0"/>
              </a:defRPr>
            </a:lvl5pPr>
            <a:lvl6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6pPr>
            <a:lvl7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7pPr>
            <a:lvl8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8pPr>
            <a:lvl9pPr marL="380938" indent="-380938" algn="l">
              <a:lnSpc>
                <a:spcPct val="80000"/>
              </a:lnSpc>
              <a:spcBef>
                <a:spcPts val="0"/>
              </a:spcBef>
              <a:spcAft>
                <a:spcPts val="1323"/>
              </a:spcAft>
              <a:buClrTx/>
              <a:buFont typeface="+mj-lt"/>
              <a:buAutoNum type="arabicPeriod"/>
              <a:defRPr sz="1587" b="0" cap="all" baseline="0">
                <a:solidFill>
                  <a:schemeClr val="bg1"/>
                </a:solidFill>
                <a:latin typeface="+mn-lt"/>
                <a:cs typeface="AdihausDIN" panose="020B0504020101020102" pitchFamily="34" charset="0"/>
              </a:defRPr>
            </a:lvl9pPr>
          </a:lstStyle>
          <a:p>
            <a:pPr lvl="0"/>
            <a:r>
              <a:rPr lang="en-US" noProof="0" dirty="0"/>
              <a:t>ADD AN AGENDA POINT HERE</a:t>
            </a:r>
          </a:p>
        </p:txBody>
      </p:sp>
      <p:sp>
        <p:nvSpPr>
          <p:cNvPr id="8" name="Date Placeholder 2"/>
          <p:cNvSpPr>
            <a:spLocks noGrp="1"/>
          </p:cNvSpPr>
          <p:nvPr>
            <p:ph type="dt" sz="half" idx="15"/>
          </p:nvPr>
        </p:nvSpPr>
        <p:spPr>
          <a:xfrm>
            <a:off x="10287794" y="6951653"/>
            <a:ext cx="1143218" cy="379993"/>
          </a:xfrm>
        </p:spPr>
        <p:txBody>
          <a:bodyPr/>
          <a:lstStyle/>
          <a:p>
            <a:pPr>
              <a:defRPr/>
            </a:pPr>
            <a:fld id="{25812EA7-0233-4F54-8EA9-629552367A33}" type="datetime5">
              <a:rPr lang="en-US" smtClean="0"/>
              <a:t>6-Oct-21</a:t>
            </a:fld>
            <a:endParaRPr lang="en-US" dirty="0"/>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720456000"/>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 Focus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0294" y="762235"/>
            <a:ext cx="10669312" cy="5333533"/>
          </a:xfrm>
          <a:custGeom>
            <a:avLst/>
            <a:gdLst/>
            <a:ahLst/>
            <a:cxnLst/>
            <a:rect l="l" t="t" r="r" b="b"/>
            <a:pathLst>
              <a:path w="8064500" h="4032119">
                <a:moveTo>
                  <a:pt x="0" y="0"/>
                </a:moveTo>
                <a:lnTo>
                  <a:pt x="8064500" y="0"/>
                </a:lnTo>
                <a:lnTo>
                  <a:pt x="8064500" y="4032119"/>
                </a:lnTo>
                <a:lnTo>
                  <a:pt x="0" y="4032119"/>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dirty="0"/>
              <a:t>Click icon to add picture</a:t>
            </a:r>
          </a:p>
        </p:txBody>
      </p:sp>
      <p:sp>
        <p:nvSpPr>
          <p:cNvPr id="3" name="Titel 2"/>
          <p:cNvSpPr>
            <a:spLocks noGrp="1"/>
          </p:cNvSpPr>
          <p:nvPr>
            <p:ph type="title" hasCustomPrompt="1"/>
          </p:nvPr>
        </p:nvSpPr>
        <p:spPr bwMode="gray">
          <a:xfrm>
            <a:off x="2285082" y="3048933"/>
            <a:ext cx="7619736" cy="1904533"/>
          </a:xfrm>
        </p:spPr>
        <p:txBody>
          <a:bodyPr/>
          <a:lstStyle>
            <a:lvl1pPr algn="ctr">
              <a:defRPr sz="4233" b="0" i="0">
                <a:solidFill>
                  <a:schemeClr val="bg1"/>
                </a:solidFill>
                <a:latin typeface="adineue TEXT Black" panose="020B0A03020201060004" pitchFamily="34" charset="0"/>
              </a:defRPr>
            </a:lvl1pPr>
          </a:lstStyle>
          <a:p>
            <a:r>
              <a:rPr lang="en-US" dirty="0"/>
              <a:t>Click to edit Master </a:t>
            </a:r>
            <a:br>
              <a:rPr lang="en-US" dirty="0"/>
            </a:br>
            <a:r>
              <a:rPr lang="en-US" dirty="0"/>
              <a:t>title style</a:t>
            </a:r>
            <a:endParaRPr lang="de-DE" dirty="0"/>
          </a:p>
        </p:txBody>
      </p:sp>
      <p:sp>
        <p:nvSpPr>
          <p:cNvPr id="4"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dirty="0"/>
              <a:t>CLICK TO EDIT MASTER TEXT STYLES</a:t>
            </a:r>
          </a:p>
        </p:txBody>
      </p:sp>
      <p:sp>
        <p:nvSpPr>
          <p:cNvPr id="8" name="Date Placeholder 2"/>
          <p:cNvSpPr>
            <a:spLocks noGrp="1"/>
          </p:cNvSpPr>
          <p:nvPr>
            <p:ph type="dt" sz="half" idx="15"/>
          </p:nvPr>
        </p:nvSpPr>
        <p:spPr>
          <a:xfrm>
            <a:off x="10287794" y="6951653"/>
            <a:ext cx="1143218" cy="379993"/>
          </a:xfrm>
        </p:spPr>
        <p:txBody>
          <a:bodyPr/>
          <a:lstStyle/>
          <a:p>
            <a:pPr>
              <a:defRPr/>
            </a:pPr>
            <a:fld id="{ACA4BD04-85E4-4402-B8C3-973A2FA39902}" type="datetime5">
              <a:rPr lang="en-US" smtClean="0"/>
              <a:t>6-Oct-21</a:t>
            </a:fld>
            <a:endParaRPr lang="en-US" dirty="0"/>
          </a:p>
        </p:txBody>
      </p:sp>
      <p:sp>
        <p:nvSpPr>
          <p:cNvPr id="9"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11"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014208447"/>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esseging / Highlight Slide">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39201" y="139158"/>
            <a:ext cx="11913600" cy="6579685"/>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dirty="0"/>
              <a:t>Click icon to add picture</a:t>
            </a:r>
          </a:p>
        </p:txBody>
      </p:sp>
      <p:sp>
        <p:nvSpPr>
          <p:cNvPr id="3" name="Titel 2"/>
          <p:cNvSpPr>
            <a:spLocks noGrp="1"/>
          </p:cNvSpPr>
          <p:nvPr>
            <p:ph type="title" hasCustomPrompt="1"/>
          </p:nvPr>
        </p:nvSpPr>
        <p:spPr bwMode="gray">
          <a:xfrm>
            <a:off x="2285082" y="3048933"/>
            <a:ext cx="7619736" cy="2251003"/>
          </a:xfrm>
        </p:spPr>
        <p:txBody>
          <a:bodyPr/>
          <a:lstStyle>
            <a:lvl1pPr algn="ctr">
              <a:defRPr sz="4233" b="0" i="0">
                <a:solidFill>
                  <a:schemeClr val="bg1"/>
                </a:solidFill>
                <a:latin typeface="adineue TEXT Black" panose="020B0A03020201060004" pitchFamily="34" charset="0"/>
              </a:defRPr>
            </a:lvl1pPr>
          </a:lstStyle>
          <a:p>
            <a:r>
              <a:rPr lang="en-US" dirty="0"/>
              <a:t>Click to edit Master </a:t>
            </a:r>
            <a:br>
              <a:rPr lang="en-US" dirty="0"/>
            </a:br>
            <a:r>
              <a:rPr lang="en-US" dirty="0"/>
              <a:t>title style</a:t>
            </a:r>
            <a:endParaRPr lang="de-DE" dirty="0"/>
          </a:p>
        </p:txBody>
      </p:sp>
      <p:sp>
        <p:nvSpPr>
          <p:cNvPr id="8" name="Text Placeholder 3"/>
          <p:cNvSpPr>
            <a:spLocks noGrp="1"/>
          </p:cNvSpPr>
          <p:nvPr>
            <p:ph type="body" sz="quarter" idx="18" hasCustomPrompt="1"/>
          </p:nvPr>
        </p:nvSpPr>
        <p:spPr>
          <a:xfrm>
            <a:off x="2285782" y="2286702"/>
            <a:ext cx="7619037" cy="380065"/>
          </a:xfrm>
        </p:spPr>
        <p:txBody>
          <a:bodyPr anchor="b"/>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dirty="0"/>
              <a:t>CLICK TO EDIT MASTER TEXT STYLES</a:t>
            </a:r>
          </a:p>
        </p:txBody>
      </p:sp>
      <p:sp>
        <p:nvSpPr>
          <p:cNvPr id="9" name="Date Placeholder 2"/>
          <p:cNvSpPr>
            <a:spLocks noGrp="1"/>
          </p:cNvSpPr>
          <p:nvPr>
            <p:ph type="dt" sz="half" idx="15"/>
          </p:nvPr>
        </p:nvSpPr>
        <p:spPr>
          <a:xfrm>
            <a:off x="10287794" y="6951653"/>
            <a:ext cx="1143218" cy="379993"/>
          </a:xfrm>
        </p:spPr>
        <p:txBody>
          <a:bodyPr/>
          <a:lstStyle/>
          <a:p>
            <a:pPr>
              <a:defRPr/>
            </a:pPr>
            <a:fld id="{FB2741C2-8494-4224-9A54-D2DA91799F14}" type="datetime5">
              <a:rPr lang="en-US" smtClean="0"/>
              <a:t>6-Oct-21</a:t>
            </a:fld>
            <a:endParaRPr lang="en-US" dirty="0"/>
          </a:p>
        </p:txBody>
      </p:sp>
      <p:sp>
        <p:nvSpPr>
          <p:cNvPr id="11" name="Footer Placeholder 3"/>
          <p:cNvSpPr>
            <a:spLocks noGrp="1"/>
          </p:cNvSpPr>
          <p:nvPr>
            <p:ph type="ftr" sz="quarter" idx="16"/>
          </p:nvPr>
        </p:nvSpPr>
        <p:spPr>
          <a:xfrm>
            <a:off x="5334657" y="6951653"/>
            <a:ext cx="4952409" cy="379993"/>
          </a:xfrm>
        </p:spPr>
        <p:txBody>
          <a:bodyPr/>
          <a:lstStyle/>
          <a:p>
            <a:pPr>
              <a:defRPr/>
            </a:pPr>
            <a:r>
              <a:rPr lang="en-US" dirty="0"/>
              <a:t>FOOTER / PRESENTATION NAME</a:t>
            </a:r>
          </a:p>
        </p:txBody>
      </p:sp>
      <p:sp>
        <p:nvSpPr>
          <p:cNvPr id="12" name="Slide Number Placeholder 10"/>
          <p:cNvSpPr>
            <a:spLocks noGrp="1"/>
          </p:cNvSpPr>
          <p:nvPr>
            <p:ph type="sldNum" sz="quarter" idx="17"/>
          </p:nvPr>
        </p:nvSpPr>
        <p:spPr>
          <a:xfrm>
            <a:off x="11429607" y="6950655"/>
            <a:ext cx="762393" cy="381063"/>
          </a:xfrm>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363877369"/>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148" y="382168"/>
            <a:ext cx="6477896" cy="760132"/>
          </a:xfrm>
        </p:spPr>
        <p:txBody>
          <a:bodyPr/>
          <a:lstStyle>
            <a:lvl1pPr>
              <a:defRPr b="0"/>
            </a:lvl1pPr>
          </a:lstStyle>
          <a:p>
            <a:r>
              <a:rPr lang="en-US" noProof="0"/>
              <a:t>Click to edit Master title style</a:t>
            </a:r>
            <a:endParaRPr lang="en-US" noProof="0" dirty="0"/>
          </a:p>
        </p:txBody>
      </p:sp>
      <p:sp>
        <p:nvSpPr>
          <p:cNvPr id="10" name="Date Placeholder 9"/>
          <p:cNvSpPr>
            <a:spLocks noGrp="1"/>
          </p:cNvSpPr>
          <p:nvPr>
            <p:ph type="dt" sz="half" idx="15"/>
          </p:nvPr>
        </p:nvSpPr>
        <p:spPr/>
        <p:txBody>
          <a:bodyPr/>
          <a:lstStyle/>
          <a:p>
            <a:pPr>
              <a:defRPr/>
            </a:pPr>
            <a:fld id="{F59EB677-3E3E-4681-8605-92AD18F8110B}" type="datetime5">
              <a:rPr lang="en-US" smtClean="0"/>
              <a:t>6-Oct-21</a:t>
            </a:fld>
            <a:endParaRPr lang="en-US" dirty="0"/>
          </a:p>
        </p:txBody>
      </p:sp>
      <p:sp>
        <p:nvSpPr>
          <p:cNvPr id="11" name="Footer Placeholder 10"/>
          <p:cNvSpPr>
            <a:spLocks noGrp="1"/>
          </p:cNvSpPr>
          <p:nvPr>
            <p:ph type="ftr" sz="quarter" idx="16"/>
          </p:nvPr>
        </p:nvSpPr>
        <p:spPr/>
        <p:txBody>
          <a:bodyPr/>
          <a:lstStyle/>
          <a:p>
            <a:pPr>
              <a:defRPr/>
            </a:pPr>
            <a:r>
              <a:rPr lang="en-US" dirty="0"/>
              <a:t>FOOTER / PRESENTATION NAME</a:t>
            </a:r>
          </a:p>
        </p:txBody>
      </p:sp>
      <p:sp>
        <p:nvSpPr>
          <p:cNvPr id="12" name="Slide Number Placeholder 11"/>
          <p:cNvSpPr>
            <a:spLocks noGrp="1"/>
          </p:cNvSpPr>
          <p:nvPr>
            <p:ph type="sldNum" sz="quarter" idx="17"/>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34524627"/>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b="0">
                <a:solidFill>
                  <a:schemeClr val="tx1"/>
                </a:solidFill>
              </a:defRPr>
            </a:lvl1pPr>
          </a:lstStyle>
          <a:p>
            <a:r>
              <a:rPr lang="en-US" noProof="0"/>
              <a:t>Click to edit Master title style</a:t>
            </a:r>
            <a:endParaRPr lang="en-US" noProof="0" dirty="0"/>
          </a:p>
        </p:txBody>
      </p:sp>
      <p:sp>
        <p:nvSpPr>
          <p:cNvPr id="3" name="Date Placeholder 2"/>
          <p:cNvSpPr>
            <a:spLocks noGrp="1"/>
          </p:cNvSpPr>
          <p:nvPr>
            <p:ph type="dt" sz="half" idx="22"/>
          </p:nvPr>
        </p:nvSpPr>
        <p:spPr/>
        <p:txBody>
          <a:bodyPr/>
          <a:lstStyle/>
          <a:p>
            <a:pPr>
              <a:defRPr/>
            </a:pPr>
            <a:fld id="{D095A388-9FB3-411B-A3D7-E0A03A68C5DA}" type="datetime5">
              <a:rPr lang="en-US" smtClean="0"/>
              <a:t>6-Oct-21</a:t>
            </a:fld>
            <a:endParaRPr lang="en-US" dirty="0"/>
          </a:p>
        </p:txBody>
      </p:sp>
      <p:sp>
        <p:nvSpPr>
          <p:cNvPr id="13" name="Footer Placeholder 12"/>
          <p:cNvSpPr>
            <a:spLocks noGrp="1"/>
          </p:cNvSpPr>
          <p:nvPr>
            <p:ph type="ftr" sz="quarter" idx="23"/>
          </p:nvPr>
        </p:nvSpPr>
        <p:spPr/>
        <p:txBody>
          <a:bodyPr/>
          <a:lstStyle/>
          <a:p>
            <a:pPr>
              <a:defRPr/>
            </a:pPr>
            <a:r>
              <a:rPr lang="en-US" dirty="0"/>
              <a:t>FOOTER / PRESENTATION NAME</a:t>
            </a:r>
          </a:p>
        </p:txBody>
      </p:sp>
      <p:sp>
        <p:nvSpPr>
          <p:cNvPr id="14" name="Slide Number Placeholder 13"/>
          <p:cNvSpPr>
            <a:spLocks noGrp="1"/>
          </p:cNvSpPr>
          <p:nvPr>
            <p:ph type="sldNum" sz="quarter" idx="24"/>
          </p:nvPr>
        </p:nvSpPr>
        <p:spPr/>
        <p:txBody>
          <a:bodyPr/>
          <a:lstStyle/>
          <a:p>
            <a:pPr>
              <a:defRPr/>
            </a:pPr>
            <a:fld id="{66C8B3C2-955F-42B1-8DED-EE47D723596C}" type="slidenum">
              <a:rPr lang="en-US" smtClean="0"/>
              <a:pPr>
                <a:defRPr/>
              </a:pPr>
              <a:t>‹#›</a:t>
            </a:fld>
            <a:endParaRPr lang="en-US" dirty="0"/>
          </a:p>
        </p:txBody>
      </p:sp>
      <p:sp>
        <p:nvSpPr>
          <p:cNvPr id="16" name="Text Placeholder 15"/>
          <p:cNvSpPr>
            <a:spLocks noGrp="1"/>
          </p:cNvSpPr>
          <p:nvPr>
            <p:ph type="body" sz="quarter" idx="25"/>
          </p:nvPr>
        </p:nvSpPr>
        <p:spPr>
          <a:xfrm>
            <a:off x="760293" y="1524466"/>
            <a:ext cx="9906919" cy="4571301"/>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4658530"/>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 Image (S)">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7619738" y="1"/>
            <a:ext cx="4572263" cy="6858000"/>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el 1"/>
          <p:cNvSpPr>
            <a:spLocks noGrp="1"/>
          </p:cNvSpPr>
          <p:nvPr>
            <p:ph type="title"/>
          </p:nvPr>
        </p:nvSpPr>
        <p:spPr bwMode="gray">
          <a:xfrm>
            <a:off x="380672" y="382168"/>
            <a:ext cx="6477373" cy="761182"/>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Text Placeholder 3"/>
          <p:cNvSpPr>
            <a:spLocks noGrp="1"/>
          </p:cNvSpPr>
          <p:nvPr>
            <p:ph type="body" sz="quarter" idx="18"/>
          </p:nvPr>
        </p:nvSpPr>
        <p:spPr>
          <a:xfrm>
            <a:off x="760293" y="1524466"/>
            <a:ext cx="6097050" cy="4571477"/>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3"/>
          </p:nvPr>
        </p:nvSpPr>
        <p:spPr/>
        <p:txBody>
          <a:bodyPr/>
          <a:lstStyle/>
          <a:p>
            <a:pPr>
              <a:defRPr/>
            </a:pPr>
            <a:fld id="{0A95E30B-1B68-4578-85C8-D9DDBB1FB767}" type="datetime5">
              <a:rPr lang="en-US" smtClean="0"/>
              <a:t>6-Oct-21</a:t>
            </a:fld>
            <a:endParaRPr lang="en-US" dirty="0"/>
          </a:p>
        </p:txBody>
      </p:sp>
      <p:sp>
        <p:nvSpPr>
          <p:cNvPr id="6" name="Footer Placeholder 5"/>
          <p:cNvSpPr>
            <a:spLocks noGrp="1"/>
          </p:cNvSpPr>
          <p:nvPr>
            <p:ph type="ftr" sz="quarter" idx="24"/>
          </p:nvPr>
        </p:nvSpPr>
        <p:spPr/>
        <p:txBody>
          <a:bodyPr/>
          <a:lstStyle/>
          <a:p>
            <a:pPr>
              <a:defRPr/>
            </a:pPr>
            <a:r>
              <a:rPr lang="en-US" dirty="0"/>
              <a:t>FOOTER / PRESENTATION NAME</a:t>
            </a:r>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316995168"/>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 Image (M)">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5334656" y="1"/>
            <a:ext cx="6857344"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3" name="Titel 2"/>
          <p:cNvSpPr>
            <a:spLocks noGrp="1"/>
          </p:cNvSpPr>
          <p:nvPr>
            <p:ph type="title"/>
          </p:nvPr>
        </p:nvSpPr>
        <p:spPr bwMode="gray">
          <a:xfrm>
            <a:off x="380673" y="382168"/>
            <a:ext cx="4572263" cy="761182"/>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Text Placeholder 3"/>
          <p:cNvSpPr>
            <a:spLocks noGrp="1"/>
          </p:cNvSpPr>
          <p:nvPr>
            <p:ph type="body" sz="quarter" idx="18"/>
          </p:nvPr>
        </p:nvSpPr>
        <p:spPr>
          <a:xfrm>
            <a:off x="760293" y="1524466"/>
            <a:ext cx="4192116" cy="4571301"/>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3"/>
          </p:nvPr>
        </p:nvSpPr>
        <p:spPr/>
        <p:txBody>
          <a:bodyPr/>
          <a:lstStyle/>
          <a:p>
            <a:pPr>
              <a:defRPr/>
            </a:pPr>
            <a:fld id="{2D1EA3B5-7D63-4EB6-BA97-393E896BD4EA}" type="datetime5">
              <a:rPr lang="en-US" smtClean="0"/>
              <a:t>6-Oct-21</a:t>
            </a:fld>
            <a:endParaRPr lang="en-US" dirty="0"/>
          </a:p>
        </p:txBody>
      </p:sp>
      <p:sp>
        <p:nvSpPr>
          <p:cNvPr id="6" name="Footer Placeholder 5"/>
          <p:cNvSpPr>
            <a:spLocks noGrp="1"/>
          </p:cNvSpPr>
          <p:nvPr>
            <p:ph type="ftr" sz="quarter" idx="24"/>
          </p:nvPr>
        </p:nvSpPr>
        <p:spPr/>
        <p:txBody>
          <a:bodyPr/>
          <a:lstStyle/>
          <a:p>
            <a:pPr>
              <a:defRPr/>
            </a:pPr>
            <a:r>
              <a:rPr lang="en-US" dirty="0"/>
              <a:t>FOOTER / PRESENTATION NAME</a:t>
            </a:r>
          </a:p>
        </p:txBody>
      </p:sp>
      <p:sp>
        <p:nvSpPr>
          <p:cNvPr id="7" name="Slide Number Placeholder 6"/>
          <p:cNvSpPr>
            <a:spLocks noGrp="1"/>
          </p:cNvSpPr>
          <p:nvPr>
            <p:ph type="sldNum" sz="quarter" idx="25"/>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573648157"/>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F413156-27D7-4AEB-9BB7-3588045B0655}" type="datetime5">
              <a:rPr lang="en-US" smtClean="0"/>
              <a:t>6-Oct-21</a:t>
            </a:fld>
            <a:endParaRPr lang="en-US"/>
          </a:p>
        </p:txBody>
      </p:sp>
      <p:sp>
        <p:nvSpPr>
          <p:cNvPr id="6" name="Footer Placeholder 5"/>
          <p:cNvSpPr>
            <a:spLocks noGrp="1"/>
          </p:cNvSpPr>
          <p:nvPr>
            <p:ph type="ftr" sz="quarter" idx="11"/>
          </p:nvPr>
        </p:nvSpPr>
        <p:spPr/>
        <p:txBody>
          <a:bodyPr/>
          <a:lstStyle/>
          <a:p>
            <a:r>
              <a:rPr lang="en-US"/>
              <a:t>FOOTER / PRESENTATION NAME</a:t>
            </a:r>
          </a:p>
        </p:txBody>
      </p:sp>
      <p:sp>
        <p:nvSpPr>
          <p:cNvPr id="7" name="Slide Number Placeholder 6"/>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307291066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 2 Images (1)">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477197" y="1"/>
            <a:ext cx="5714803"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Picture Placeholder 3"/>
          <p:cNvSpPr>
            <a:spLocks noGrp="1"/>
          </p:cNvSpPr>
          <p:nvPr>
            <p:ph type="pic" sz="quarter" idx="18"/>
          </p:nvPr>
        </p:nvSpPr>
        <p:spPr>
          <a:xfrm>
            <a:off x="5714978" y="1143349"/>
            <a:ext cx="4952234" cy="45723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2" name="Text Placeholder 11"/>
          <p:cNvSpPr>
            <a:spLocks noGrp="1"/>
          </p:cNvSpPr>
          <p:nvPr>
            <p:ph type="body" sz="quarter" idx="19"/>
          </p:nvPr>
        </p:nvSpPr>
        <p:spPr>
          <a:xfrm>
            <a:off x="760293" y="1524467"/>
            <a:ext cx="4192116"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4"/>
          </p:nvPr>
        </p:nvSpPr>
        <p:spPr/>
        <p:txBody>
          <a:bodyPr/>
          <a:lstStyle/>
          <a:p>
            <a:pPr>
              <a:defRPr/>
            </a:pPr>
            <a:fld id="{533ECBB2-EE69-495C-B216-D758579DE375}" type="datetime5">
              <a:rPr lang="en-US" smtClean="0"/>
              <a:t>6-Oct-21</a:t>
            </a:fld>
            <a:endParaRPr lang="en-US" dirty="0"/>
          </a:p>
        </p:txBody>
      </p:sp>
      <p:sp>
        <p:nvSpPr>
          <p:cNvPr id="6" name="Footer Placeholder 5"/>
          <p:cNvSpPr>
            <a:spLocks noGrp="1"/>
          </p:cNvSpPr>
          <p:nvPr>
            <p:ph type="ftr" sz="quarter" idx="25"/>
          </p:nvPr>
        </p:nvSpPr>
        <p:spPr/>
        <p:txBody>
          <a:bodyPr/>
          <a:lstStyle/>
          <a:p>
            <a:pPr>
              <a:defRPr/>
            </a:pPr>
            <a:r>
              <a:rPr lang="en-US" dirty="0"/>
              <a:t>FOOTER / PRESENTATION NAME</a:t>
            </a:r>
          </a:p>
        </p:txBody>
      </p:sp>
      <p:sp>
        <p:nvSpPr>
          <p:cNvPr id="7" name="Slide Number Placeholder 6"/>
          <p:cNvSpPr>
            <a:spLocks noGrp="1"/>
          </p:cNvSpPr>
          <p:nvPr>
            <p:ph type="sldNum" sz="quarter" idx="26"/>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595576815"/>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ext + Image (2)">
    <p:spTree>
      <p:nvGrpSpPr>
        <p:cNvPr id="1" name=""/>
        <p:cNvGrpSpPr/>
        <p:nvPr/>
      </p:nvGrpSpPr>
      <p:grpSpPr>
        <a:xfrm>
          <a:off x="0" y="0"/>
          <a:ext cx="0" cy="0"/>
          <a:chOff x="0" y="0"/>
          <a:chExt cx="0" cy="0"/>
        </a:xfrm>
      </p:grpSpPr>
      <p:sp>
        <p:nvSpPr>
          <p:cNvPr id="3" name="Titel 2"/>
          <p:cNvSpPr>
            <a:spLocks noGrp="1"/>
          </p:cNvSpPr>
          <p:nvPr>
            <p:ph type="title"/>
          </p:nvPr>
        </p:nvSpPr>
        <p:spPr bwMode="gray">
          <a:xfrm>
            <a:off x="380672" y="381466"/>
            <a:ext cx="5715329"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4" name="Picture Placeholder 3"/>
          <p:cNvSpPr>
            <a:spLocks noGrp="1"/>
          </p:cNvSpPr>
          <p:nvPr>
            <p:ph type="pic" sz="quarter" idx="18"/>
          </p:nvPr>
        </p:nvSpPr>
        <p:spPr>
          <a:xfrm>
            <a:off x="6857344" y="525"/>
            <a:ext cx="5334655" cy="3428477"/>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2" name="Text Placeholder 11"/>
          <p:cNvSpPr>
            <a:spLocks noGrp="1"/>
          </p:cNvSpPr>
          <p:nvPr>
            <p:ph type="body" sz="quarter" idx="19"/>
          </p:nvPr>
        </p:nvSpPr>
        <p:spPr>
          <a:xfrm>
            <a:off x="760293" y="1524467"/>
            <a:ext cx="5335707"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Picture Placeholder 3"/>
          <p:cNvSpPr>
            <a:spLocks noGrp="1"/>
          </p:cNvSpPr>
          <p:nvPr>
            <p:ph type="pic" sz="quarter" idx="23"/>
          </p:nvPr>
        </p:nvSpPr>
        <p:spPr>
          <a:xfrm>
            <a:off x="6858045" y="3429002"/>
            <a:ext cx="5333956" cy="3428474"/>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7" name="Date Placeholder 6"/>
          <p:cNvSpPr>
            <a:spLocks noGrp="1"/>
          </p:cNvSpPr>
          <p:nvPr>
            <p:ph type="dt" sz="half" idx="25"/>
          </p:nvPr>
        </p:nvSpPr>
        <p:spPr/>
        <p:txBody>
          <a:bodyPr/>
          <a:lstStyle/>
          <a:p>
            <a:pPr>
              <a:defRPr/>
            </a:pPr>
            <a:fld id="{07CEE755-C5A1-4BCF-9672-761122A5EC9A}" type="datetime5">
              <a:rPr lang="en-US" smtClean="0"/>
              <a:t>6-Oct-21</a:t>
            </a:fld>
            <a:endParaRPr lang="en-US" dirty="0"/>
          </a:p>
        </p:txBody>
      </p:sp>
      <p:sp>
        <p:nvSpPr>
          <p:cNvPr id="8" name="Footer Placeholder 7"/>
          <p:cNvSpPr>
            <a:spLocks noGrp="1"/>
          </p:cNvSpPr>
          <p:nvPr>
            <p:ph type="ftr" sz="quarter" idx="26"/>
          </p:nvPr>
        </p:nvSpPr>
        <p:spPr/>
        <p:txBody>
          <a:bodyPr/>
          <a:lstStyle/>
          <a:p>
            <a:pPr>
              <a:defRPr/>
            </a:pPr>
            <a:r>
              <a:rPr lang="en-US" dirty="0"/>
              <a:t>FOOTER / PRESENTATION NAME</a:t>
            </a:r>
          </a:p>
        </p:txBody>
      </p:sp>
      <p:sp>
        <p:nvSpPr>
          <p:cNvPr id="9" name="Slide Number Placeholder 8"/>
          <p:cNvSpPr>
            <a:spLocks noGrp="1"/>
          </p:cNvSpPr>
          <p:nvPr>
            <p:ph type="sldNum" sz="quarter" idx="27"/>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303094615"/>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 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5332557" y="525"/>
            <a:ext cx="3811967" cy="34293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1" name="Picture Placeholder 3"/>
          <p:cNvSpPr>
            <a:spLocks noGrp="1"/>
          </p:cNvSpPr>
          <p:nvPr>
            <p:ph type="pic" sz="quarter" idx="23"/>
          </p:nvPr>
        </p:nvSpPr>
        <p:spPr>
          <a:xfrm>
            <a:off x="9144177" y="525"/>
            <a:ext cx="3047823" cy="3428477"/>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5332557" y="3429002"/>
            <a:ext cx="2287181" cy="3428998"/>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7620088" y="3429001"/>
            <a:ext cx="4572263" cy="3428474"/>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Date Placeholder 6"/>
          <p:cNvSpPr>
            <a:spLocks noGrp="1"/>
          </p:cNvSpPr>
          <p:nvPr>
            <p:ph type="dt" sz="half" idx="27"/>
          </p:nvPr>
        </p:nvSpPr>
        <p:spPr/>
        <p:txBody>
          <a:bodyPr/>
          <a:lstStyle/>
          <a:p>
            <a:pPr>
              <a:defRPr/>
            </a:pPr>
            <a:fld id="{66713FC6-1C26-478A-93E9-1CF9DAE74A1D}" type="datetime5">
              <a:rPr lang="en-US" smtClean="0"/>
              <a:t>6-Oct-21</a:t>
            </a:fld>
            <a:endParaRPr lang="en-US" dirty="0"/>
          </a:p>
        </p:txBody>
      </p:sp>
      <p:sp>
        <p:nvSpPr>
          <p:cNvPr id="8" name="Footer Placeholder 7"/>
          <p:cNvSpPr>
            <a:spLocks noGrp="1"/>
          </p:cNvSpPr>
          <p:nvPr>
            <p:ph type="ftr" sz="quarter" idx="28"/>
          </p:nvPr>
        </p:nvSpPr>
        <p:spPr/>
        <p:txBody>
          <a:bodyPr/>
          <a:lstStyle/>
          <a:p>
            <a:pPr>
              <a:defRPr/>
            </a:pPr>
            <a:r>
              <a:rPr lang="en-US" dirty="0"/>
              <a:t>FOOTER / PRESENTATION NAME</a:t>
            </a:r>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439008637"/>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 Collage (2)">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bwMode="gray">
          <a:xfrm>
            <a:off x="6857344" y="1"/>
            <a:ext cx="5334656"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1" name="Picture Placeholder 3"/>
          <p:cNvSpPr>
            <a:spLocks noGrp="1"/>
          </p:cNvSpPr>
          <p:nvPr>
            <p:ph type="pic" sz="quarter" idx="23"/>
          </p:nvPr>
        </p:nvSpPr>
        <p:spPr>
          <a:xfrm>
            <a:off x="9144177" y="762234"/>
            <a:ext cx="1905108" cy="2666767"/>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7620088" y="3429001"/>
            <a:ext cx="3427271" cy="2667466"/>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380672" y="381466"/>
            <a:ext cx="4191241" cy="760835"/>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12" name="Text Placeholder 11"/>
          <p:cNvSpPr>
            <a:spLocks noGrp="1"/>
          </p:cNvSpPr>
          <p:nvPr>
            <p:ph type="body" sz="quarter" idx="19"/>
          </p:nvPr>
        </p:nvSpPr>
        <p:spPr>
          <a:xfrm>
            <a:off x="760294" y="1524467"/>
            <a:ext cx="3811969" cy="4191233"/>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Date Placeholder 6"/>
          <p:cNvSpPr>
            <a:spLocks noGrp="1"/>
          </p:cNvSpPr>
          <p:nvPr>
            <p:ph type="dt" sz="half" idx="27"/>
          </p:nvPr>
        </p:nvSpPr>
        <p:spPr/>
        <p:txBody>
          <a:bodyPr/>
          <a:lstStyle/>
          <a:p>
            <a:pPr>
              <a:defRPr/>
            </a:pPr>
            <a:fld id="{88962F48-1912-4F3B-A267-C3E1074D2F8D}" type="datetime5">
              <a:rPr lang="en-US" smtClean="0"/>
              <a:t>6-Oct-21</a:t>
            </a:fld>
            <a:endParaRPr lang="en-US" dirty="0"/>
          </a:p>
        </p:txBody>
      </p:sp>
      <p:sp>
        <p:nvSpPr>
          <p:cNvPr id="8" name="Footer Placeholder 7"/>
          <p:cNvSpPr>
            <a:spLocks noGrp="1"/>
          </p:cNvSpPr>
          <p:nvPr>
            <p:ph type="ftr" sz="quarter" idx="28"/>
          </p:nvPr>
        </p:nvSpPr>
        <p:spPr/>
        <p:txBody>
          <a:bodyPr/>
          <a:lstStyle/>
          <a:p>
            <a:pPr>
              <a:defRPr/>
            </a:pPr>
            <a:r>
              <a:rPr lang="en-US" dirty="0"/>
              <a:t>FOOTER / PRESENTATION NAME</a:t>
            </a:r>
          </a:p>
        </p:txBody>
      </p:sp>
      <p:sp>
        <p:nvSpPr>
          <p:cNvPr id="9" name="Slide Number Placeholder 8"/>
          <p:cNvSpPr>
            <a:spLocks noGrp="1"/>
          </p:cNvSpPr>
          <p:nvPr>
            <p:ph type="sldNum" sz="quarter" idx="29"/>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058585940"/>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 Text (1)">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le 1"/>
          <p:cNvSpPr>
            <a:spLocks noGrp="1"/>
          </p:cNvSpPr>
          <p:nvPr>
            <p:ph type="title" hasCustomPrompt="1"/>
          </p:nvPr>
        </p:nvSpPr>
        <p:spPr>
          <a:xfrm>
            <a:off x="7239592" y="2287375"/>
            <a:ext cx="3810240" cy="761058"/>
          </a:xfrm>
        </p:spPr>
        <p:txBody>
          <a:bodyPr anchor="b"/>
          <a:lstStyle>
            <a:lvl1pPr algn="ctr">
              <a:lnSpc>
                <a:spcPct val="70000"/>
              </a:lnSpc>
              <a:defRPr sz="3174"/>
            </a:lvl1pPr>
          </a:lstStyle>
          <a:p>
            <a:r>
              <a:rPr lang="en-US" dirty="0"/>
              <a:t>Slide title</a:t>
            </a:r>
          </a:p>
        </p:txBody>
      </p:sp>
      <p:sp>
        <p:nvSpPr>
          <p:cNvPr id="3" name="Date Placeholder 2"/>
          <p:cNvSpPr>
            <a:spLocks noGrp="1"/>
          </p:cNvSpPr>
          <p:nvPr>
            <p:ph type="dt" sz="half" idx="10"/>
          </p:nvPr>
        </p:nvSpPr>
        <p:spPr/>
        <p:txBody>
          <a:bodyPr/>
          <a:lstStyle/>
          <a:p>
            <a:pPr>
              <a:defRPr/>
            </a:pPr>
            <a:fld id="{95BA625F-4766-48C3-B72D-19E585C79417}"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dirty="0"/>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cxnSp>
        <p:nvCxnSpPr>
          <p:cNvPr id="8" name="Straight Connector 7"/>
          <p:cNvCxnSpPr>
            <a:cxnSpLocks/>
          </p:cNvCxnSpPr>
          <p:nvPr userDrawn="1"/>
        </p:nvCxnSpPr>
        <p:spPr>
          <a:xfrm>
            <a:off x="8762278"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723959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275618351"/>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 Text (2)">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le 1"/>
          <p:cNvSpPr>
            <a:spLocks noGrp="1"/>
          </p:cNvSpPr>
          <p:nvPr>
            <p:ph type="title" hasCustomPrompt="1"/>
          </p:nvPr>
        </p:nvSpPr>
        <p:spPr>
          <a:xfrm>
            <a:off x="1142063" y="2287375"/>
            <a:ext cx="3810240" cy="761058"/>
          </a:xfrm>
        </p:spPr>
        <p:txBody>
          <a:bodyPr anchor="b"/>
          <a:lstStyle>
            <a:lvl1pPr algn="ctr">
              <a:lnSpc>
                <a:spcPct val="70000"/>
              </a:lnSpc>
              <a:defRPr sz="3174"/>
            </a:lvl1pPr>
          </a:lstStyle>
          <a:p>
            <a:r>
              <a:rPr lang="en-US" dirty="0"/>
              <a:t>Slide title</a:t>
            </a:r>
          </a:p>
        </p:txBody>
      </p:sp>
      <p:sp>
        <p:nvSpPr>
          <p:cNvPr id="3" name="Date Placeholder 2"/>
          <p:cNvSpPr>
            <a:spLocks noGrp="1"/>
          </p:cNvSpPr>
          <p:nvPr>
            <p:ph type="dt" sz="half" idx="10"/>
          </p:nvPr>
        </p:nvSpPr>
        <p:spPr/>
        <p:txBody>
          <a:bodyPr/>
          <a:lstStyle/>
          <a:p>
            <a:pPr>
              <a:defRPr/>
            </a:pPr>
            <a:fld id="{E84F1976-75BF-46E0-8A0A-3FBCAC057B9A}"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dirty="0"/>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cxnSp>
        <p:nvCxnSpPr>
          <p:cNvPr id="8" name="Straight Connector 7"/>
          <p:cNvCxnSpPr>
            <a:cxnSpLocks/>
          </p:cNvCxnSpPr>
          <p:nvPr userDrawn="1"/>
        </p:nvCxnSpPr>
        <p:spPr>
          <a:xfrm>
            <a:off x="2664749" y="3199620"/>
            <a:ext cx="762394" cy="0"/>
          </a:xfrm>
          <a:prstGeom prst="line">
            <a:avLst/>
          </a:prstGeom>
          <a:ln w="12700" cmpd="sng">
            <a:solidFill>
              <a:schemeClr val="tx1">
                <a:lumMod val="85000"/>
                <a:lumOff val="15000"/>
              </a:schemeClr>
            </a:solidFill>
            <a:prstDash val="solid"/>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13"/>
          </p:nvPr>
        </p:nvSpPr>
        <p:spPr>
          <a:xfrm>
            <a:off x="1142062"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latin typeface="+mn-lt"/>
              </a:defRPr>
            </a:lvl1pPr>
            <a:lvl2pPr marL="0" indent="0" algn="ctr">
              <a:lnSpc>
                <a:spcPct val="80000"/>
              </a:lnSpc>
              <a:spcBef>
                <a:spcPts val="0"/>
              </a:spcBef>
              <a:spcAft>
                <a:spcPts val="794"/>
              </a:spcAft>
              <a:buNone/>
              <a:defRPr sz="1587" b="0" cap="all" baseline="0">
                <a:latin typeface="+mn-lt"/>
              </a:defRPr>
            </a:lvl2pPr>
            <a:lvl3pPr marL="0" indent="0" algn="ctr">
              <a:lnSpc>
                <a:spcPct val="80000"/>
              </a:lnSpc>
              <a:spcBef>
                <a:spcPts val="0"/>
              </a:spcBef>
              <a:spcAft>
                <a:spcPts val="794"/>
              </a:spcAft>
              <a:buFont typeface="Arial" panose="020B0604020202020204" pitchFamily="34" charset="0"/>
              <a:buNone/>
              <a:defRPr sz="1587" b="0" cap="all" baseline="0">
                <a:latin typeface="+mn-lt"/>
              </a:defRPr>
            </a:lvl3pPr>
            <a:lvl4pPr marL="0" indent="0" algn="ctr">
              <a:lnSpc>
                <a:spcPct val="80000"/>
              </a:lnSpc>
              <a:spcBef>
                <a:spcPts val="0"/>
              </a:spcBef>
              <a:spcAft>
                <a:spcPts val="794"/>
              </a:spcAft>
              <a:buNone/>
              <a:defRPr sz="1587" b="0" cap="all" baseline="0">
                <a:latin typeface="+mn-lt"/>
              </a:defRPr>
            </a:lvl4pPr>
            <a:lvl5pPr marL="0" indent="0" algn="ctr">
              <a:lnSpc>
                <a:spcPct val="80000"/>
              </a:lnSpc>
              <a:spcBef>
                <a:spcPts val="0"/>
              </a:spcBef>
              <a:spcAft>
                <a:spcPts val="794"/>
              </a:spcAft>
              <a:buFont typeface="Arial" panose="020B0604020202020204" pitchFamily="34" charset="0"/>
              <a:buNone/>
              <a:defRPr sz="1587" b="0" cap="all" baseline="0">
                <a:latin typeface="+mn-lt"/>
              </a:defRPr>
            </a:lvl5pPr>
            <a:lvl6pPr marL="0" indent="0" algn="ctr">
              <a:lnSpc>
                <a:spcPct val="80000"/>
              </a:lnSpc>
              <a:spcBef>
                <a:spcPts val="0"/>
              </a:spcBef>
              <a:spcAft>
                <a:spcPts val="794"/>
              </a:spcAft>
              <a:buFont typeface="Arial" panose="020B0604020202020204" pitchFamily="34" charset="0"/>
              <a:buNone/>
              <a:defRPr sz="1587" b="0" cap="all" baseline="0">
                <a:latin typeface="+mn-lt"/>
              </a:defRPr>
            </a:lvl6pPr>
            <a:lvl7pPr marL="0" indent="0" algn="ctr">
              <a:lnSpc>
                <a:spcPct val="80000"/>
              </a:lnSpc>
              <a:spcBef>
                <a:spcPts val="0"/>
              </a:spcBef>
              <a:spcAft>
                <a:spcPts val="794"/>
              </a:spcAft>
              <a:buFont typeface="Arial" panose="020B0604020202020204" pitchFamily="34" charset="0"/>
              <a:buNone/>
              <a:defRPr sz="1587" b="0" cap="all" baseline="0">
                <a:latin typeface="+mn-lt"/>
              </a:defRPr>
            </a:lvl7pPr>
            <a:lvl8pPr marL="0" indent="0" algn="ctr">
              <a:lnSpc>
                <a:spcPct val="80000"/>
              </a:lnSpc>
              <a:spcBef>
                <a:spcPts val="0"/>
              </a:spcBef>
              <a:spcAft>
                <a:spcPts val="794"/>
              </a:spcAft>
              <a:buFont typeface="Arial" panose="020B0604020202020204" pitchFamily="34" charset="0"/>
              <a:buNone/>
              <a:defRPr sz="1587" b="0" cap="all" baseline="0">
                <a:latin typeface="+mn-lt"/>
              </a:defRPr>
            </a:lvl8pPr>
            <a:lvl9pPr marL="0" indent="0" algn="ctr">
              <a:lnSpc>
                <a:spcPct val="80000"/>
              </a:lnSpc>
              <a:spcBef>
                <a:spcPts val="0"/>
              </a:spcBef>
              <a:spcAft>
                <a:spcPts val="794"/>
              </a:spcAft>
              <a:buFont typeface="Arial" panose="020B0604020202020204" pitchFamily="34" charset="0"/>
              <a:buNone/>
              <a:defRPr sz="1587" b="0" cap="all" baseline="0">
                <a:latin typeface="+mn-lt"/>
              </a:defRPr>
            </a:lvl9pPr>
          </a:lstStyle>
          <a:p>
            <a:pPr lvl="0"/>
            <a:r>
              <a:rPr lang="en-US"/>
              <a:t>Edit Master text styles</a:t>
            </a:r>
          </a:p>
        </p:txBody>
      </p:sp>
    </p:spTree>
    <p:extLst>
      <p:ext uri="{BB962C8B-B14F-4D97-AF65-F5344CB8AC3E}">
        <p14:creationId xmlns:p14="http://schemas.microsoft.com/office/powerpoint/2010/main" val="2260835863"/>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 Text (3)">
    <p:spTree>
      <p:nvGrpSpPr>
        <p:cNvPr id="1" name=""/>
        <p:cNvGrpSpPr/>
        <p:nvPr/>
      </p:nvGrpSpPr>
      <p:grpSpPr>
        <a:xfrm>
          <a:off x="0" y="0"/>
          <a:ext cx="0" cy="0"/>
          <a:chOff x="0" y="0"/>
          <a:chExt cx="0" cy="0"/>
        </a:xfrm>
      </p:grpSpPr>
      <p:sp>
        <p:nvSpPr>
          <p:cNvPr id="15" name="Picture Placeholder 3"/>
          <p:cNvSpPr>
            <a:spLocks noGrp="1"/>
          </p:cNvSpPr>
          <p:nvPr>
            <p:ph type="pic" sz="quarter" idx="18"/>
          </p:nvPr>
        </p:nvSpPr>
        <p:spPr>
          <a:xfrm>
            <a:off x="6097052" y="0"/>
            <a:ext cx="1904935" cy="342899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6" name="Picture Placeholder 3"/>
          <p:cNvSpPr>
            <a:spLocks noGrp="1"/>
          </p:cNvSpPr>
          <p:nvPr>
            <p:ph type="pic" sz="quarter" idx="23"/>
          </p:nvPr>
        </p:nvSpPr>
        <p:spPr>
          <a:xfrm>
            <a:off x="8001984"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10287069"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6097050" y="3429001"/>
            <a:ext cx="6094950" cy="3428925"/>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14" name="Picture Placeholder 2"/>
          <p:cNvSpPr>
            <a:spLocks noGrp="1"/>
          </p:cNvSpPr>
          <p:nvPr>
            <p:ph type="pic" sz="quarter" idx="14"/>
          </p:nvPr>
        </p:nvSpPr>
        <p:spPr bwMode="gray">
          <a:xfrm>
            <a:off x="-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2" name="Title 1"/>
          <p:cNvSpPr>
            <a:spLocks noGrp="1"/>
          </p:cNvSpPr>
          <p:nvPr>
            <p:ph type="title" hasCustomPrompt="1"/>
          </p:nvPr>
        </p:nvSpPr>
        <p:spPr>
          <a:xfrm>
            <a:off x="1142542" y="2287375"/>
            <a:ext cx="3810240" cy="761058"/>
          </a:xfrm>
        </p:spPr>
        <p:txBody>
          <a:bodyPr anchor="b"/>
          <a:lstStyle>
            <a:lvl1pPr algn="ctr">
              <a:lnSpc>
                <a:spcPct val="70000"/>
              </a:lnSpc>
              <a:defRPr sz="3174">
                <a:solidFill>
                  <a:schemeClr val="bg1"/>
                </a:solidFill>
              </a:defRPr>
            </a:lvl1pPr>
          </a:lstStyle>
          <a:p>
            <a:r>
              <a:rPr lang="en-US" dirty="0"/>
              <a:t>Slide title</a:t>
            </a:r>
          </a:p>
        </p:txBody>
      </p:sp>
      <p:sp>
        <p:nvSpPr>
          <p:cNvPr id="3" name="Date Placeholder 2"/>
          <p:cNvSpPr>
            <a:spLocks noGrp="1"/>
          </p:cNvSpPr>
          <p:nvPr>
            <p:ph type="dt" sz="half" idx="10"/>
          </p:nvPr>
        </p:nvSpPr>
        <p:spPr/>
        <p:txBody>
          <a:bodyPr/>
          <a:lstStyle>
            <a:lvl1pPr>
              <a:defRPr>
                <a:solidFill>
                  <a:schemeClr val="bg1"/>
                </a:solidFill>
              </a:defRPr>
            </a:lvl1pPr>
          </a:lstStyle>
          <a:p>
            <a:pPr>
              <a:defRPr/>
            </a:pPr>
            <a:fld id="{3EE3D192-AD88-4AA5-97C7-01121D922007}" type="datetime5">
              <a:rPr lang="en-US" smtClean="0"/>
              <a:t>6-Oct-21</a:t>
            </a:fld>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pPr>
              <a:defRPr/>
            </a:pPr>
            <a:r>
              <a:rPr lang="en-US" dirty="0"/>
              <a:t>FOOTER / PRESENTATION NAM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
        <p:nvSpPr>
          <p:cNvPr id="11" name="Text Placeholder 9"/>
          <p:cNvSpPr>
            <a:spLocks noGrp="1"/>
          </p:cNvSpPr>
          <p:nvPr>
            <p:ph type="body" sz="quarter" idx="13" hasCustomPrompt="1"/>
          </p:nvPr>
        </p:nvSpPr>
        <p:spPr>
          <a:xfrm>
            <a:off x="1142541"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dirty="0"/>
              <a:t>Edit Master text styles</a:t>
            </a:r>
          </a:p>
        </p:txBody>
      </p:sp>
    </p:spTree>
    <p:extLst>
      <p:ext uri="{BB962C8B-B14F-4D97-AF65-F5344CB8AC3E}">
        <p14:creationId xmlns:p14="http://schemas.microsoft.com/office/powerpoint/2010/main" val="102402184"/>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 Text (4)">
    <p:spTree>
      <p:nvGrpSpPr>
        <p:cNvPr id="1" name=""/>
        <p:cNvGrpSpPr/>
        <p:nvPr/>
      </p:nvGrpSpPr>
      <p:grpSpPr>
        <a:xfrm>
          <a:off x="0" y="0"/>
          <a:ext cx="0" cy="0"/>
          <a:chOff x="0" y="0"/>
          <a:chExt cx="0" cy="0"/>
        </a:xfrm>
      </p:grpSpPr>
      <p:sp>
        <p:nvSpPr>
          <p:cNvPr id="14" name="Picture Placeholder 2"/>
          <p:cNvSpPr>
            <a:spLocks noGrp="1"/>
          </p:cNvSpPr>
          <p:nvPr>
            <p:ph type="pic" sz="quarter" idx="14"/>
          </p:nvPr>
        </p:nvSpPr>
        <p:spPr bwMode="gray">
          <a:xfrm>
            <a:off x="6096001" y="1"/>
            <a:ext cx="6096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15" name="Picture Placeholder 3"/>
          <p:cNvSpPr>
            <a:spLocks noGrp="1"/>
          </p:cNvSpPr>
          <p:nvPr>
            <p:ph type="pic" sz="quarter" idx="18"/>
          </p:nvPr>
        </p:nvSpPr>
        <p:spPr>
          <a:xfrm>
            <a:off x="1" y="0"/>
            <a:ext cx="1904935" cy="342899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6" name="Picture Placeholder 3"/>
          <p:cNvSpPr>
            <a:spLocks noGrp="1"/>
          </p:cNvSpPr>
          <p:nvPr>
            <p:ph type="pic" sz="quarter" idx="23"/>
          </p:nvPr>
        </p:nvSpPr>
        <p:spPr>
          <a:xfrm>
            <a:off x="1904935" y="1"/>
            <a:ext cx="2285081" cy="3428998"/>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4190016" y="1"/>
            <a:ext cx="1904931" cy="342899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0" y="3429001"/>
            <a:ext cx="6094950" cy="3428925"/>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2" name="Title 1"/>
          <p:cNvSpPr>
            <a:spLocks noGrp="1"/>
          </p:cNvSpPr>
          <p:nvPr>
            <p:ph type="title" hasCustomPrompt="1"/>
          </p:nvPr>
        </p:nvSpPr>
        <p:spPr>
          <a:xfrm>
            <a:off x="7239698" y="2287375"/>
            <a:ext cx="3810240" cy="761058"/>
          </a:xfrm>
        </p:spPr>
        <p:txBody>
          <a:bodyPr anchor="b"/>
          <a:lstStyle>
            <a:lvl1pPr algn="ctr">
              <a:lnSpc>
                <a:spcPct val="70000"/>
              </a:lnSpc>
              <a:defRPr sz="3174">
                <a:solidFill>
                  <a:schemeClr val="bg1"/>
                </a:solidFill>
              </a:defRPr>
            </a:lvl1pPr>
          </a:lstStyle>
          <a:p>
            <a:r>
              <a:rPr lang="en-US" dirty="0"/>
              <a:t>Slide title</a:t>
            </a:r>
          </a:p>
        </p:txBody>
      </p:sp>
      <p:sp>
        <p:nvSpPr>
          <p:cNvPr id="3" name="Date Placeholder 2"/>
          <p:cNvSpPr>
            <a:spLocks noGrp="1"/>
          </p:cNvSpPr>
          <p:nvPr>
            <p:ph type="dt" sz="half" idx="10"/>
          </p:nvPr>
        </p:nvSpPr>
        <p:spPr/>
        <p:txBody>
          <a:bodyPr/>
          <a:lstStyle>
            <a:lvl1pPr>
              <a:defRPr>
                <a:solidFill>
                  <a:schemeClr val="bg2"/>
                </a:solidFill>
              </a:defRPr>
            </a:lvl1pPr>
          </a:lstStyle>
          <a:p>
            <a:pPr>
              <a:defRPr/>
            </a:pPr>
            <a:fld id="{AE67B5BB-F001-4B06-A335-DB31B33D0AB4}" type="datetime5">
              <a:rPr lang="en-US" smtClean="0"/>
              <a:t>6-Oct-21</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pPr>
              <a:defRPr/>
            </a:pPr>
            <a:r>
              <a:rPr lang="en-US" dirty="0"/>
              <a:t>FOOTER / PRESENTATION NAME</a:t>
            </a:r>
          </a:p>
        </p:txBody>
      </p:sp>
      <p:sp>
        <p:nvSpPr>
          <p:cNvPr id="5" name="Slide Number Placeholder 4"/>
          <p:cNvSpPr>
            <a:spLocks noGrp="1"/>
          </p:cNvSpPr>
          <p:nvPr>
            <p:ph type="sldNum" sz="quarter" idx="12"/>
          </p:nvPr>
        </p:nvSpPr>
        <p:spPr/>
        <p:txBody>
          <a:bodyPr/>
          <a:lstStyle>
            <a:lvl1pPr>
              <a:defRPr>
                <a:solidFill>
                  <a:schemeClr val="bg2"/>
                </a:solidFill>
              </a:defRPr>
            </a:lvl1pPr>
          </a:lstStyle>
          <a:p>
            <a:pPr>
              <a:defRPr/>
            </a:pPr>
            <a:fld id="{66C8B3C2-955F-42B1-8DED-EE47D723596C}" type="slidenum">
              <a:rPr lang="en-US" smtClean="0"/>
              <a:pPr>
                <a:defRPr/>
              </a:pPr>
              <a:t>‹#›</a:t>
            </a:fld>
            <a:endParaRPr lang="en-US" dirty="0"/>
          </a:p>
        </p:txBody>
      </p:sp>
      <p:sp>
        <p:nvSpPr>
          <p:cNvPr id="11" name="Text Placeholder 9"/>
          <p:cNvSpPr>
            <a:spLocks noGrp="1"/>
          </p:cNvSpPr>
          <p:nvPr>
            <p:ph type="body" sz="quarter" idx="13" hasCustomPrompt="1"/>
          </p:nvPr>
        </p:nvSpPr>
        <p:spPr>
          <a:xfrm>
            <a:off x="7239697" y="3429001"/>
            <a:ext cx="3809869" cy="2286699"/>
          </a:xfrm>
        </p:spPr>
        <p:txBody>
          <a:bodyPr/>
          <a:lstStyle>
            <a:lvl1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1pPr>
            <a:lvl2pPr marL="0" indent="0" algn="ctr">
              <a:lnSpc>
                <a:spcPct val="100000"/>
              </a:lnSpc>
              <a:spcBef>
                <a:spcPts val="0"/>
              </a:spcBef>
              <a:spcAft>
                <a:spcPts val="794"/>
              </a:spcAft>
              <a:buNone/>
              <a:defRPr sz="1587" b="0" cap="all" baseline="0">
                <a:solidFill>
                  <a:schemeClr val="bg1"/>
                </a:solidFill>
                <a:latin typeface="+mn-lt"/>
              </a:defRPr>
            </a:lvl2pPr>
            <a:lvl3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3pPr>
            <a:lvl4pPr marL="0" indent="0" algn="ctr">
              <a:lnSpc>
                <a:spcPct val="100000"/>
              </a:lnSpc>
              <a:spcBef>
                <a:spcPts val="0"/>
              </a:spcBef>
              <a:spcAft>
                <a:spcPts val="794"/>
              </a:spcAft>
              <a:buNone/>
              <a:defRPr sz="1587" b="0" cap="all" baseline="0">
                <a:solidFill>
                  <a:schemeClr val="bg1"/>
                </a:solidFill>
                <a:latin typeface="+mn-lt"/>
              </a:defRPr>
            </a:lvl4pPr>
            <a:lvl5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5pPr>
            <a:lvl6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6pPr>
            <a:lvl7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7pPr>
            <a:lvl8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8pPr>
            <a:lvl9pPr marL="0" indent="0" algn="ctr">
              <a:lnSpc>
                <a:spcPct val="100000"/>
              </a:lnSpc>
              <a:spcBef>
                <a:spcPts val="0"/>
              </a:spcBef>
              <a:spcAft>
                <a:spcPts val="794"/>
              </a:spcAft>
              <a:buFont typeface="Arial" panose="020B0604020202020204" pitchFamily="34" charset="0"/>
              <a:buNone/>
              <a:defRPr sz="1587" b="0" cap="all" baseline="0">
                <a:solidFill>
                  <a:schemeClr val="bg1"/>
                </a:solidFill>
                <a:latin typeface="+mn-lt"/>
              </a:defRPr>
            </a:lvl9pPr>
          </a:lstStyle>
          <a:p>
            <a:pPr lvl="0"/>
            <a:r>
              <a:rPr lang="en-US" dirty="0"/>
              <a:t>Edit Master text styles</a:t>
            </a:r>
          </a:p>
        </p:txBody>
      </p:sp>
    </p:spTree>
    <p:extLst>
      <p:ext uri="{BB962C8B-B14F-4D97-AF65-F5344CB8AC3E}">
        <p14:creationId xmlns:p14="http://schemas.microsoft.com/office/powerpoint/2010/main" val="2665627358"/>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3429021" cy="419165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3" name="Picture Placeholder 3"/>
          <p:cNvSpPr>
            <a:spLocks noGrp="1"/>
          </p:cNvSpPr>
          <p:nvPr>
            <p:ph type="pic" sz="quarter" idx="23"/>
          </p:nvPr>
        </p:nvSpPr>
        <p:spPr>
          <a:xfrm>
            <a:off x="3809870" y="1142300"/>
            <a:ext cx="3427624" cy="4191659"/>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4" name="Picture Placeholder 3"/>
          <p:cNvSpPr>
            <a:spLocks noGrp="1"/>
          </p:cNvSpPr>
          <p:nvPr>
            <p:ph type="pic" sz="quarter" idx="24"/>
          </p:nvPr>
        </p:nvSpPr>
        <p:spPr>
          <a:xfrm>
            <a:off x="7238191" y="1142300"/>
            <a:ext cx="3430675" cy="419165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pPr>
              <a:defRPr/>
            </a:pPr>
            <a:fld id="{E219812A-2789-4634-A7F8-1F9CB93A0904}"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dirty="0"/>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sp>
        <p:nvSpPr>
          <p:cNvPr id="17" name="Text Placeholder 15"/>
          <p:cNvSpPr>
            <a:spLocks noGrp="1"/>
          </p:cNvSpPr>
          <p:nvPr>
            <p:ph type="body" sz="quarter" idx="25" hasCustomPrompt="1"/>
          </p:nvPr>
        </p:nvSpPr>
        <p:spPr>
          <a:xfrm>
            <a:off x="380149"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22" name="Text Placeholder 15"/>
          <p:cNvSpPr>
            <a:spLocks noGrp="1"/>
          </p:cNvSpPr>
          <p:nvPr>
            <p:ph type="body" sz="quarter" idx="26" hasCustomPrompt="1"/>
          </p:nvPr>
        </p:nvSpPr>
        <p:spPr>
          <a:xfrm>
            <a:off x="3809870"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23" name="Text Placeholder 15"/>
          <p:cNvSpPr>
            <a:spLocks noGrp="1"/>
          </p:cNvSpPr>
          <p:nvPr>
            <p:ph type="body" sz="quarter" idx="27" hasCustomPrompt="1"/>
          </p:nvPr>
        </p:nvSpPr>
        <p:spPr>
          <a:xfrm>
            <a:off x="7239066" y="5333534"/>
            <a:ext cx="3048347"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2166190306"/>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Images + Descriptions">
    <p:spTree>
      <p:nvGrpSpPr>
        <p:cNvPr id="1" name=""/>
        <p:cNvGrpSpPr/>
        <p:nvPr/>
      </p:nvGrpSpPr>
      <p:grpSpPr>
        <a:xfrm>
          <a:off x="0" y="0"/>
          <a:ext cx="0" cy="0"/>
          <a:chOff x="0" y="0"/>
          <a:chExt cx="0" cy="0"/>
        </a:xfrm>
      </p:grpSpPr>
      <p:sp>
        <p:nvSpPr>
          <p:cNvPr id="12" name="Picture Placeholder 3"/>
          <p:cNvSpPr>
            <a:spLocks noGrp="1"/>
          </p:cNvSpPr>
          <p:nvPr>
            <p:ph type="pic" sz="quarter" idx="18"/>
          </p:nvPr>
        </p:nvSpPr>
        <p:spPr>
          <a:xfrm>
            <a:off x="380150" y="1142300"/>
            <a:ext cx="2665223" cy="4191659"/>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3" name="Picture Placeholder 3"/>
          <p:cNvSpPr>
            <a:spLocks noGrp="1"/>
          </p:cNvSpPr>
          <p:nvPr>
            <p:ph type="pic" sz="quarter" idx="23"/>
          </p:nvPr>
        </p:nvSpPr>
        <p:spPr>
          <a:xfrm>
            <a:off x="3045373" y="1142300"/>
            <a:ext cx="2669555" cy="4191659"/>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4" name="Picture Placeholder 3"/>
          <p:cNvSpPr>
            <a:spLocks noGrp="1"/>
          </p:cNvSpPr>
          <p:nvPr>
            <p:ph type="pic" sz="quarter" idx="24"/>
          </p:nvPr>
        </p:nvSpPr>
        <p:spPr>
          <a:xfrm>
            <a:off x="5714801" y="1142300"/>
            <a:ext cx="2667329" cy="4191659"/>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2" name="Picture Placeholder 3"/>
          <p:cNvSpPr>
            <a:spLocks noGrp="1"/>
          </p:cNvSpPr>
          <p:nvPr>
            <p:ph type="pic" sz="quarter" idx="28"/>
          </p:nvPr>
        </p:nvSpPr>
        <p:spPr>
          <a:xfrm>
            <a:off x="8382130" y="1142300"/>
            <a:ext cx="2667329" cy="4191659"/>
          </a:xfrm>
          <a:solidFill>
            <a:schemeClr val="bg2">
              <a:lumMod val="20000"/>
              <a:lumOff val="80000"/>
            </a:schemeClr>
          </a:solidFill>
        </p:spPr>
        <p:txBody>
          <a:bodyPr anchor="ctr"/>
          <a:lstStyle>
            <a:lvl1pPr algn="ctr">
              <a:defRPr b="0">
                <a:solidFill>
                  <a:schemeClr val="tx1"/>
                </a:solidFill>
              </a:defRPr>
            </a:lvl1pPr>
          </a:lstStyle>
          <a:p>
            <a:r>
              <a:rPr lang="en-US" noProof="0" dirty="0"/>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987D3879-1F9C-4883-9A0D-236A4F7AD575}"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dirty="0"/>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sp>
        <p:nvSpPr>
          <p:cNvPr id="28" name="Text Placeholder 15"/>
          <p:cNvSpPr>
            <a:spLocks noGrp="1"/>
          </p:cNvSpPr>
          <p:nvPr>
            <p:ph type="body" sz="quarter" idx="25" hasCustomPrompt="1"/>
          </p:nvPr>
        </p:nvSpPr>
        <p:spPr>
          <a:xfrm>
            <a:off x="380149"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29" name="Text Placeholder 15"/>
          <p:cNvSpPr>
            <a:spLocks noGrp="1"/>
          </p:cNvSpPr>
          <p:nvPr>
            <p:ph type="body" sz="quarter" idx="29" hasCustomPrompt="1"/>
          </p:nvPr>
        </p:nvSpPr>
        <p:spPr>
          <a:xfrm>
            <a:off x="3045373"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30" name="Text Placeholder 15"/>
          <p:cNvSpPr>
            <a:spLocks noGrp="1"/>
          </p:cNvSpPr>
          <p:nvPr>
            <p:ph type="body" sz="quarter" idx="30" hasCustomPrompt="1"/>
          </p:nvPr>
        </p:nvSpPr>
        <p:spPr>
          <a:xfrm>
            <a:off x="5714801"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
        <p:nvSpPr>
          <p:cNvPr id="31" name="Text Placeholder 15"/>
          <p:cNvSpPr>
            <a:spLocks noGrp="1"/>
          </p:cNvSpPr>
          <p:nvPr>
            <p:ph type="body" sz="quarter" idx="31" hasCustomPrompt="1"/>
          </p:nvPr>
        </p:nvSpPr>
        <p:spPr>
          <a:xfrm>
            <a:off x="8382132" y="5333534"/>
            <a:ext cx="2287179" cy="762234"/>
          </a:xfrm>
        </p:spPr>
        <p:txBody>
          <a:bodyPr tIns="108000"/>
          <a:lstStyle>
            <a:lvl1pPr marL="0" indent="0">
              <a:lnSpc>
                <a:spcPct val="90000"/>
              </a:lnSpc>
              <a:spcBef>
                <a:spcPts val="0"/>
              </a:spcBef>
              <a:spcAft>
                <a:spcPts val="397"/>
              </a:spcAft>
              <a:buFont typeface="+mj-lt"/>
              <a:buNone/>
              <a:defRPr sz="1323" b="0" cap="all" baseline="0">
                <a:solidFill>
                  <a:schemeClr val="tx1"/>
                </a:solidFill>
                <a:latin typeface="+mn-lt"/>
              </a:defRPr>
            </a:lvl1pPr>
            <a:lvl2pPr marL="0" indent="0">
              <a:lnSpc>
                <a:spcPct val="90000"/>
              </a:lnSpc>
              <a:spcBef>
                <a:spcPts val="0"/>
              </a:spcBef>
              <a:spcAft>
                <a:spcPts val="397"/>
              </a:spcAft>
              <a:buFont typeface="+mj-lt"/>
              <a:buNone/>
              <a:defRPr sz="1323" b="0" cap="all" baseline="0">
                <a:solidFill>
                  <a:schemeClr val="tx1"/>
                </a:solidFill>
                <a:latin typeface="+mn-lt"/>
              </a:defRPr>
            </a:lvl2pPr>
            <a:lvl3pPr marL="0" indent="0">
              <a:spcBef>
                <a:spcPts val="0"/>
              </a:spcBef>
              <a:spcAft>
                <a:spcPts val="397"/>
              </a:spcAft>
              <a:buFont typeface="Arial" panose="020B0604020202020204" pitchFamily="34" charset="0"/>
              <a:buNone/>
              <a:defRPr sz="1323" cap="all" baseline="0"/>
            </a:lvl3pPr>
            <a:lvl4pPr marL="0" indent="0">
              <a:spcBef>
                <a:spcPts val="0"/>
              </a:spcBef>
              <a:spcAft>
                <a:spcPts val="397"/>
              </a:spcAft>
              <a:buNone/>
              <a:defRPr sz="1323" cap="all" baseline="0"/>
            </a:lvl4pPr>
            <a:lvl5pPr marL="0" indent="0">
              <a:lnSpc>
                <a:spcPct val="90000"/>
              </a:lnSpc>
              <a:spcBef>
                <a:spcPts val="0"/>
              </a:spcBef>
              <a:spcAft>
                <a:spcPts val="397"/>
              </a:spcAft>
              <a:buNone/>
              <a:defRPr sz="1323" cap="all" baseline="0">
                <a:solidFill>
                  <a:schemeClr val="tx1"/>
                </a:solidFill>
                <a:latin typeface="+mn-lt"/>
              </a:defRPr>
            </a:lvl5pPr>
            <a:lvl6pPr marL="0" indent="0">
              <a:lnSpc>
                <a:spcPct val="90000"/>
              </a:lnSpc>
              <a:spcBef>
                <a:spcPts val="0"/>
              </a:spcBef>
              <a:spcAft>
                <a:spcPts val="397"/>
              </a:spcAft>
              <a:buFont typeface="+mj-lt"/>
              <a:buNone/>
              <a:defRPr sz="1323" cap="all">
                <a:solidFill>
                  <a:schemeClr val="tx1"/>
                </a:solidFill>
                <a:latin typeface="+mn-lt"/>
              </a:defRPr>
            </a:lvl6pPr>
            <a:lvl7pPr marL="0" indent="0">
              <a:lnSpc>
                <a:spcPct val="90000"/>
              </a:lnSpc>
              <a:spcBef>
                <a:spcPts val="0"/>
              </a:spcBef>
              <a:spcAft>
                <a:spcPts val="397"/>
              </a:spcAft>
              <a:buFont typeface="+mj-lt"/>
              <a:buNone/>
              <a:defRPr sz="1323" cap="all">
                <a:solidFill>
                  <a:schemeClr val="tx1"/>
                </a:solidFill>
                <a:latin typeface="+mn-lt"/>
              </a:defRPr>
            </a:lvl7pPr>
            <a:lvl8pPr marL="0" indent="0">
              <a:lnSpc>
                <a:spcPct val="90000"/>
              </a:lnSpc>
              <a:spcBef>
                <a:spcPts val="0"/>
              </a:spcBef>
              <a:spcAft>
                <a:spcPts val="397"/>
              </a:spcAft>
              <a:buFont typeface="+mj-lt"/>
              <a:buNone/>
              <a:defRPr sz="1323" cap="all">
                <a:solidFill>
                  <a:schemeClr val="tx1"/>
                </a:solidFill>
                <a:latin typeface="+mn-lt"/>
              </a:defRPr>
            </a:lvl8pPr>
            <a:lvl9pPr marL="0" indent="0">
              <a:lnSpc>
                <a:spcPct val="90000"/>
              </a:lnSpc>
              <a:spcBef>
                <a:spcPts val="0"/>
              </a:spcBef>
              <a:spcAft>
                <a:spcPts val="397"/>
              </a:spcAft>
              <a:buFont typeface="+mj-lt"/>
              <a:buNone/>
              <a:defRPr sz="1323" cap="all">
                <a:solidFill>
                  <a:schemeClr val="tx1"/>
                </a:solidFill>
                <a:latin typeface="+mn-lt"/>
              </a:defRPr>
            </a:lvl9pPr>
          </a:lstStyle>
          <a:p>
            <a:pPr lvl="0"/>
            <a:r>
              <a:rPr lang="en-US" dirty="0"/>
              <a:t>Edit Master text styles</a:t>
            </a:r>
          </a:p>
          <a:p>
            <a:pPr lvl="0"/>
            <a:r>
              <a:rPr lang="en-US" dirty="0"/>
              <a:t>Second level</a:t>
            </a:r>
          </a:p>
        </p:txBody>
      </p:sp>
    </p:spTree>
    <p:extLst>
      <p:ext uri="{BB962C8B-B14F-4D97-AF65-F5344CB8AC3E}">
        <p14:creationId xmlns:p14="http://schemas.microsoft.com/office/powerpoint/2010/main" val="3444615350"/>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D7A410B-27CF-4526-900A-20F4C848289E}" type="datetime5">
              <a:rPr lang="en-US" smtClean="0"/>
              <a:t>6-Oct-21</a:t>
            </a:fld>
            <a:endParaRPr lang="en-US"/>
          </a:p>
        </p:txBody>
      </p:sp>
      <p:sp>
        <p:nvSpPr>
          <p:cNvPr id="6" name="Footer Placeholder 5"/>
          <p:cNvSpPr>
            <a:spLocks noGrp="1"/>
          </p:cNvSpPr>
          <p:nvPr>
            <p:ph type="ftr" sz="quarter" idx="11"/>
          </p:nvPr>
        </p:nvSpPr>
        <p:spPr/>
        <p:txBody>
          <a:bodyPr/>
          <a:lstStyle/>
          <a:p>
            <a:r>
              <a:rPr lang="en-US"/>
              <a:t>FOOTER / PRESENTATION NAME</a:t>
            </a:r>
          </a:p>
        </p:txBody>
      </p:sp>
      <p:sp>
        <p:nvSpPr>
          <p:cNvPr id="7" name="Slide Number Placeholder 6"/>
          <p:cNvSpPr>
            <a:spLocks noGrp="1"/>
          </p:cNvSpPr>
          <p:nvPr>
            <p:ph type="sldNum" sz="quarter" idx="12"/>
          </p:nvPr>
        </p:nvSpPr>
        <p:spPr/>
        <p:txBody>
          <a:bodyPr/>
          <a:lstStyle/>
          <a:p>
            <a:fld id="{40D2442B-3121-4A99-B6F9-065622924F82}" type="slidenum">
              <a:rPr lang="en-US" smtClean="0"/>
              <a:t>‹#›</a:t>
            </a:fld>
            <a:endParaRPr lang="en-US"/>
          </a:p>
        </p:txBody>
      </p:sp>
    </p:spTree>
    <p:extLst>
      <p:ext uri="{BB962C8B-B14F-4D97-AF65-F5344CB8AC3E}">
        <p14:creationId xmlns:p14="http://schemas.microsoft.com/office/powerpoint/2010/main" val="36842672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sumer Profile Insig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484F4A76-72F9-4965-9473-E4FD79D1F092}" type="datetime5">
              <a:rPr lang="en-US" smtClean="0"/>
              <a:t>6-Oct-21</a:t>
            </a:fld>
            <a:endParaRPr lang="en-US" dirty="0"/>
          </a:p>
        </p:txBody>
      </p:sp>
      <p:sp>
        <p:nvSpPr>
          <p:cNvPr id="4" name="Footer Placeholder 3"/>
          <p:cNvSpPr>
            <a:spLocks noGrp="1"/>
          </p:cNvSpPr>
          <p:nvPr>
            <p:ph type="ftr" sz="quarter" idx="11"/>
          </p:nvPr>
        </p:nvSpPr>
        <p:spPr/>
        <p:txBody>
          <a:bodyPr/>
          <a:lstStyle/>
          <a:p>
            <a:pPr>
              <a:defRPr/>
            </a:pPr>
            <a:r>
              <a:rPr lang="en-US" dirty="0"/>
              <a:t>FOOTER / PRESENTATION NAME</a:t>
            </a:r>
          </a:p>
        </p:txBody>
      </p:sp>
      <p:sp>
        <p:nvSpPr>
          <p:cNvPr id="5" name="Slide Number Placeholder 4"/>
          <p:cNvSpPr>
            <a:spLocks noGrp="1"/>
          </p:cNvSpPr>
          <p:nvPr>
            <p:ph type="sldNum" sz="quarter" idx="12"/>
          </p:nvPr>
        </p:nvSpPr>
        <p:spPr/>
        <p:txBody>
          <a:bodyPr/>
          <a:lstStyle/>
          <a:p>
            <a:pPr>
              <a:defRPr/>
            </a:pPr>
            <a:fld id="{66C8B3C2-955F-42B1-8DED-EE47D723596C}" type="slidenum">
              <a:rPr lang="en-US" smtClean="0"/>
              <a:pPr>
                <a:defRPr/>
              </a:pPr>
              <a:t>‹#›</a:t>
            </a:fld>
            <a:endParaRPr lang="en-US" dirty="0"/>
          </a:p>
        </p:txBody>
      </p:sp>
      <p:grpSp>
        <p:nvGrpSpPr>
          <p:cNvPr id="9" name="Group 4"/>
          <p:cNvGrpSpPr>
            <a:grpSpLocks noChangeAspect="1"/>
          </p:cNvGrpSpPr>
          <p:nvPr userDrawn="1"/>
        </p:nvGrpSpPr>
        <p:grpSpPr bwMode="auto">
          <a:xfrm>
            <a:off x="760296" y="1524040"/>
            <a:ext cx="556566" cy="382167"/>
            <a:chOff x="760" y="163"/>
            <a:chExt cx="4288" cy="2945"/>
          </a:xfrm>
        </p:grpSpPr>
        <p:sp>
          <p:nvSpPr>
            <p:cNvPr id="10" name="Freeform 9"/>
            <p:cNvSpPr>
              <a:spLocks/>
            </p:cNvSpPr>
            <p:nvPr/>
          </p:nvSpPr>
          <p:spPr bwMode="auto">
            <a:xfrm>
              <a:off x="760" y="163"/>
              <a:ext cx="4288" cy="2945"/>
            </a:xfrm>
            <a:custGeom>
              <a:avLst/>
              <a:gdLst>
                <a:gd name="T0" fmla="*/ 1818 w 1818"/>
                <a:gd name="T1" fmla="*/ 624 h 1249"/>
                <a:gd name="T2" fmla="*/ 912 w 1818"/>
                <a:gd name="T3" fmla="*/ 1249 h 1249"/>
                <a:gd name="T4" fmla="*/ 0 w 1818"/>
                <a:gd name="T5" fmla="*/ 624 h 1249"/>
                <a:gd name="T6" fmla="*/ 906 w 1818"/>
                <a:gd name="T7" fmla="*/ 0 h 1249"/>
                <a:gd name="T8" fmla="*/ 1818 w 1818"/>
                <a:gd name="T9" fmla="*/ 624 h 1249"/>
              </a:gdLst>
              <a:ahLst/>
              <a:cxnLst>
                <a:cxn ang="0">
                  <a:pos x="T0" y="T1"/>
                </a:cxn>
                <a:cxn ang="0">
                  <a:pos x="T2" y="T3"/>
                </a:cxn>
                <a:cxn ang="0">
                  <a:pos x="T4" y="T5"/>
                </a:cxn>
                <a:cxn ang="0">
                  <a:pos x="T6" y="T7"/>
                </a:cxn>
                <a:cxn ang="0">
                  <a:pos x="T8" y="T9"/>
                </a:cxn>
              </a:cxnLst>
              <a:rect l="0" t="0" r="r" b="b"/>
              <a:pathLst>
                <a:path w="1818" h="1249">
                  <a:moveTo>
                    <a:pt x="1818" y="624"/>
                  </a:moveTo>
                  <a:cubicBezTo>
                    <a:pt x="1818" y="624"/>
                    <a:pt x="1414" y="1249"/>
                    <a:pt x="912" y="1249"/>
                  </a:cubicBezTo>
                  <a:cubicBezTo>
                    <a:pt x="411" y="1249"/>
                    <a:pt x="0" y="624"/>
                    <a:pt x="0" y="624"/>
                  </a:cubicBezTo>
                  <a:cubicBezTo>
                    <a:pt x="0" y="624"/>
                    <a:pt x="404" y="0"/>
                    <a:pt x="906" y="0"/>
                  </a:cubicBezTo>
                  <a:cubicBezTo>
                    <a:pt x="1407" y="0"/>
                    <a:pt x="1818" y="624"/>
                    <a:pt x="1818" y="624"/>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1" name="Freeform 10"/>
            <p:cNvSpPr>
              <a:spLocks/>
            </p:cNvSpPr>
            <p:nvPr/>
          </p:nvSpPr>
          <p:spPr bwMode="auto">
            <a:xfrm>
              <a:off x="2281" y="1009"/>
              <a:ext cx="1276" cy="1252"/>
            </a:xfrm>
            <a:custGeom>
              <a:avLst/>
              <a:gdLst>
                <a:gd name="T0" fmla="*/ 270 w 541"/>
                <a:gd name="T1" fmla="*/ 0 h 531"/>
                <a:gd name="T2" fmla="*/ 155 w 541"/>
                <a:gd name="T3" fmla="*/ 26 h 531"/>
                <a:gd name="T4" fmla="*/ 180 w 541"/>
                <a:gd name="T5" fmla="*/ 100 h 531"/>
                <a:gd name="T6" fmla="*/ 59 w 541"/>
                <a:gd name="T7" fmla="*/ 221 h 531"/>
                <a:gd name="T8" fmla="*/ 6 w 541"/>
                <a:gd name="T9" fmla="*/ 209 h 531"/>
                <a:gd name="T10" fmla="*/ 0 w 541"/>
                <a:gd name="T11" fmla="*/ 265 h 531"/>
                <a:gd name="T12" fmla="*/ 270 w 541"/>
                <a:gd name="T13" fmla="*/ 531 h 531"/>
                <a:gd name="T14" fmla="*/ 541 w 541"/>
                <a:gd name="T15" fmla="*/ 265 h 531"/>
                <a:gd name="T16" fmla="*/ 270 w 541"/>
                <a:gd name="T17"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1" h="531">
                  <a:moveTo>
                    <a:pt x="270" y="0"/>
                  </a:moveTo>
                  <a:cubicBezTo>
                    <a:pt x="229" y="0"/>
                    <a:pt x="190" y="9"/>
                    <a:pt x="155" y="26"/>
                  </a:cubicBezTo>
                  <a:cubicBezTo>
                    <a:pt x="170" y="46"/>
                    <a:pt x="180" y="72"/>
                    <a:pt x="180" y="100"/>
                  </a:cubicBezTo>
                  <a:cubicBezTo>
                    <a:pt x="180" y="167"/>
                    <a:pt x="126" y="221"/>
                    <a:pt x="59" y="221"/>
                  </a:cubicBezTo>
                  <a:cubicBezTo>
                    <a:pt x="40" y="221"/>
                    <a:pt x="22" y="217"/>
                    <a:pt x="6" y="209"/>
                  </a:cubicBezTo>
                  <a:cubicBezTo>
                    <a:pt x="2" y="227"/>
                    <a:pt x="0" y="246"/>
                    <a:pt x="0" y="265"/>
                  </a:cubicBezTo>
                  <a:cubicBezTo>
                    <a:pt x="0" y="412"/>
                    <a:pt x="121" y="531"/>
                    <a:pt x="270" y="531"/>
                  </a:cubicBezTo>
                  <a:cubicBezTo>
                    <a:pt x="420" y="531"/>
                    <a:pt x="541" y="412"/>
                    <a:pt x="541" y="265"/>
                  </a:cubicBezTo>
                  <a:cubicBezTo>
                    <a:pt x="541" y="119"/>
                    <a:pt x="420" y="0"/>
                    <a:pt x="270" y="0"/>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2" name="Freeform 11"/>
            <p:cNvSpPr>
              <a:spLocks/>
            </p:cNvSpPr>
            <p:nvPr/>
          </p:nvSpPr>
          <p:spPr bwMode="auto">
            <a:xfrm>
              <a:off x="3557" y="623"/>
              <a:ext cx="559" cy="2049"/>
            </a:xfrm>
            <a:custGeom>
              <a:avLst/>
              <a:gdLst>
                <a:gd name="T0" fmla="*/ 0 w 237"/>
                <a:gd name="T1" fmla="*/ 869 h 869"/>
                <a:gd name="T2" fmla="*/ 237 w 237"/>
                <a:gd name="T3" fmla="*/ 436 h 869"/>
                <a:gd name="T4" fmla="*/ 0 w 237"/>
                <a:gd name="T5" fmla="*/ 0 h 869"/>
              </a:gdLst>
              <a:ahLst/>
              <a:cxnLst>
                <a:cxn ang="0">
                  <a:pos x="T0" y="T1"/>
                </a:cxn>
                <a:cxn ang="0">
                  <a:pos x="T2" y="T3"/>
                </a:cxn>
                <a:cxn ang="0">
                  <a:pos x="T4" y="T5"/>
                </a:cxn>
              </a:cxnLst>
              <a:rect l="0" t="0" r="r" b="b"/>
              <a:pathLst>
                <a:path w="237" h="869">
                  <a:moveTo>
                    <a:pt x="0" y="869"/>
                  </a:moveTo>
                  <a:cubicBezTo>
                    <a:pt x="142" y="790"/>
                    <a:pt x="237" y="617"/>
                    <a:pt x="237" y="436"/>
                  </a:cubicBezTo>
                  <a:cubicBezTo>
                    <a:pt x="237" y="254"/>
                    <a:pt x="142" y="79"/>
                    <a:pt x="0" y="0"/>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3" name="Freeform 12"/>
            <p:cNvSpPr>
              <a:spLocks/>
            </p:cNvSpPr>
            <p:nvPr/>
          </p:nvSpPr>
          <p:spPr bwMode="auto">
            <a:xfrm>
              <a:off x="1692" y="623"/>
              <a:ext cx="558" cy="2049"/>
            </a:xfrm>
            <a:custGeom>
              <a:avLst/>
              <a:gdLst>
                <a:gd name="T0" fmla="*/ 237 w 237"/>
                <a:gd name="T1" fmla="*/ 0 h 869"/>
                <a:gd name="T2" fmla="*/ 0 w 237"/>
                <a:gd name="T3" fmla="*/ 436 h 869"/>
                <a:gd name="T4" fmla="*/ 237 w 237"/>
                <a:gd name="T5" fmla="*/ 869 h 869"/>
              </a:gdLst>
              <a:ahLst/>
              <a:cxnLst>
                <a:cxn ang="0">
                  <a:pos x="T0" y="T1"/>
                </a:cxn>
                <a:cxn ang="0">
                  <a:pos x="T2" y="T3"/>
                </a:cxn>
                <a:cxn ang="0">
                  <a:pos x="T4" y="T5"/>
                </a:cxn>
              </a:cxnLst>
              <a:rect l="0" t="0" r="r" b="b"/>
              <a:pathLst>
                <a:path w="237" h="869">
                  <a:moveTo>
                    <a:pt x="237" y="0"/>
                  </a:moveTo>
                  <a:cubicBezTo>
                    <a:pt x="95" y="79"/>
                    <a:pt x="0" y="254"/>
                    <a:pt x="0" y="436"/>
                  </a:cubicBezTo>
                  <a:cubicBezTo>
                    <a:pt x="0" y="617"/>
                    <a:pt x="95" y="790"/>
                    <a:pt x="237" y="869"/>
                  </a:cubicBez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grpSp>
      <p:grpSp>
        <p:nvGrpSpPr>
          <p:cNvPr id="14" name="Group 11"/>
          <p:cNvGrpSpPr>
            <a:grpSpLocks noChangeAspect="1"/>
          </p:cNvGrpSpPr>
          <p:nvPr userDrawn="1"/>
        </p:nvGrpSpPr>
        <p:grpSpPr bwMode="auto">
          <a:xfrm>
            <a:off x="4190640" y="1524039"/>
            <a:ext cx="431579" cy="382171"/>
            <a:chOff x="1110" y="47"/>
            <a:chExt cx="3587" cy="3177"/>
          </a:xfrm>
        </p:grpSpPr>
        <p:sp>
          <p:nvSpPr>
            <p:cNvPr id="15" name="Freeform 12"/>
            <p:cNvSpPr>
              <a:spLocks/>
            </p:cNvSpPr>
            <p:nvPr/>
          </p:nvSpPr>
          <p:spPr bwMode="auto">
            <a:xfrm>
              <a:off x="1110" y="535"/>
              <a:ext cx="3587" cy="2689"/>
            </a:xfrm>
            <a:custGeom>
              <a:avLst/>
              <a:gdLst>
                <a:gd name="T0" fmla="*/ 2447 w 3587"/>
                <a:gd name="T1" fmla="*/ 0 h 2689"/>
                <a:gd name="T2" fmla="*/ 3587 w 3587"/>
                <a:gd name="T3" fmla="*/ 0 h 2689"/>
                <a:gd name="T4" fmla="*/ 3587 w 3587"/>
                <a:gd name="T5" fmla="*/ 2689 h 2689"/>
                <a:gd name="T6" fmla="*/ 0 w 3587"/>
                <a:gd name="T7" fmla="*/ 2689 h 2689"/>
                <a:gd name="T8" fmla="*/ 0 w 3587"/>
                <a:gd name="T9" fmla="*/ 0 h 2689"/>
                <a:gd name="T10" fmla="*/ 1305 w 3587"/>
                <a:gd name="T11" fmla="*/ 0 h 2689"/>
              </a:gdLst>
              <a:ahLst/>
              <a:cxnLst>
                <a:cxn ang="0">
                  <a:pos x="T0" y="T1"/>
                </a:cxn>
                <a:cxn ang="0">
                  <a:pos x="T2" y="T3"/>
                </a:cxn>
                <a:cxn ang="0">
                  <a:pos x="T4" y="T5"/>
                </a:cxn>
                <a:cxn ang="0">
                  <a:pos x="T6" y="T7"/>
                </a:cxn>
                <a:cxn ang="0">
                  <a:pos x="T8" y="T9"/>
                </a:cxn>
                <a:cxn ang="0">
                  <a:pos x="T10" y="T11"/>
                </a:cxn>
              </a:cxnLst>
              <a:rect l="0" t="0" r="r" b="b"/>
              <a:pathLst>
                <a:path w="3587" h="2689">
                  <a:moveTo>
                    <a:pt x="2447" y="0"/>
                  </a:moveTo>
                  <a:lnTo>
                    <a:pt x="3587" y="0"/>
                  </a:lnTo>
                  <a:lnTo>
                    <a:pt x="3587" y="2689"/>
                  </a:lnTo>
                  <a:lnTo>
                    <a:pt x="0" y="2689"/>
                  </a:lnTo>
                  <a:lnTo>
                    <a:pt x="0" y="0"/>
                  </a:lnTo>
                  <a:lnTo>
                    <a:pt x="1305" y="0"/>
                  </a:lnTo>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6" name="Rectangle 13"/>
            <p:cNvSpPr>
              <a:spLocks noChangeArrowheads="1"/>
            </p:cNvSpPr>
            <p:nvPr/>
          </p:nvSpPr>
          <p:spPr bwMode="auto">
            <a:xfrm>
              <a:off x="1516" y="1268"/>
              <a:ext cx="1305" cy="1548"/>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7" name="Freeform 14"/>
            <p:cNvSpPr>
              <a:spLocks/>
            </p:cNvSpPr>
            <p:nvPr/>
          </p:nvSpPr>
          <p:spPr bwMode="auto">
            <a:xfrm>
              <a:off x="1516" y="2331"/>
              <a:ext cx="1305" cy="485"/>
            </a:xfrm>
            <a:custGeom>
              <a:avLst/>
              <a:gdLst>
                <a:gd name="T0" fmla="*/ 277 w 553"/>
                <a:gd name="T1" fmla="*/ 206 h 206"/>
                <a:gd name="T2" fmla="*/ 553 w 553"/>
                <a:gd name="T3" fmla="*/ 206 h 206"/>
                <a:gd name="T4" fmla="*/ 553 w 553"/>
                <a:gd name="T5" fmla="*/ 88 h 206"/>
                <a:gd name="T6" fmla="*/ 277 w 553"/>
                <a:gd name="T7" fmla="*/ 0 h 206"/>
                <a:gd name="T8" fmla="*/ 0 w 553"/>
                <a:gd name="T9" fmla="*/ 88 h 206"/>
                <a:gd name="T10" fmla="*/ 0 w 553"/>
                <a:gd name="T11" fmla="*/ 206 h 206"/>
                <a:gd name="T12" fmla="*/ 277 w 55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553" h="206">
                  <a:moveTo>
                    <a:pt x="277" y="206"/>
                  </a:moveTo>
                  <a:cubicBezTo>
                    <a:pt x="553" y="206"/>
                    <a:pt x="553" y="206"/>
                    <a:pt x="553" y="206"/>
                  </a:cubicBezTo>
                  <a:cubicBezTo>
                    <a:pt x="553" y="88"/>
                    <a:pt x="553" y="88"/>
                    <a:pt x="553" y="88"/>
                  </a:cubicBezTo>
                  <a:cubicBezTo>
                    <a:pt x="540" y="74"/>
                    <a:pt x="405" y="0"/>
                    <a:pt x="277" y="0"/>
                  </a:cubicBezTo>
                  <a:cubicBezTo>
                    <a:pt x="149" y="0"/>
                    <a:pt x="13" y="74"/>
                    <a:pt x="0" y="88"/>
                  </a:cubicBezTo>
                  <a:cubicBezTo>
                    <a:pt x="0" y="206"/>
                    <a:pt x="0" y="206"/>
                    <a:pt x="0" y="206"/>
                  </a:cubicBezTo>
                  <a:lnTo>
                    <a:pt x="277" y="206"/>
                  </a:ln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8" name="Freeform 15"/>
            <p:cNvSpPr>
              <a:spLocks/>
            </p:cNvSpPr>
            <p:nvPr/>
          </p:nvSpPr>
          <p:spPr bwMode="auto">
            <a:xfrm>
              <a:off x="1924" y="1513"/>
              <a:ext cx="491" cy="573"/>
            </a:xfrm>
            <a:custGeom>
              <a:avLst/>
              <a:gdLst>
                <a:gd name="T0" fmla="*/ 104 w 208"/>
                <a:gd name="T1" fmla="*/ 0 h 243"/>
                <a:gd name="T2" fmla="*/ 104 w 208"/>
                <a:gd name="T3" fmla="*/ 0 h 243"/>
                <a:gd name="T4" fmla="*/ 0 w 208"/>
                <a:gd name="T5" fmla="*/ 105 h 243"/>
                <a:gd name="T6" fmla="*/ 0 w 208"/>
                <a:gd name="T7" fmla="*/ 138 h 243"/>
                <a:gd name="T8" fmla="*/ 104 w 208"/>
                <a:gd name="T9" fmla="*/ 243 h 243"/>
                <a:gd name="T10" fmla="*/ 104 w 208"/>
                <a:gd name="T11" fmla="*/ 243 h 243"/>
                <a:gd name="T12" fmla="*/ 208 w 208"/>
                <a:gd name="T13" fmla="*/ 138 h 243"/>
                <a:gd name="T14" fmla="*/ 208 w 208"/>
                <a:gd name="T15" fmla="*/ 105 h 243"/>
                <a:gd name="T16" fmla="*/ 104 w 208"/>
                <a:gd name="T17"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243">
                  <a:moveTo>
                    <a:pt x="104" y="0"/>
                  </a:moveTo>
                  <a:cubicBezTo>
                    <a:pt x="104" y="0"/>
                    <a:pt x="104" y="0"/>
                    <a:pt x="104" y="0"/>
                  </a:cubicBezTo>
                  <a:cubicBezTo>
                    <a:pt x="47" y="0"/>
                    <a:pt x="0" y="47"/>
                    <a:pt x="0" y="105"/>
                  </a:cubicBezTo>
                  <a:cubicBezTo>
                    <a:pt x="0" y="138"/>
                    <a:pt x="0" y="138"/>
                    <a:pt x="0" y="138"/>
                  </a:cubicBezTo>
                  <a:cubicBezTo>
                    <a:pt x="0" y="196"/>
                    <a:pt x="47" y="243"/>
                    <a:pt x="104" y="243"/>
                  </a:cubicBezTo>
                  <a:cubicBezTo>
                    <a:pt x="104" y="243"/>
                    <a:pt x="104" y="243"/>
                    <a:pt x="104" y="243"/>
                  </a:cubicBezTo>
                  <a:cubicBezTo>
                    <a:pt x="161" y="243"/>
                    <a:pt x="208" y="196"/>
                    <a:pt x="208" y="138"/>
                  </a:cubicBezTo>
                  <a:cubicBezTo>
                    <a:pt x="208" y="105"/>
                    <a:pt x="208" y="105"/>
                    <a:pt x="208" y="105"/>
                  </a:cubicBezTo>
                  <a:cubicBezTo>
                    <a:pt x="208" y="47"/>
                    <a:pt x="161" y="0"/>
                    <a:pt x="104" y="0"/>
                  </a:cubicBezTo>
                  <a:close/>
                </a:path>
              </a:pathLst>
            </a:cu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19" name="Line 16"/>
            <p:cNvSpPr>
              <a:spLocks noChangeShapeType="1"/>
            </p:cNvSpPr>
            <p:nvPr/>
          </p:nvSpPr>
          <p:spPr bwMode="auto">
            <a:xfrm>
              <a:off x="3229" y="1595"/>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0" name="Line 17"/>
            <p:cNvSpPr>
              <a:spLocks noChangeShapeType="1"/>
            </p:cNvSpPr>
            <p:nvPr/>
          </p:nvSpPr>
          <p:spPr bwMode="auto">
            <a:xfrm>
              <a:off x="3229" y="1921"/>
              <a:ext cx="1062"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1" name="Line 18"/>
            <p:cNvSpPr>
              <a:spLocks noChangeShapeType="1"/>
            </p:cNvSpPr>
            <p:nvPr/>
          </p:nvSpPr>
          <p:spPr bwMode="auto">
            <a:xfrm>
              <a:off x="3229" y="2246"/>
              <a:ext cx="571"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2" name="Line 19"/>
            <p:cNvSpPr>
              <a:spLocks noChangeShapeType="1"/>
            </p:cNvSpPr>
            <p:nvPr/>
          </p:nvSpPr>
          <p:spPr bwMode="auto">
            <a:xfrm>
              <a:off x="2333" y="862"/>
              <a:ext cx="1305"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3" name="Line 20"/>
            <p:cNvSpPr>
              <a:spLocks noChangeShapeType="1"/>
            </p:cNvSpPr>
            <p:nvPr/>
          </p:nvSpPr>
          <p:spPr bwMode="auto">
            <a:xfrm flipH="1">
              <a:off x="2007"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4" name="Line 21"/>
            <p:cNvSpPr>
              <a:spLocks noChangeShapeType="1"/>
            </p:cNvSpPr>
            <p:nvPr/>
          </p:nvSpPr>
          <p:spPr bwMode="auto">
            <a:xfrm>
              <a:off x="3800" y="862"/>
              <a:ext cx="163" cy="0"/>
            </a:xfrm>
            <a:prstGeom prst="line">
              <a:avLst/>
            </a:prstGeom>
            <a:noFill/>
            <a:ln w="12700" cap="flat">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5" name="Rectangle 22"/>
            <p:cNvSpPr>
              <a:spLocks noChangeArrowheads="1"/>
            </p:cNvSpPr>
            <p:nvPr/>
          </p:nvSpPr>
          <p:spPr bwMode="auto">
            <a:xfrm>
              <a:off x="2658" y="47"/>
              <a:ext cx="654" cy="815"/>
            </a:xfrm>
            <a:prstGeom prst="rect">
              <a:avLst/>
            </a:prstGeom>
            <a:noFill/>
            <a:ln w="127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grpSp>
      <p:grpSp>
        <p:nvGrpSpPr>
          <p:cNvPr id="26" name="Group 25"/>
          <p:cNvGrpSpPr>
            <a:grpSpLocks noChangeAspect="1"/>
          </p:cNvGrpSpPr>
          <p:nvPr userDrawn="1"/>
        </p:nvGrpSpPr>
        <p:grpSpPr bwMode="auto">
          <a:xfrm>
            <a:off x="7620290" y="1423855"/>
            <a:ext cx="343892" cy="482351"/>
            <a:chOff x="1875" y="24852"/>
            <a:chExt cx="2050" cy="364666"/>
          </a:xfrm>
        </p:grpSpPr>
        <p:sp>
          <p:nvSpPr>
            <p:cNvPr id="27" name="Freeform 26"/>
            <p:cNvSpPr>
              <a:spLocks/>
            </p:cNvSpPr>
            <p:nvPr/>
          </p:nvSpPr>
          <p:spPr bwMode="auto">
            <a:xfrm>
              <a:off x="2260" y="24852"/>
              <a:ext cx="1280" cy="73035"/>
            </a:xfrm>
            <a:custGeom>
              <a:avLst/>
              <a:gdLst>
                <a:gd name="T0" fmla="*/ 347 w 542"/>
                <a:gd name="T1" fmla="*/ 108 h 244"/>
                <a:gd name="T2" fmla="*/ 352 w 542"/>
                <a:gd name="T3" fmla="*/ 81 h 244"/>
                <a:gd name="T4" fmla="*/ 271 w 542"/>
                <a:gd name="T5" fmla="*/ 0 h 244"/>
                <a:gd name="T6" fmla="*/ 190 w 542"/>
                <a:gd name="T7" fmla="*/ 81 h 244"/>
                <a:gd name="T8" fmla="*/ 195 w 542"/>
                <a:gd name="T9" fmla="*/ 108 h 244"/>
                <a:gd name="T10" fmla="*/ 0 w 542"/>
                <a:gd name="T11" fmla="*/ 108 h 244"/>
                <a:gd name="T12" fmla="*/ 0 w 542"/>
                <a:gd name="T13" fmla="*/ 244 h 244"/>
                <a:gd name="T14" fmla="*/ 542 w 542"/>
                <a:gd name="T15" fmla="*/ 244 h 244"/>
                <a:gd name="T16" fmla="*/ 542 w 542"/>
                <a:gd name="T17" fmla="*/ 108 h 244"/>
                <a:gd name="T18" fmla="*/ 347 w 542"/>
                <a:gd name="T19" fmla="*/ 1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2" h="244">
                  <a:moveTo>
                    <a:pt x="347" y="108"/>
                  </a:moveTo>
                  <a:cubicBezTo>
                    <a:pt x="350" y="100"/>
                    <a:pt x="352" y="91"/>
                    <a:pt x="352" y="81"/>
                  </a:cubicBezTo>
                  <a:cubicBezTo>
                    <a:pt x="352" y="36"/>
                    <a:pt x="316" y="0"/>
                    <a:pt x="271" y="0"/>
                  </a:cubicBezTo>
                  <a:cubicBezTo>
                    <a:pt x="226" y="0"/>
                    <a:pt x="190" y="36"/>
                    <a:pt x="190" y="81"/>
                  </a:cubicBezTo>
                  <a:cubicBezTo>
                    <a:pt x="190" y="91"/>
                    <a:pt x="192" y="100"/>
                    <a:pt x="195" y="108"/>
                  </a:cubicBezTo>
                  <a:cubicBezTo>
                    <a:pt x="0" y="108"/>
                    <a:pt x="0" y="108"/>
                    <a:pt x="0" y="108"/>
                  </a:cubicBezTo>
                  <a:cubicBezTo>
                    <a:pt x="0" y="244"/>
                    <a:pt x="0" y="244"/>
                    <a:pt x="0" y="244"/>
                  </a:cubicBezTo>
                  <a:cubicBezTo>
                    <a:pt x="542" y="244"/>
                    <a:pt x="542" y="244"/>
                    <a:pt x="542" y="244"/>
                  </a:cubicBezTo>
                  <a:cubicBezTo>
                    <a:pt x="542" y="108"/>
                    <a:pt x="542" y="108"/>
                    <a:pt x="542" y="108"/>
                  </a:cubicBezTo>
                  <a:lnTo>
                    <a:pt x="347" y="108"/>
                  </a:ln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8" name="Freeform 27"/>
            <p:cNvSpPr>
              <a:spLocks/>
            </p:cNvSpPr>
            <p:nvPr/>
          </p:nvSpPr>
          <p:spPr bwMode="auto">
            <a:xfrm>
              <a:off x="1875" y="73669"/>
              <a:ext cx="2050" cy="315849"/>
            </a:xfrm>
            <a:custGeom>
              <a:avLst/>
              <a:gdLst>
                <a:gd name="T0" fmla="*/ 1665 w 2050"/>
                <a:gd name="T1" fmla="*/ 0 h 2491"/>
                <a:gd name="T2" fmla="*/ 2050 w 2050"/>
                <a:gd name="T3" fmla="*/ 0 h 2491"/>
                <a:gd name="T4" fmla="*/ 2050 w 2050"/>
                <a:gd name="T5" fmla="*/ 2491 h 2491"/>
                <a:gd name="T6" fmla="*/ 0 w 2050"/>
                <a:gd name="T7" fmla="*/ 2491 h 2491"/>
                <a:gd name="T8" fmla="*/ 0 w 2050"/>
                <a:gd name="T9" fmla="*/ 0 h 2491"/>
                <a:gd name="T10" fmla="*/ 385 w 2050"/>
                <a:gd name="T11" fmla="*/ 0 h 2491"/>
              </a:gdLst>
              <a:ahLst/>
              <a:cxnLst>
                <a:cxn ang="0">
                  <a:pos x="T0" y="T1"/>
                </a:cxn>
                <a:cxn ang="0">
                  <a:pos x="T2" y="T3"/>
                </a:cxn>
                <a:cxn ang="0">
                  <a:pos x="T4" y="T5"/>
                </a:cxn>
                <a:cxn ang="0">
                  <a:pos x="T6" y="T7"/>
                </a:cxn>
                <a:cxn ang="0">
                  <a:pos x="T8" y="T9"/>
                </a:cxn>
                <a:cxn ang="0">
                  <a:pos x="T10" y="T11"/>
                </a:cxn>
              </a:cxnLst>
              <a:rect l="0" t="0" r="r" b="b"/>
              <a:pathLst>
                <a:path w="2050" h="2491">
                  <a:moveTo>
                    <a:pt x="1665" y="0"/>
                  </a:moveTo>
                  <a:lnTo>
                    <a:pt x="2050" y="0"/>
                  </a:lnTo>
                  <a:lnTo>
                    <a:pt x="2050" y="2491"/>
                  </a:lnTo>
                  <a:lnTo>
                    <a:pt x="0" y="2491"/>
                  </a:lnTo>
                  <a:lnTo>
                    <a:pt x="0" y="0"/>
                  </a:lnTo>
                  <a:lnTo>
                    <a:pt x="385"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29" name="Freeform 28"/>
            <p:cNvSpPr>
              <a:spLocks/>
            </p:cNvSpPr>
            <p:nvPr/>
          </p:nvSpPr>
          <p:spPr bwMode="auto">
            <a:xfrm>
              <a:off x="2196" y="154565"/>
              <a:ext cx="513" cy="64920"/>
            </a:xfrm>
            <a:custGeom>
              <a:avLst/>
              <a:gdLst>
                <a:gd name="T0" fmla="*/ 513 w 513"/>
                <a:gd name="T1" fmla="*/ 382 h 512"/>
                <a:gd name="T2" fmla="*/ 513 w 513"/>
                <a:gd name="T3" fmla="*/ 512 h 512"/>
                <a:gd name="T4" fmla="*/ 0 w 513"/>
                <a:gd name="T5" fmla="*/ 512 h 512"/>
                <a:gd name="T6" fmla="*/ 0 w 513"/>
                <a:gd name="T7" fmla="*/ 0 h 512"/>
                <a:gd name="T8" fmla="*/ 319 w 513"/>
                <a:gd name="T9" fmla="*/ 0 h 512"/>
              </a:gdLst>
              <a:ahLst/>
              <a:cxnLst>
                <a:cxn ang="0">
                  <a:pos x="T0" y="T1"/>
                </a:cxn>
                <a:cxn ang="0">
                  <a:pos x="T2" y="T3"/>
                </a:cxn>
                <a:cxn ang="0">
                  <a:pos x="T4" y="T5"/>
                </a:cxn>
                <a:cxn ang="0">
                  <a:pos x="T6" y="T7"/>
                </a:cxn>
                <a:cxn ang="0">
                  <a:pos x="T8" y="T9"/>
                </a:cxn>
              </a:cxnLst>
              <a:rect l="0" t="0" r="r" b="b"/>
              <a:pathLst>
                <a:path w="513" h="512">
                  <a:moveTo>
                    <a:pt x="513" y="382"/>
                  </a:moveTo>
                  <a:lnTo>
                    <a:pt x="513" y="512"/>
                  </a:lnTo>
                  <a:lnTo>
                    <a:pt x="0" y="512"/>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0" name="Freeform 29"/>
            <p:cNvSpPr>
              <a:spLocks/>
            </p:cNvSpPr>
            <p:nvPr/>
          </p:nvSpPr>
          <p:spPr bwMode="auto">
            <a:xfrm>
              <a:off x="2388" y="150380"/>
              <a:ext cx="479" cy="44632"/>
            </a:xfrm>
            <a:custGeom>
              <a:avLst/>
              <a:gdLst>
                <a:gd name="T0" fmla="*/ 0 w 479"/>
                <a:gd name="T1" fmla="*/ 224 h 352"/>
                <a:gd name="T2" fmla="*/ 127 w 479"/>
                <a:gd name="T3" fmla="*/ 352 h 352"/>
                <a:gd name="T4" fmla="*/ 479 w 479"/>
                <a:gd name="T5" fmla="*/ 0 h 352"/>
              </a:gdLst>
              <a:ahLst/>
              <a:cxnLst>
                <a:cxn ang="0">
                  <a:pos x="T0" y="T1"/>
                </a:cxn>
                <a:cxn ang="0">
                  <a:pos x="T2" y="T3"/>
                </a:cxn>
                <a:cxn ang="0">
                  <a:pos x="T4" y="T5"/>
                </a:cxn>
              </a:cxnLst>
              <a:rect l="0" t="0" r="r" b="b"/>
              <a:pathLst>
                <a:path w="479" h="352">
                  <a:moveTo>
                    <a:pt x="0" y="224"/>
                  </a:moveTo>
                  <a:lnTo>
                    <a:pt x="127" y="352"/>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1" name="Freeform 30"/>
            <p:cNvSpPr>
              <a:spLocks/>
            </p:cNvSpPr>
            <p:nvPr/>
          </p:nvSpPr>
          <p:spPr bwMode="auto">
            <a:xfrm>
              <a:off x="2196" y="267920"/>
              <a:ext cx="513" cy="64793"/>
            </a:xfrm>
            <a:custGeom>
              <a:avLst/>
              <a:gdLst>
                <a:gd name="T0" fmla="*/ 513 w 513"/>
                <a:gd name="T1" fmla="*/ 384 h 511"/>
                <a:gd name="T2" fmla="*/ 513 w 513"/>
                <a:gd name="T3" fmla="*/ 511 h 511"/>
                <a:gd name="T4" fmla="*/ 0 w 513"/>
                <a:gd name="T5" fmla="*/ 511 h 511"/>
                <a:gd name="T6" fmla="*/ 0 w 513"/>
                <a:gd name="T7" fmla="*/ 0 h 511"/>
                <a:gd name="T8" fmla="*/ 319 w 513"/>
                <a:gd name="T9" fmla="*/ 0 h 511"/>
              </a:gdLst>
              <a:ahLst/>
              <a:cxnLst>
                <a:cxn ang="0">
                  <a:pos x="T0" y="T1"/>
                </a:cxn>
                <a:cxn ang="0">
                  <a:pos x="T2" y="T3"/>
                </a:cxn>
                <a:cxn ang="0">
                  <a:pos x="T4" y="T5"/>
                </a:cxn>
                <a:cxn ang="0">
                  <a:pos x="T6" y="T7"/>
                </a:cxn>
                <a:cxn ang="0">
                  <a:pos x="T8" y="T9"/>
                </a:cxn>
              </a:cxnLst>
              <a:rect l="0" t="0" r="r" b="b"/>
              <a:pathLst>
                <a:path w="513" h="511">
                  <a:moveTo>
                    <a:pt x="513" y="384"/>
                  </a:moveTo>
                  <a:lnTo>
                    <a:pt x="513" y="511"/>
                  </a:lnTo>
                  <a:lnTo>
                    <a:pt x="0" y="511"/>
                  </a:lnTo>
                  <a:lnTo>
                    <a:pt x="0" y="0"/>
                  </a:lnTo>
                  <a:lnTo>
                    <a:pt x="31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2" name="Freeform 31"/>
            <p:cNvSpPr>
              <a:spLocks/>
            </p:cNvSpPr>
            <p:nvPr/>
          </p:nvSpPr>
          <p:spPr bwMode="auto">
            <a:xfrm>
              <a:off x="2388" y="263990"/>
              <a:ext cx="479" cy="44505"/>
            </a:xfrm>
            <a:custGeom>
              <a:avLst/>
              <a:gdLst>
                <a:gd name="T0" fmla="*/ 0 w 479"/>
                <a:gd name="T1" fmla="*/ 224 h 351"/>
                <a:gd name="T2" fmla="*/ 127 w 479"/>
                <a:gd name="T3" fmla="*/ 351 h 351"/>
                <a:gd name="T4" fmla="*/ 479 w 479"/>
                <a:gd name="T5" fmla="*/ 0 h 351"/>
              </a:gdLst>
              <a:ahLst/>
              <a:cxnLst>
                <a:cxn ang="0">
                  <a:pos x="T0" y="T1"/>
                </a:cxn>
                <a:cxn ang="0">
                  <a:pos x="T2" y="T3"/>
                </a:cxn>
                <a:cxn ang="0">
                  <a:pos x="T4" y="T5"/>
                </a:cxn>
              </a:cxnLst>
              <a:rect l="0" t="0" r="r" b="b"/>
              <a:pathLst>
                <a:path w="479" h="351">
                  <a:moveTo>
                    <a:pt x="0" y="224"/>
                  </a:moveTo>
                  <a:lnTo>
                    <a:pt x="127" y="351"/>
                  </a:lnTo>
                  <a:lnTo>
                    <a:pt x="479" y="0"/>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3" name="Line 32"/>
            <p:cNvSpPr>
              <a:spLocks noChangeShapeType="1"/>
            </p:cNvSpPr>
            <p:nvPr/>
          </p:nvSpPr>
          <p:spPr bwMode="auto">
            <a:xfrm>
              <a:off x="3028" y="170794"/>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4" name="Line 33"/>
            <p:cNvSpPr>
              <a:spLocks noChangeShapeType="1"/>
            </p:cNvSpPr>
            <p:nvPr/>
          </p:nvSpPr>
          <p:spPr bwMode="auto">
            <a:xfrm>
              <a:off x="3028" y="203001"/>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5" name="Line 34"/>
            <p:cNvSpPr>
              <a:spLocks noChangeShapeType="1"/>
            </p:cNvSpPr>
            <p:nvPr/>
          </p:nvSpPr>
          <p:spPr bwMode="auto">
            <a:xfrm>
              <a:off x="3028" y="284277"/>
              <a:ext cx="640"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sp>
          <p:nvSpPr>
            <p:cNvPr id="36" name="Line 35"/>
            <p:cNvSpPr>
              <a:spLocks noChangeShapeType="1"/>
            </p:cNvSpPr>
            <p:nvPr/>
          </p:nvSpPr>
          <p:spPr bwMode="auto">
            <a:xfrm>
              <a:off x="3028" y="316822"/>
              <a:ext cx="385" cy="0"/>
            </a:xfrm>
            <a:prstGeom prst="line">
              <a:avLst/>
            </a:prstGeom>
            <a:noFill/>
            <a:ln w="12700"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381" dirty="0">
                <a:latin typeface="adiText Light Beta" pitchFamily="34" charset="0"/>
              </a:endParaRPr>
            </a:p>
          </p:txBody>
        </p:sp>
      </p:grpSp>
      <p:sp>
        <p:nvSpPr>
          <p:cNvPr id="40" name="Text Placeholder 39"/>
          <p:cNvSpPr>
            <a:spLocks noGrp="1"/>
          </p:cNvSpPr>
          <p:nvPr>
            <p:ph type="body" sz="quarter" idx="13"/>
          </p:nvPr>
        </p:nvSpPr>
        <p:spPr>
          <a:xfrm>
            <a:off x="760294"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Text Placeholder 39"/>
          <p:cNvSpPr>
            <a:spLocks noGrp="1"/>
          </p:cNvSpPr>
          <p:nvPr>
            <p:ph type="body" sz="quarter" idx="14"/>
          </p:nvPr>
        </p:nvSpPr>
        <p:spPr>
          <a:xfrm>
            <a:off x="4189643"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Placeholder 39"/>
          <p:cNvSpPr>
            <a:spLocks noGrp="1"/>
          </p:cNvSpPr>
          <p:nvPr>
            <p:ph type="body" sz="quarter" idx="15"/>
          </p:nvPr>
        </p:nvSpPr>
        <p:spPr>
          <a:xfrm>
            <a:off x="7620289" y="2286700"/>
            <a:ext cx="3049574" cy="3428251"/>
          </a:xfrm>
        </p:spPr>
        <p:txBody>
          <a:bodyPr/>
          <a:lstStyle>
            <a:lvl1pPr>
              <a:defRPr sz="1455"/>
            </a:lvl1pPr>
            <a:lvl2pPr>
              <a:defRPr sz="1455"/>
            </a:lvl2pPr>
            <a:lvl3pPr>
              <a:defRPr sz="1455"/>
            </a:lvl3pPr>
            <a:lvl4pPr>
              <a:defRPr sz="1455"/>
            </a:lvl4pPr>
            <a:lvl5pPr>
              <a:defRPr sz="14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1100833"/>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llage (1)">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4" name="Picture Placeholder 3"/>
          <p:cNvSpPr>
            <a:spLocks noGrp="1"/>
          </p:cNvSpPr>
          <p:nvPr>
            <p:ph type="pic" sz="quarter" idx="28"/>
          </p:nvPr>
        </p:nvSpPr>
        <p:spPr>
          <a:xfrm>
            <a:off x="5714803" y="525"/>
            <a:ext cx="6478070" cy="6857475"/>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dirty="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61DBF8EE-2EF4-4D25-9B05-896C1CBA596D}" type="datetime5">
              <a:rPr lang="en-US" smtClean="0"/>
              <a:t>6-Oct-21</a:t>
            </a:fld>
            <a:endParaRPr lang="en-US" dirty="0"/>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dirty="0"/>
              <a:t>FOOTER / PRESENTATION NAME</a:t>
            </a:r>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628912799"/>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524"/>
            <a:ext cx="2667329" cy="685695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8" name="Picture Placeholder 3"/>
          <p:cNvSpPr>
            <a:spLocks noGrp="1"/>
          </p:cNvSpPr>
          <p:nvPr>
            <p:ph type="pic" sz="quarter" idx="23"/>
          </p:nvPr>
        </p:nvSpPr>
        <p:spPr>
          <a:xfrm>
            <a:off x="2667329" y="525"/>
            <a:ext cx="3047475" cy="2286177"/>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19" name="Picture Placeholder 3"/>
          <p:cNvSpPr>
            <a:spLocks noGrp="1"/>
          </p:cNvSpPr>
          <p:nvPr>
            <p:ph type="pic" sz="quarter" idx="24"/>
          </p:nvPr>
        </p:nvSpPr>
        <p:spPr>
          <a:xfrm>
            <a:off x="2667329" y="2286701"/>
            <a:ext cx="3047650" cy="2285123"/>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20" name="Picture Placeholder 3"/>
          <p:cNvSpPr>
            <a:spLocks noGrp="1"/>
          </p:cNvSpPr>
          <p:nvPr>
            <p:ph type="pic" sz="quarter" idx="25"/>
          </p:nvPr>
        </p:nvSpPr>
        <p:spPr>
          <a:xfrm>
            <a:off x="2667329" y="4571825"/>
            <a:ext cx="3047650" cy="2285650"/>
          </a:xfrm>
          <a:solidFill>
            <a:schemeClr val="bg2">
              <a:lumMod val="40000"/>
              <a:lumOff val="60000"/>
            </a:schemeClr>
          </a:solidFill>
        </p:spPr>
        <p:txBody>
          <a:bodyPr anchor="ctr"/>
          <a:lstStyle>
            <a:lvl1pPr algn="ctr">
              <a:defRPr b="0">
                <a:solidFill>
                  <a:schemeClr val="tx1"/>
                </a:solidFill>
              </a:defRPr>
            </a:lvl1pPr>
          </a:lstStyle>
          <a:p>
            <a:r>
              <a:rPr lang="en-US" noProof="0" dirty="0"/>
              <a:t>Click icon to add picture</a:t>
            </a:r>
          </a:p>
        </p:txBody>
      </p:sp>
      <p:sp>
        <p:nvSpPr>
          <p:cNvPr id="21" name="Picture Placeholder 3"/>
          <p:cNvSpPr>
            <a:spLocks noGrp="1"/>
          </p:cNvSpPr>
          <p:nvPr>
            <p:ph type="pic" sz="quarter" idx="26"/>
          </p:nvPr>
        </p:nvSpPr>
        <p:spPr>
          <a:xfrm>
            <a:off x="5715327" y="524"/>
            <a:ext cx="3046950" cy="3428476"/>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23" name="Picture Placeholder 3"/>
          <p:cNvSpPr>
            <a:spLocks noGrp="1"/>
          </p:cNvSpPr>
          <p:nvPr>
            <p:ph type="pic" sz="quarter" idx="27"/>
          </p:nvPr>
        </p:nvSpPr>
        <p:spPr>
          <a:xfrm>
            <a:off x="5713753" y="3429001"/>
            <a:ext cx="3047474" cy="3428473"/>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24" name="Picture Placeholder 3"/>
          <p:cNvSpPr>
            <a:spLocks noGrp="1"/>
          </p:cNvSpPr>
          <p:nvPr>
            <p:ph type="pic" sz="quarter" idx="28"/>
          </p:nvPr>
        </p:nvSpPr>
        <p:spPr>
          <a:xfrm>
            <a:off x="8763153" y="525"/>
            <a:ext cx="3429720" cy="6857475"/>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3" name="Titel 2"/>
          <p:cNvSpPr>
            <a:spLocks noGrp="1"/>
          </p:cNvSpPr>
          <p:nvPr>
            <p:ph type="title"/>
          </p:nvPr>
        </p:nvSpPr>
        <p:spPr bwMode="gray">
          <a:xfrm>
            <a:off x="380148" y="381466"/>
            <a:ext cx="5714802" cy="760835"/>
          </a:xfrm>
        </p:spPr>
        <p:txBody>
          <a:bodyPr/>
          <a:lstStyle>
            <a:lvl1pPr>
              <a:defRPr b="0" i="0">
                <a:solidFill>
                  <a:schemeClr val="bg1"/>
                </a:solidFill>
                <a:latin typeface="adineue TEXT Black" panose="020B0A03020201060004" pitchFamily="34" charset="0"/>
              </a:defRPr>
            </a:lvl1pPr>
          </a:lstStyle>
          <a:p>
            <a:r>
              <a:rPr lang="en-US" noProof="0" dirty="0"/>
              <a:t>Click to edit Master title style</a:t>
            </a:r>
          </a:p>
        </p:txBody>
      </p:sp>
      <p:sp>
        <p:nvSpPr>
          <p:cNvPr id="5" name="Date Placeholder 4"/>
          <p:cNvSpPr>
            <a:spLocks noGrp="1"/>
          </p:cNvSpPr>
          <p:nvPr>
            <p:ph type="dt" sz="half" idx="29"/>
          </p:nvPr>
        </p:nvSpPr>
        <p:spPr/>
        <p:txBody>
          <a:bodyPr/>
          <a:lstStyle>
            <a:lvl1pPr>
              <a:defRPr>
                <a:solidFill>
                  <a:schemeClr val="bg1"/>
                </a:solidFill>
              </a:defRPr>
            </a:lvl1pPr>
          </a:lstStyle>
          <a:p>
            <a:pPr>
              <a:defRPr/>
            </a:pPr>
            <a:fld id="{D0F063B5-0EA2-48D6-B364-6A0D1461A602}" type="datetime5">
              <a:rPr lang="en-US" smtClean="0"/>
              <a:t>6-Oct-21</a:t>
            </a:fld>
            <a:endParaRPr lang="en-US" dirty="0"/>
          </a:p>
        </p:txBody>
      </p:sp>
      <p:sp>
        <p:nvSpPr>
          <p:cNvPr id="6" name="Footer Placeholder 5"/>
          <p:cNvSpPr>
            <a:spLocks noGrp="1"/>
          </p:cNvSpPr>
          <p:nvPr>
            <p:ph type="ftr" sz="quarter" idx="30"/>
          </p:nvPr>
        </p:nvSpPr>
        <p:spPr/>
        <p:txBody>
          <a:bodyPr/>
          <a:lstStyle>
            <a:lvl1pPr>
              <a:defRPr>
                <a:solidFill>
                  <a:schemeClr val="bg1"/>
                </a:solidFill>
              </a:defRPr>
            </a:lvl1pPr>
          </a:lstStyle>
          <a:p>
            <a:pPr>
              <a:defRPr/>
            </a:pPr>
            <a:r>
              <a:rPr lang="en-US" dirty="0"/>
              <a:t>FOOTER / PRESENTATION NAME</a:t>
            </a:r>
          </a:p>
        </p:txBody>
      </p:sp>
      <p:sp>
        <p:nvSpPr>
          <p:cNvPr id="7" name="Slide Number Placeholder 6"/>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776674338"/>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llage (3)">
    <p:spTree>
      <p:nvGrpSpPr>
        <p:cNvPr id="1" name=""/>
        <p:cNvGrpSpPr/>
        <p:nvPr/>
      </p:nvGrpSpPr>
      <p:grpSpPr>
        <a:xfrm>
          <a:off x="0" y="0"/>
          <a:ext cx="0" cy="0"/>
          <a:chOff x="0" y="0"/>
          <a:chExt cx="0" cy="0"/>
        </a:xfrm>
      </p:grpSpPr>
      <p:sp>
        <p:nvSpPr>
          <p:cNvPr id="10" name="Picture Placeholder 3"/>
          <p:cNvSpPr>
            <a:spLocks noGrp="1"/>
          </p:cNvSpPr>
          <p:nvPr>
            <p:ph type="pic" sz="quarter" idx="27"/>
          </p:nvPr>
        </p:nvSpPr>
        <p:spPr>
          <a:xfrm>
            <a:off x="762220" y="762234"/>
            <a:ext cx="1904583" cy="5333533"/>
          </a:xfrm>
          <a:solidFill>
            <a:schemeClr val="bg2">
              <a:lumMod val="60000"/>
              <a:lumOff val="40000"/>
            </a:schemeClr>
          </a:solidFill>
        </p:spPr>
        <p:txBody>
          <a:bodyPr anchor="ctr"/>
          <a:lstStyle>
            <a:lvl1pPr algn="ctr">
              <a:defRPr b="0">
                <a:solidFill>
                  <a:schemeClr val="bg1"/>
                </a:solidFill>
              </a:defRPr>
            </a:lvl1pPr>
          </a:lstStyle>
          <a:p>
            <a:r>
              <a:rPr lang="en-US" noProof="0" dirty="0"/>
              <a:t>Click icon to add picture</a:t>
            </a:r>
          </a:p>
        </p:txBody>
      </p:sp>
      <p:sp>
        <p:nvSpPr>
          <p:cNvPr id="4" name="Picture Placeholder 3"/>
          <p:cNvSpPr>
            <a:spLocks noGrp="1"/>
          </p:cNvSpPr>
          <p:nvPr>
            <p:ph type="pic" sz="quarter" idx="18"/>
          </p:nvPr>
        </p:nvSpPr>
        <p:spPr>
          <a:xfrm>
            <a:off x="5332557" y="762234"/>
            <a:ext cx="3811967" cy="2667641"/>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1" name="Picture Placeholder 3"/>
          <p:cNvSpPr>
            <a:spLocks noGrp="1"/>
          </p:cNvSpPr>
          <p:nvPr>
            <p:ph type="pic" sz="quarter" idx="23"/>
          </p:nvPr>
        </p:nvSpPr>
        <p:spPr>
          <a:xfrm>
            <a:off x="9144176" y="762234"/>
            <a:ext cx="2286130" cy="2666767"/>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7" name="Picture Placeholder 3"/>
          <p:cNvSpPr>
            <a:spLocks noGrp="1"/>
          </p:cNvSpPr>
          <p:nvPr>
            <p:ph type="pic" sz="quarter" idx="24"/>
          </p:nvPr>
        </p:nvSpPr>
        <p:spPr>
          <a:xfrm>
            <a:off x="5332557" y="3429002"/>
            <a:ext cx="2287181" cy="2666765"/>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18" name="Picture Placeholder 3"/>
          <p:cNvSpPr>
            <a:spLocks noGrp="1"/>
          </p:cNvSpPr>
          <p:nvPr>
            <p:ph type="pic" sz="quarter" idx="25"/>
          </p:nvPr>
        </p:nvSpPr>
        <p:spPr>
          <a:xfrm>
            <a:off x="7620088" y="3429001"/>
            <a:ext cx="3809518" cy="2667466"/>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3" name="Titel 2"/>
          <p:cNvSpPr>
            <a:spLocks noGrp="1"/>
          </p:cNvSpPr>
          <p:nvPr>
            <p:ph type="title"/>
          </p:nvPr>
        </p:nvSpPr>
        <p:spPr bwMode="gray">
          <a:xfrm>
            <a:off x="760293" y="381466"/>
            <a:ext cx="5335707" cy="380942"/>
          </a:xfrm>
        </p:spPr>
        <p:txBody>
          <a:bodyPr/>
          <a:lstStyle>
            <a:lvl1pPr>
              <a:defRPr b="0" i="0">
                <a:latin typeface="adineue TEXT Black" panose="020B0A03020201060004" pitchFamily="34" charset="0"/>
              </a:defRPr>
            </a:lvl1pPr>
          </a:lstStyle>
          <a:p>
            <a:r>
              <a:rPr lang="en-US" noProof="0" dirty="0"/>
              <a:t>Click to edit Master title style</a:t>
            </a:r>
          </a:p>
        </p:txBody>
      </p:sp>
      <p:sp>
        <p:nvSpPr>
          <p:cNvPr id="14" name="Picture Placeholder 3"/>
          <p:cNvSpPr>
            <a:spLocks noGrp="1"/>
          </p:cNvSpPr>
          <p:nvPr>
            <p:ph type="pic" sz="quarter" idx="28"/>
          </p:nvPr>
        </p:nvSpPr>
        <p:spPr>
          <a:xfrm>
            <a:off x="2667679" y="762234"/>
            <a:ext cx="2664878" cy="1524467"/>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15" name="Picture Placeholder 3"/>
          <p:cNvSpPr>
            <a:spLocks noGrp="1"/>
          </p:cNvSpPr>
          <p:nvPr>
            <p:ph type="pic" sz="quarter" idx="29"/>
          </p:nvPr>
        </p:nvSpPr>
        <p:spPr>
          <a:xfrm>
            <a:off x="2667330" y="2285827"/>
            <a:ext cx="2665228" cy="1905407"/>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16" name="Picture Placeholder 3"/>
          <p:cNvSpPr>
            <a:spLocks noGrp="1"/>
          </p:cNvSpPr>
          <p:nvPr>
            <p:ph type="pic" sz="quarter" idx="30"/>
          </p:nvPr>
        </p:nvSpPr>
        <p:spPr>
          <a:xfrm>
            <a:off x="2667679" y="4191234"/>
            <a:ext cx="2664878" cy="1904534"/>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2" name="Date Placeholder 1"/>
          <p:cNvSpPr>
            <a:spLocks noGrp="1"/>
          </p:cNvSpPr>
          <p:nvPr>
            <p:ph type="dt" sz="half" idx="31"/>
          </p:nvPr>
        </p:nvSpPr>
        <p:spPr/>
        <p:txBody>
          <a:bodyPr/>
          <a:lstStyle/>
          <a:p>
            <a:pPr>
              <a:defRPr/>
            </a:pPr>
            <a:fld id="{A340ACD7-52CB-4104-8E4E-7F3A984971AC}" type="datetime5">
              <a:rPr lang="en-US" smtClean="0"/>
              <a:t>6-Oct-21</a:t>
            </a:fld>
            <a:endParaRPr lang="en-US" dirty="0"/>
          </a:p>
        </p:txBody>
      </p:sp>
      <p:sp>
        <p:nvSpPr>
          <p:cNvPr id="5" name="Footer Placeholder 4"/>
          <p:cNvSpPr>
            <a:spLocks noGrp="1"/>
          </p:cNvSpPr>
          <p:nvPr>
            <p:ph type="ftr" sz="quarter" idx="32"/>
          </p:nvPr>
        </p:nvSpPr>
        <p:spPr/>
        <p:txBody>
          <a:bodyPr/>
          <a:lstStyle/>
          <a:p>
            <a:pPr>
              <a:defRPr/>
            </a:pPr>
            <a:r>
              <a:rPr lang="en-US" dirty="0"/>
              <a:t>FOOTER / PRESENTATION NAME</a:t>
            </a:r>
          </a:p>
        </p:txBody>
      </p:sp>
      <p:sp>
        <p:nvSpPr>
          <p:cNvPr id="6" name="Slide Number Placeholder 5"/>
          <p:cNvSpPr>
            <a:spLocks noGrp="1"/>
          </p:cNvSpPr>
          <p:nvPr>
            <p:ph type="sldNum" sz="quarter" idx="33"/>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056661872"/>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 Message (1)">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lumMod val="40000"/>
              <a:lumOff val="60000"/>
            </a:schemeClr>
          </a:solidFill>
          <a:ln>
            <a:noFill/>
          </a:ln>
        </p:spPr>
        <p:txBody>
          <a:bodyPr tIns="643010" anchor="ctr" anchorCtr="0"/>
          <a:lstStyle>
            <a:lvl1pPr algn="ctr">
              <a:lnSpc>
                <a:spcPct val="100000"/>
              </a:lnSpc>
              <a:spcAft>
                <a:spcPts val="0"/>
              </a:spcAft>
              <a:defRPr sz="1344" b="0">
                <a:solidFill>
                  <a:schemeClr val="tx1"/>
                </a:solidFill>
              </a:defRPr>
            </a:lvl1pPr>
          </a:lstStyle>
          <a:p>
            <a:pPr lvl="0"/>
            <a:r>
              <a:rPr lang="en-US" noProof="0" dirty="0"/>
              <a:t>Click icon to add picture</a:t>
            </a:r>
          </a:p>
        </p:txBody>
      </p:sp>
      <p:sp>
        <p:nvSpPr>
          <p:cNvPr id="6" name="Picture Placeholder 5"/>
          <p:cNvSpPr>
            <a:spLocks noGrp="1"/>
          </p:cNvSpPr>
          <p:nvPr>
            <p:ph type="pic" sz="quarter" idx="22"/>
          </p:nvPr>
        </p:nvSpPr>
        <p:spPr>
          <a:xfrm>
            <a:off x="760294" y="762234"/>
            <a:ext cx="3809869" cy="5333533"/>
          </a:xfrm>
          <a:solidFill>
            <a:schemeClr val="bg2"/>
          </a:solidFill>
        </p:spPr>
        <p:txBody>
          <a:bodyPr anchor="ctr"/>
          <a:lstStyle>
            <a:lvl1pPr algn="ctr">
              <a:defRPr b="0">
                <a:solidFill>
                  <a:srgbClr val="FAFAFA"/>
                </a:solidFill>
              </a:defRPr>
            </a:lvl1pPr>
          </a:lstStyle>
          <a:p>
            <a:r>
              <a:rPr lang="en-US" noProof="0" dirty="0"/>
              <a:t>Click icon to add picture</a:t>
            </a:r>
          </a:p>
        </p:txBody>
      </p:sp>
      <p:sp>
        <p:nvSpPr>
          <p:cNvPr id="3" name="Titel 2"/>
          <p:cNvSpPr>
            <a:spLocks noGrp="1"/>
          </p:cNvSpPr>
          <p:nvPr>
            <p:ph type="title"/>
          </p:nvPr>
        </p:nvSpPr>
        <p:spPr bwMode="gray">
          <a:xfrm>
            <a:off x="5333957" y="1904533"/>
            <a:ext cx="5715329" cy="1905407"/>
          </a:xfrm>
        </p:spPr>
        <p:txBody>
          <a:bodyPr anchor="b"/>
          <a:lstStyle>
            <a:lvl1pPr>
              <a:defRPr sz="4233" b="0" i="0">
                <a:latin typeface="adineue TEXT Black" panose="020B0A03020201060004" pitchFamily="34" charset="0"/>
              </a:defRPr>
            </a:lvl1pPr>
          </a:lstStyle>
          <a:p>
            <a:r>
              <a:rPr lang="en-US" noProof="0" dirty="0"/>
              <a:t>Click to edit Master title style</a:t>
            </a:r>
          </a:p>
        </p:txBody>
      </p:sp>
      <p:sp>
        <p:nvSpPr>
          <p:cNvPr id="4" name="Text Placeholder 3"/>
          <p:cNvSpPr>
            <a:spLocks noGrp="1"/>
          </p:cNvSpPr>
          <p:nvPr>
            <p:ph type="body" sz="quarter" idx="18"/>
          </p:nvPr>
        </p:nvSpPr>
        <p:spPr>
          <a:xfrm>
            <a:off x="5332556" y="3809941"/>
            <a:ext cx="5281083" cy="2285650"/>
          </a:xfrm>
        </p:spPr>
        <p:txBody>
          <a:bodyPr/>
          <a:lstStyle>
            <a:lvl1pPr>
              <a:defRPr b="0"/>
            </a:lvl1pPr>
            <a:lvl2pPr>
              <a:defRPr b="0"/>
            </a:lvl2pPr>
            <a:lvl3pPr>
              <a:defRPr b="0"/>
            </a:lvl3pPr>
            <a:lvl4pPr>
              <a:defRPr b="0"/>
            </a:lvl4pPr>
            <a:lvl5pPr>
              <a:defRPr b="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4"/>
          <p:cNvSpPr>
            <a:spLocks noGrp="1"/>
          </p:cNvSpPr>
          <p:nvPr>
            <p:ph type="dt" sz="half" idx="23"/>
          </p:nvPr>
        </p:nvSpPr>
        <p:spPr/>
        <p:txBody>
          <a:bodyPr/>
          <a:lstStyle/>
          <a:p>
            <a:pPr>
              <a:defRPr/>
            </a:pPr>
            <a:fld id="{BB4A6D80-AA00-428C-9A10-0FEFCE1EE5C0}" type="datetime5">
              <a:rPr lang="en-US" smtClean="0"/>
              <a:t>6-Oct-21</a:t>
            </a:fld>
            <a:endParaRPr lang="en-US" dirty="0"/>
          </a:p>
        </p:txBody>
      </p:sp>
      <p:sp>
        <p:nvSpPr>
          <p:cNvPr id="7" name="Footer Placeholder 6"/>
          <p:cNvSpPr>
            <a:spLocks noGrp="1"/>
          </p:cNvSpPr>
          <p:nvPr>
            <p:ph type="ftr" sz="quarter" idx="24"/>
          </p:nvPr>
        </p:nvSpPr>
        <p:spPr/>
        <p:txBody>
          <a:bodyPr/>
          <a:lstStyle/>
          <a:p>
            <a:pPr>
              <a:defRPr/>
            </a:pPr>
            <a:r>
              <a:rPr lang="en-US" dirty="0"/>
              <a:t>FOOTER / PRESENTATION NAME</a:t>
            </a:r>
          </a:p>
        </p:txBody>
      </p:sp>
      <p:sp>
        <p:nvSpPr>
          <p:cNvPr id="11" name="Slide Number Placeholder 10"/>
          <p:cNvSpPr>
            <a:spLocks noGrp="1"/>
          </p:cNvSpPr>
          <p:nvPr>
            <p:ph type="sldNum" sz="quarter" idx="25"/>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084989041"/>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 Message (2)">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tx2"/>
                </a:solidFill>
              </a:defRPr>
            </a:lvl1pPr>
          </a:lstStyle>
          <a:p>
            <a:pPr lvl="0"/>
            <a:r>
              <a:rPr lang="en-US" noProof="0" dirty="0"/>
              <a:t>Click icon to add picture</a:t>
            </a:r>
          </a:p>
        </p:txBody>
      </p:sp>
      <p:sp>
        <p:nvSpPr>
          <p:cNvPr id="6" name="Picture Placeholder 5"/>
          <p:cNvSpPr>
            <a:spLocks noGrp="1"/>
          </p:cNvSpPr>
          <p:nvPr>
            <p:ph type="pic" sz="quarter" idx="22"/>
          </p:nvPr>
        </p:nvSpPr>
        <p:spPr>
          <a:xfrm>
            <a:off x="760295" y="762233"/>
            <a:ext cx="4954633" cy="5715525"/>
          </a:xfrm>
          <a:solidFill>
            <a:schemeClr val="bg2">
              <a:lumMod val="40000"/>
              <a:lumOff val="60000"/>
            </a:schemeClr>
          </a:solidFill>
        </p:spPr>
        <p:txBody>
          <a:bodyPr anchor="ctr"/>
          <a:lstStyle>
            <a:lvl1pPr algn="ctr">
              <a:defRPr b="0"/>
            </a:lvl1pPr>
          </a:lstStyle>
          <a:p>
            <a:r>
              <a:rPr lang="en-US" noProof="0" dirty="0"/>
              <a:t>Click icon to add picture</a:t>
            </a:r>
          </a:p>
        </p:txBody>
      </p:sp>
      <p:sp>
        <p:nvSpPr>
          <p:cNvPr id="3" name="Titel 2"/>
          <p:cNvSpPr>
            <a:spLocks noGrp="1"/>
          </p:cNvSpPr>
          <p:nvPr>
            <p:ph type="title"/>
          </p:nvPr>
        </p:nvSpPr>
        <p:spPr bwMode="gray">
          <a:xfrm>
            <a:off x="6094950" y="3060188"/>
            <a:ext cx="4952409" cy="3035403"/>
          </a:xfrm>
        </p:spPr>
        <p:txBody>
          <a:bodyPr/>
          <a:lstStyle>
            <a:lvl1pPr>
              <a:defRPr sz="4233" b="0" i="0">
                <a:solidFill>
                  <a:schemeClr val="bg1"/>
                </a:solidFill>
                <a:latin typeface="adineue TEXT Black" panose="020B0A03020201060004" pitchFamily="34" charset="0"/>
              </a:defRPr>
            </a:lvl1pPr>
          </a:lstStyle>
          <a:p>
            <a:r>
              <a:rPr lang="en-US" noProof="0" dirty="0"/>
              <a:t>Click to edit Master title style</a:t>
            </a:r>
          </a:p>
        </p:txBody>
      </p:sp>
      <p:sp>
        <p:nvSpPr>
          <p:cNvPr id="4" name="Date Placeholder 3"/>
          <p:cNvSpPr>
            <a:spLocks noGrp="1"/>
          </p:cNvSpPr>
          <p:nvPr>
            <p:ph type="dt" sz="half" idx="23"/>
          </p:nvPr>
        </p:nvSpPr>
        <p:spPr/>
        <p:txBody>
          <a:bodyPr/>
          <a:lstStyle>
            <a:lvl1pPr>
              <a:defRPr>
                <a:solidFill>
                  <a:schemeClr val="bg1"/>
                </a:solidFill>
              </a:defRPr>
            </a:lvl1pPr>
          </a:lstStyle>
          <a:p>
            <a:pPr>
              <a:defRPr/>
            </a:pPr>
            <a:fld id="{004B255E-EDCA-4A96-8105-2B64CA3584ED}" type="datetime5">
              <a:rPr lang="en-US" smtClean="0"/>
              <a:t>6-Oct-21</a:t>
            </a:fld>
            <a:endParaRPr lang="en-US" dirty="0"/>
          </a:p>
        </p:txBody>
      </p:sp>
      <p:sp>
        <p:nvSpPr>
          <p:cNvPr id="5" name="Footer Placeholder 4"/>
          <p:cNvSpPr>
            <a:spLocks noGrp="1"/>
          </p:cNvSpPr>
          <p:nvPr>
            <p:ph type="ftr" sz="quarter" idx="24"/>
          </p:nvPr>
        </p:nvSpPr>
        <p:spPr/>
        <p:txBody>
          <a:bodyPr/>
          <a:lstStyle>
            <a:lvl1pPr>
              <a:defRPr>
                <a:solidFill>
                  <a:schemeClr val="bg1"/>
                </a:solidFill>
              </a:defRPr>
            </a:lvl1pPr>
          </a:lstStyle>
          <a:p>
            <a:pPr>
              <a:defRPr/>
            </a:pPr>
            <a:r>
              <a:rPr lang="en-US" dirty="0"/>
              <a:t>FOOTER / PRESENTATION NAME</a:t>
            </a:r>
          </a:p>
        </p:txBody>
      </p:sp>
      <p:sp>
        <p:nvSpPr>
          <p:cNvPr id="7" name="Slide Number Placeholder 6"/>
          <p:cNvSpPr>
            <a:spLocks noGrp="1"/>
          </p:cNvSpPr>
          <p:nvPr>
            <p:ph type="sldNum" sz="quarter" idx="25"/>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950773187"/>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 Message (3)">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0" y="1"/>
            <a:ext cx="12192000" cy="6857999"/>
          </a:xfrm>
          <a:custGeom>
            <a:avLst/>
            <a:gdLst/>
            <a:ahLst/>
            <a:cxnLst/>
            <a:rect l="l" t="t" r="r" b="b"/>
            <a:pathLst>
              <a:path w="2953414" h="4932102">
                <a:moveTo>
                  <a:pt x="0" y="0"/>
                </a:moveTo>
                <a:lnTo>
                  <a:pt x="2953414" y="0"/>
                </a:lnTo>
                <a:lnTo>
                  <a:pt x="2953414" y="4932102"/>
                </a:lnTo>
                <a:lnTo>
                  <a:pt x="0" y="4932102"/>
                </a:lnTo>
                <a:close/>
              </a:path>
            </a:pathLst>
          </a:custGeom>
          <a:solidFill>
            <a:schemeClr val="bg2"/>
          </a:solidFill>
          <a:ln>
            <a:noFill/>
          </a:ln>
        </p:spPr>
        <p:txBody>
          <a:bodyPr tIns="643010" anchor="ctr" anchorCtr="0"/>
          <a:lstStyle>
            <a:lvl1pPr algn="ctr">
              <a:lnSpc>
                <a:spcPct val="100000"/>
              </a:lnSpc>
              <a:spcAft>
                <a:spcPts val="0"/>
              </a:spcAft>
              <a:defRPr sz="1344" b="0">
                <a:solidFill>
                  <a:schemeClr val="bg1"/>
                </a:solidFill>
              </a:defRPr>
            </a:lvl1pPr>
          </a:lstStyle>
          <a:p>
            <a:pPr lvl="0"/>
            <a:r>
              <a:rPr lang="en-US" noProof="0" dirty="0"/>
              <a:t>Click icon to add picture</a:t>
            </a:r>
          </a:p>
        </p:txBody>
      </p:sp>
      <p:sp>
        <p:nvSpPr>
          <p:cNvPr id="3" name="Titel 2"/>
          <p:cNvSpPr>
            <a:spLocks noGrp="1"/>
          </p:cNvSpPr>
          <p:nvPr>
            <p:ph type="title"/>
          </p:nvPr>
        </p:nvSpPr>
        <p:spPr bwMode="gray">
          <a:xfrm>
            <a:off x="760294" y="2286701"/>
            <a:ext cx="6097050" cy="3808890"/>
          </a:xfrm>
        </p:spPr>
        <p:txBody>
          <a:bodyPr/>
          <a:lstStyle>
            <a:lvl1pPr>
              <a:defRPr sz="5291" b="0" i="0">
                <a:solidFill>
                  <a:schemeClr val="bg1"/>
                </a:solidFill>
                <a:latin typeface="adineue TEXT Black" panose="020B0A03020201060004" pitchFamily="34" charset="0"/>
              </a:defRPr>
            </a:lvl1pPr>
          </a:lstStyle>
          <a:p>
            <a:r>
              <a:rPr lang="en-US" noProof="0" dirty="0"/>
              <a:t>Click to edit Master title style</a:t>
            </a:r>
          </a:p>
        </p:txBody>
      </p:sp>
      <p:sp>
        <p:nvSpPr>
          <p:cNvPr id="4" name="Date Placeholder 3"/>
          <p:cNvSpPr>
            <a:spLocks noGrp="1"/>
          </p:cNvSpPr>
          <p:nvPr>
            <p:ph type="dt" sz="half" idx="15"/>
          </p:nvPr>
        </p:nvSpPr>
        <p:spPr/>
        <p:txBody>
          <a:bodyPr/>
          <a:lstStyle>
            <a:lvl1pPr>
              <a:defRPr>
                <a:solidFill>
                  <a:schemeClr val="bg1"/>
                </a:solidFill>
              </a:defRPr>
            </a:lvl1pPr>
          </a:lstStyle>
          <a:p>
            <a:pPr>
              <a:defRPr/>
            </a:pPr>
            <a:fld id="{56ECB5B5-7DC6-4689-B43C-B6C4E8E053A8}" type="datetime5">
              <a:rPr lang="en-US" smtClean="0"/>
              <a:t>6-Oct-21</a:t>
            </a:fld>
            <a:endParaRPr lang="en-US" dirty="0"/>
          </a:p>
        </p:txBody>
      </p:sp>
      <p:sp>
        <p:nvSpPr>
          <p:cNvPr id="5" name="Footer Placeholder 4"/>
          <p:cNvSpPr>
            <a:spLocks noGrp="1"/>
          </p:cNvSpPr>
          <p:nvPr>
            <p:ph type="ftr" sz="quarter" idx="16"/>
          </p:nvPr>
        </p:nvSpPr>
        <p:spPr/>
        <p:txBody>
          <a:bodyPr/>
          <a:lstStyle>
            <a:lvl1pPr>
              <a:defRPr>
                <a:solidFill>
                  <a:schemeClr val="bg1"/>
                </a:solidFill>
              </a:defRPr>
            </a:lvl1pPr>
          </a:lstStyle>
          <a:p>
            <a:pPr>
              <a:defRPr/>
            </a:pPr>
            <a:r>
              <a:rPr lang="en-US" dirty="0"/>
              <a:t>FOOTER / PRESENTATION NAME</a:t>
            </a:r>
          </a:p>
        </p:txBody>
      </p:sp>
      <p:sp>
        <p:nvSpPr>
          <p:cNvPr id="6" name="Slide Number Placeholder 5"/>
          <p:cNvSpPr>
            <a:spLocks noGrp="1"/>
          </p:cNvSpPr>
          <p:nvPr>
            <p:ph type="sldNum" sz="quarter" idx="17"/>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622340153"/>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mage + Message (4)">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bwMode="gray">
          <a:xfrm>
            <a:off x="1" y="0"/>
            <a:ext cx="12192000" cy="6858001"/>
          </a:xfrm>
          <a:custGeom>
            <a:avLst/>
            <a:gdLst/>
            <a:ahLst/>
            <a:cxnLst/>
            <a:rect l="l" t="t" r="r" b="b"/>
            <a:pathLst>
              <a:path w="8935200" h="4936288">
                <a:moveTo>
                  <a:pt x="0" y="0"/>
                </a:moveTo>
                <a:lnTo>
                  <a:pt x="8935200" y="0"/>
                </a:lnTo>
                <a:lnTo>
                  <a:pt x="8935200" y="4936288"/>
                </a:lnTo>
                <a:lnTo>
                  <a:pt x="0" y="4936288"/>
                </a:lnTo>
                <a:close/>
              </a:path>
            </a:pathLst>
          </a:custGeom>
          <a:solidFill>
            <a:schemeClr val="bg2"/>
          </a:solidFill>
          <a:ln>
            <a:noFill/>
          </a:ln>
        </p:spPr>
        <p:txBody>
          <a:bodyPr tIns="643010" anchor="ctr" anchorCtr="0"/>
          <a:lstStyle>
            <a:lvl1pPr algn="ctr">
              <a:lnSpc>
                <a:spcPct val="100000"/>
              </a:lnSpc>
              <a:spcAft>
                <a:spcPts val="0"/>
              </a:spcAft>
              <a:defRPr sz="1344">
                <a:solidFill>
                  <a:schemeClr val="tx1"/>
                </a:solidFill>
              </a:defRPr>
            </a:lvl1pPr>
          </a:lstStyle>
          <a:p>
            <a:pPr lvl="0"/>
            <a:r>
              <a:rPr lang="en-US" noProof="0" dirty="0"/>
              <a:t>Click icon to add picture</a:t>
            </a:r>
          </a:p>
        </p:txBody>
      </p:sp>
      <p:sp>
        <p:nvSpPr>
          <p:cNvPr id="3" name="Titel 2"/>
          <p:cNvSpPr>
            <a:spLocks noGrp="1"/>
          </p:cNvSpPr>
          <p:nvPr>
            <p:ph type="title" hasCustomPrompt="1"/>
          </p:nvPr>
        </p:nvSpPr>
        <p:spPr bwMode="gray">
          <a:xfrm>
            <a:off x="2285082" y="1905232"/>
            <a:ext cx="7619736" cy="1142300"/>
          </a:xfrm>
        </p:spPr>
        <p:txBody>
          <a:bodyPr anchor="b"/>
          <a:lstStyle>
            <a:lvl1pPr algn="ctr">
              <a:lnSpc>
                <a:spcPct val="70000"/>
              </a:lnSpc>
              <a:defRPr sz="4762" b="0" i="0">
                <a:solidFill>
                  <a:schemeClr val="bg1"/>
                </a:solidFill>
                <a:latin typeface="adineue TEXT Black" panose="020B0A03020201060004" pitchFamily="34" charset="0"/>
              </a:defRPr>
            </a:lvl1pPr>
          </a:lstStyle>
          <a:p>
            <a:pPr lvl="0"/>
            <a:r>
              <a:rPr lang="en-US" dirty="0"/>
              <a:t>Click to edit </a:t>
            </a:r>
            <a:br>
              <a:rPr lang="en-US" dirty="0"/>
            </a:br>
            <a:r>
              <a:rPr lang="en-US" dirty="0"/>
              <a:t>Master title style</a:t>
            </a:r>
            <a:endParaRPr lang="de-DE" dirty="0"/>
          </a:p>
        </p:txBody>
      </p:sp>
      <p:sp>
        <p:nvSpPr>
          <p:cNvPr id="8" name="Text Placeholder 3"/>
          <p:cNvSpPr>
            <a:spLocks noGrp="1"/>
          </p:cNvSpPr>
          <p:nvPr>
            <p:ph type="body" sz="quarter" idx="18" hasCustomPrompt="1"/>
          </p:nvPr>
        </p:nvSpPr>
        <p:spPr>
          <a:xfrm>
            <a:off x="3047826" y="3428999"/>
            <a:ext cx="6094948" cy="2286701"/>
          </a:xfrm>
        </p:spPr>
        <p:txBody>
          <a:bodyPr anchor="t"/>
          <a:lstStyle>
            <a:lvl1pPr marL="0" indent="0" algn="ctr">
              <a:lnSpc>
                <a:spcPct val="90000"/>
              </a:lnSpc>
              <a:spcAft>
                <a:spcPts val="794"/>
              </a:spcAft>
              <a:buFont typeface="Arial" panose="020B0604020202020204" pitchFamily="34" charset="0"/>
              <a:buNone/>
              <a:defRPr sz="1587" b="0" cap="all">
                <a:solidFill>
                  <a:schemeClr val="bg1"/>
                </a:solidFill>
                <a:latin typeface="+mn-lt"/>
              </a:defRPr>
            </a:lvl1pPr>
            <a:lvl2pPr marL="0" indent="0" algn="ctr">
              <a:lnSpc>
                <a:spcPct val="90000"/>
              </a:lnSpc>
              <a:spcAft>
                <a:spcPts val="794"/>
              </a:spcAft>
              <a:buNone/>
              <a:defRPr sz="1587" b="0" cap="all">
                <a:solidFill>
                  <a:schemeClr val="bg1"/>
                </a:solidFill>
                <a:latin typeface="+mn-lt"/>
              </a:defRPr>
            </a:lvl2pPr>
            <a:lvl3pPr marL="0" indent="0" algn="ctr">
              <a:lnSpc>
                <a:spcPct val="90000"/>
              </a:lnSpc>
              <a:spcAft>
                <a:spcPts val="794"/>
              </a:spcAft>
              <a:buFont typeface="Arial" panose="020B0604020202020204" pitchFamily="34" charset="0"/>
              <a:buNone/>
              <a:defRPr sz="1587" b="0" cap="all">
                <a:solidFill>
                  <a:schemeClr val="bg1"/>
                </a:solidFill>
                <a:latin typeface="+mn-lt"/>
              </a:defRPr>
            </a:lvl3pPr>
            <a:lvl4pPr marL="0" indent="0" algn="ctr">
              <a:lnSpc>
                <a:spcPct val="90000"/>
              </a:lnSpc>
              <a:spcAft>
                <a:spcPts val="794"/>
              </a:spcAft>
              <a:buNone/>
              <a:defRPr sz="1587" b="0" cap="all">
                <a:solidFill>
                  <a:schemeClr val="bg1"/>
                </a:solidFill>
                <a:latin typeface="+mn-lt"/>
              </a:defRPr>
            </a:lvl4pPr>
            <a:lvl5pPr marL="0" indent="0" algn="ctr">
              <a:lnSpc>
                <a:spcPct val="90000"/>
              </a:lnSpc>
              <a:spcAft>
                <a:spcPts val="794"/>
              </a:spcAft>
              <a:buFont typeface="Arial" panose="020B0604020202020204" pitchFamily="34" charset="0"/>
              <a:buNone/>
              <a:defRPr sz="1587" b="0" cap="all">
                <a:solidFill>
                  <a:schemeClr val="bg1"/>
                </a:solidFill>
                <a:latin typeface="+mn-lt"/>
              </a:defRPr>
            </a:lvl5pPr>
            <a:lvl6pPr marL="0" indent="0" algn="ctr">
              <a:lnSpc>
                <a:spcPct val="90000"/>
              </a:lnSpc>
              <a:spcAft>
                <a:spcPts val="794"/>
              </a:spcAft>
              <a:buFont typeface="Arial" panose="020B0604020202020204" pitchFamily="34" charset="0"/>
              <a:buNone/>
              <a:defRPr sz="1587" b="0" cap="all">
                <a:solidFill>
                  <a:schemeClr val="bg1"/>
                </a:solidFill>
                <a:latin typeface="+mn-lt"/>
              </a:defRPr>
            </a:lvl6pPr>
            <a:lvl7pPr marL="0" indent="0" algn="ctr">
              <a:lnSpc>
                <a:spcPct val="90000"/>
              </a:lnSpc>
              <a:spcAft>
                <a:spcPts val="794"/>
              </a:spcAft>
              <a:buFont typeface="Arial" panose="020B0604020202020204" pitchFamily="34" charset="0"/>
              <a:buNone/>
              <a:defRPr sz="1587" b="0" cap="all">
                <a:solidFill>
                  <a:schemeClr val="bg1"/>
                </a:solidFill>
                <a:latin typeface="+mn-lt"/>
              </a:defRPr>
            </a:lvl7pPr>
            <a:lvl8pPr marL="0" indent="0" algn="ctr">
              <a:lnSpc>
                <a:spcPct val="90000"/>
              </a:lnSpc>
              <a:spcAft>
                <a:spcPts val="794"/>
              </a:spcAft>
              <a:buFont typeface="Arial" panose="020B0604020202020204" pitchFamily="34" charset="0"/>
              <a:buNone/>
              <a:defRPr sz="1587" b="0" cap="all">
                <a:solidFill>
                  <a:schemeClr val="bg1"/>
                </a:solidFill>
                <a:latin typeface="+mn-lt"/>
              </a:defRPr>
            </a:lvl8pPr>
            <a:lvl9pPr marL="0" indent="0" algn="ctr">
              <a:lnSpc>
                <a:spcPct val="90000"/>
              </a:lnSpc>
              <a:spcAft>
                <a:spcPts val="794"/>
              </a:spcAft>
              <a:buFont typeface="Arial" panose="020B0604020202020204" pitchFamily="34" charset="0"/>
              <a:buNone/>
              <a:defRPr sz="1587" b="0" cap="all">
                <a:solidFill>
                  <a:schemeClr val="bg1"/>
                </a:solidFill>
                <a:latin typeface="+mn-lt"/>
              </a:defRPr>
            </a:lvl9pPr>
          </a:lstStyle>
          <a:p>
            <a:pPr lvl="0"/>
            <a:r>
              <a:rPr lang="en-US" dirty="0"/>
              <a:t>CLICK TO EDIT MASTER TEXT STYLES</a:t>
            </a:r>
          </a:p>
        </p:txBody>
      </p:sp>
      <p:sp>
        <p:nvSpPr>
          <p:cNvPr id="2" name="Date Placeholder 1"/>
          <p:cNvSpPr>
            <a:spLocks noGrp="1"/>
          </p:cNvSpPr>
          <p:nvPr>
            <p:ph type="dt" sz="half" idx="19"/>
          </p:nvPr>
        </p:nvSpPr>
        <p:spPr/>
        <p:txBody>
          <a:bodyPr/>
          <a:lstStyle>
            <a:lvl1pPr>
              <a:defRPr>
                <a:solidFill>
                  <a:schemeClr val="bg1"/>
                </a:solidFill>
              </a:defRPr>
            </a:lvl1pPr>
          </a:lstStyle>
          <a:p>
            <a:pPr>
              <a:defRPr/>
            </a:pPr>
            <a:fld id="{D39D0B8B-B636-40CE-A03A-5AE82FBCF93D}" type="datetime5">
              <a:rPr lang="en-US" smtClean="0"/>
              <a:t>6-Oct-21</a:t>
            </a:fld>
            <a:endParaRPr lang="en-US" dirty="0"/>
          </a:p>
        </p:txBody>
      </p:sp>
      <p:sp>
        <p:nvSpPr>
          <p:cNvPr id="4" name="Footer Placeholder 3"/>
          <p:cNvSpPr>
            <a:spLocks noGrp="1"/>
          </p:cNvSpPr>
          <p:nvPr>
            <p:ph type="ftr" sz="quarter" idx="20"/>
          </p:nvPr>
        </p:nvSpPr>
        <p:spPr/>
        <p:txBody>
          <a:bodyPr/>
          <a:lstStyle>
            <a:lvl1pPr>
              <a:defRPr>
                <a:solidFill>
                  <a:schemeClr val="bg1"/>
                </a:solidFill>
              </a:defRPr>
            </a:lvl1pPr>
          </a:lstStyle>
          <a:p>
            <a:pPr>
              <a:defRPr/>
            </a:pPr>
            <a:r>
              <a:rPr lang="en-US"/>
              <a:t>FOOTER / PRESENTATION NAME</a:t>
            </a:r>
            <a:endParaRPr lang="en-US" dirty="0"/>
          </a:p>
        </p:txBody>
      </p:sp>
      <p:sp>
        <p:nvSpPr>
          <p:cNvPr id="5" name="Slide Number Placeholder 4"/>
          <p:cNvSpPr>
            <a:spLocks noGrp="1"/>
          </p:cNvSpPr>
          <p:nvPr>
            <p:ph type="sldNum" sz="quarter" idx="2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675232695"/>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 Message (5)">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0" y="1"/>
            <a:ext cx="12192000" cy="6858000"/>
          </a:xfrm>
          <a:solidFill>
            <a:schemeClr val="bg2">
              <a:lumMod val="60000"/>
              <a:lumOff val="40000"/>
            </a:schemeClr>
          </a:solidFill>
        </p:spPr>
        <p:txBody>
          <a:bodyPr anchor="ctr"/>
          <a:lstStyle>
            <a:lvl1pPr algn="ctr">
              <a:defRPr b="0">
                <a:solidFill>
                  <a:schemeClr val="tx1"/>
                </a:solidFill>
              </a:defRPr>
            </a:lvl1pPr>
          </a:lstStyle>
          <a:p>
            <a:r>
              <a:rPr lang="en-US" dirty="0"/>
              <a:t>Click icon to add picture</a:t>
            </a:r>
          </a:p>
        </p:txBody>
      </p:sp>
      <p:sp>
        <p:nvSpPr>
          <p:cNvPr id="2" name="Titel 1"/>
          <p:cNvSpPr>
            <a:spLocks noGrp="1"/>
          </p:cNvSpPr>
          <p:nvPr>
            <p:ph type="title"/>
          </p:nvPr>
        </p:nvSpPr>
        <p:spPr bwMode="gray">
          <a:xfrm>
            <a:off x="380149" y="382167"/>
            <a:ext cx="5334656" cy="760133"/>
          </a:xfrm>
        </p:spPr>
        <p:txBody>
          <a:bodyPr/>
          <a:lstStyle>
            <a:lvl1pPr>
              <a:defRPr b="0"/>
            </a:lvl1pPr>
          </a:lstStyle>
          <a:p>
            <a:r>
              <a:rPr lang="en-US" dirty="0"/>
              <a:t>Click to edit Master title style</a:t>
            </a:r>
            <a:endParaRPr lang="de-DE" dirty="0"/>
          </a:p>
        </p:txBody>
      </p:sp>
      <p:sp>
        <p:nvSpPr>
          <p:cNvPr id="6" name="Picture Placeholder 5"/>
          <p:cNvSpPr>
            <a:spLocks noGrp="1"/>
          </p:cNvSpPr>
          <p:nvPr>
            <p:ph type="pic" sz="quarter" idx="27"/>
          </p:nvPr>
        </p:nvSpPr>
        <p:spPr>
          <a:xfrm>
            <a:off x="6857343" y="1142299"/>
            <a:ext cx="4190016" cy="4573400"/>
          </a:xfrm>
          <a:solidFill>
            <a:schemeClr val="bg2"/>
          </a:solidFill>
        </p:spPr>
        <p:txBody>
          <a:bodyPr anchor="ctr"/>
          <a:lstStyle>
            <a:lvl1pPr algn="ctr">
              <a:defRPr b="0">
                <a:solidFill>
                  <a:schemeClr val="bg1"/>
                </a:solidFill>
              </a:defRPr>
            </a:lvl1pPr>
          </a:lstStyle>
          <a:p>
            <a:r>
              <a:rPr lang="en-US" dirty="0"/>
              <a:t>Click icon to add picture</a:t>
            </a:r>
          </a:p>
        </p:txBody>
      </p:sp>
      <p:sp>
        <p:nvSpPr>
          <p:cNvPr id="7" name="Date Placeholder 6"/>
          <p:cNvSpPr>
            <a:spLocks noGrp="1"/>
          </p:cNvSpPr>
          <p:nvPr>
            <p:ph type="dt" sz="half" idx="28"/>
          </p:nvPr>
        </p:nvSpPr>
        <p:spPr/>
        <p:txBody>
          <a:bodyPr/>
          <a:lstStyle/>
          <a:p>
            <a:pPr>
              <a:defRPr/>
            </a:pPr>
            <a:fld id="{D93C797C-347A-476B-9B4D-4863BDF9636C}" type="datetime5">
              <a:rPr lang="en-US" smtClean="0"/>
              <a:t>6-Oct-21</a:t>
            </a:fld>
            <a:endParaRPr lang="en-US" dirty="0"/>
          </a:p>
        </p:txBody>
      </p:sp>
      <p:sp>
        <p:nvSpPr>
          <p:cNvPr id="8" name="Footer Placeholder 7"/>
          <p:cNvSpPr>
            <a:spLocks noGrp="1"/>
          </p:cNvSpPr>
          <p:nvPr>
            <p:ph type="ftr" sz="quarter" idx="29"/>
          </p:nvPr>
        </p:nvSpPr>
        <p:spPr/>
        <p:txBody>
          <a:bodyPr/>
          <a:lstStyle/>
          <a:p>
            <a:pPr>
              <a:defRPr/>
            </a:pPr>
            <a:r>
              <a:rPr lang="en-US" dirty="0"/>
              <a:t>FOOTER / PRESENTATION NAME</a:t>
            </a:r>
          </a:p>
        </p:txBody>
      </p:sp>
      <p:sp>
        <p:nvSpPr>
          <p:cNvPr id="10" name="Slide Number Placeholder 9"/>
          <p:cNvSpPr>
            <a:spLocks noGrp="1"/>
          </p:cNvSpPr>
          <p:nvPr>
            <p:ph type="sldNum" sz="quarter" idx="30"/>
          </p:nvPr>
        </p:nvSpPr>
        <p:spPr/>
        <p:txBody>
          <a:body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566727216"/>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 Message (6)">
    <p:spTree>
      <p:nvGrpSpPr>
        <p:cNvPr id="1" name=""/>
        <p:cNvGrpSpPr/>
        <p:nvPr/>
      </p:nvGrpSpPr>
      <p:grpSpPr>
        <a:xfrm>
          <a:off x="0" y="0"/>
          <a:ext cx="0" cy="0"/>
          <a:chOff x="0" y="0"/>
          <a:chExt cx="0" cy="0"/>
        </a:xfrm>
      </p:grpSpPr>
      <p:sp>
        <p:nvSpPr>
          <p:cNvPr id="4" name="Picture Placeholder 3"/>
          <p:cNvSpPr>
            <a:spLocks noGrp="1"/>
          </p:cNvSpPr>
          <p:nvPr>
            <p:ph type="pic" sz="quarter" idx="26"/>
          </p:nvPr>
        </p:nvSpPr>
        <p:spPr>
          <a:xfrm>
            <a:off x="1" y="0"/>
            <a:ext cx="6096000" cy="6857474"/>
          </a:xfrm>
          <a:solidFill>
            <a:schemeClr val="bg2">
              <a:lumMod val="60000"/>
              <a:lumOff val="40000"/>
            </a:schemeClr>
          </a:solidFill>
        </p:spPr>
        <p:txBody>
          <a:bodyPr anchor="ctr"/>
          <a:lstStyle>
            <a:lvl1pPr algn="ctr">
              <a:defRPr b="0">
                <a:solidFill>
                  <a:schemeClr val="tx1"/>
                </a:solidFill>
              </a:defRPr>
            </a:lvl1pPr>
          </a:lstStyle>
          <a:p>
            <a:r>
              <a:rPr lang="en-US" noProof="0" dirty="0"/>
              <a:t>Click icon to add picture</a:t>
            </a:r>
          </a:p>
        </p:txBody>
      </p:sp>
      <p:sp>
        <p:nvSpPr>
          <p:cNvPr id="2" name="Titel 1"/>
          <p:cNvSpPr>
            <a:spLocks noGrp="1"/>
          </p:cNvSpPr>
          <p:nvPr>
            <p:ph type="title"/>
          </p:nvPr>
        </p:nvSpPr>
        <p:spPr bwMode="gray">
          <a:xfrm>
            <a:off x="380149" y="3809941"/>
            <a:ext cx="5334656" cy="1523066"/>
          </a:xfrm>
        </p:spPr>
        <p:txBody>
          <a:bodyPr/>
          <a:lstStyle>
            <a:lvl1pPr>
              <a:defRPr sz="4233" b="0" i="0">
                <a:solidFill>
                  <a:schemeClr val="bg1"/>
                </a:solidFill>
                <a:latin typeface="adineue TEXT Black" panose="020B0A03020201060004" pitchFamily="34" charset="0"/>
              </a:defRPr>
            </a:lvl1pPr>
          </a:lstStyle>
          <a:p>
            <a:r>
              <a:rPr lang="en-US" noProof="0" dirty="0"/>
              <a:t>Click to edit Master title style</a:t>
            </a:r>
          </a:p>
        </p:txBody>
      </p:sp>
      <p:sp>
        <p:nvSpPr>
          <p:cNvPr id="9" name="Picture Placeholder 5"/>
          <p:cNvSpPr>
            <a:spLocks noGrp="1"/>
          </p:cNvSpPr>
          <p:nvPr>
            <p:ph type="pic" sz="quarter" idx="28"/>
          </p:nvPr>
        </p:nvSpPr>
        <p:spPr>
          <a:xfrm>
            <a:off x="6096000" y="525"/>
            <a:ext cx="6096351" cy="6857476"/>
          </a:xfrm>
          <a:solidFill>
            <a:schemeClr val="bg2">
              <a:lumMod val="75000"/>
            </a:schemeClr>
          </a:solidFill>
        </p:spPr>
        <p:txBody>
          <a:bodyPr anchor="ctr"/>
          <a:lstStyle>
            <a:lvl1pPr algn="ctr">
              <a:defRPr b="0">
                <a:solidFill>
                  <a:schemeClr val="bg1"/>
                </a:solidFill>
              </a:defRPr>
            </a:lvl1pPr>
          </a:lstStyle>
          <a:p>
            <a:r>
              <a:rPr lang="en-US" noProof="0" dirty="0"/>
              <a:t>Click icon to add picture</a:t>
            </a:r>
          </a:p>
        </p:txBody>
      </p:sp>
      <p:sp>
        <p:nvSpPr>
          <p:cNvPr id="6" name="Picture Placeholder 5"/>
          <p:cNvSpPr>
            <a:spLocks noGrp="1"/>
          </p:cNvSpPr>
          <p:nvPr>
            <p:ph type="pic" sz="quarter" idx="27"/>
          </p:nvPr>
        </p:nvSpPr>
        <p:spPr>
          <a:xfrm>
            <a:off x="6857345" y="1143349"/>
            <a:ext cx="3429721" cy="3810118"/>
          </a:xfrm>
          <a:solidFill>
            <a:schemeClr val="bg2"/>
          </a:solidFill>
        </p:spPr>
        <p:txBody>
          <a:bodyPr anchor="ctr"/>
          <a:lstStyle>
            <a:lvl1pPr algn="ctr">
              <a:defRPr b="0">
                <a:solidFill>
                  <a:schemeClr val="bg1"/>
                </a:solidFill>
              </a:defRPr>
            </a:lvl1pPr>
          </a:lstStyle>
          <a:p>
            <a:r>
              <a:rPr lang="en-US" noProof="0" dirty="0"/>
              <a:t>Click icon to add picture</a:t>
            </a:r>
          </a:p>
        </p:txBody>
      </p:sp>
      <p:sp>
        <p:nvSpPr>
          <p:cNvPr id="7" name="Date Placeholder 6"/>
          <p:cNvSpPr>
            <a:spLocks noGrp="1"/>
          </p:cNvSpPr>
          <p:nvPr>
            <p:ph type="dt" sz="half" idx="29"/>
          </p:nvPr>
        </p:nvSpPr>
        <p:spPr/>
        <p:txBody>
          <a:bodyPr/>
          <a:lstStyle>
            <a:lvl1pPr>
              <a:defRPr>
                <a:solidFill>
                  <a:schemeClr val="bg1"/>
                </a:solidFill>
              </a:defRPr>
            </a:lvl1pPr>
          </a:lstStyle>
          <a:p>
            <a:pPr>
              <a:defRPr/>
            </a:pPr>
            <a:fld id="{71AEEF42-0E74-4DBE-AE9E-8E727CF3A1A7}" type="datetime5">
              <a:rPr lang="en-US" smtClean="0"/>
              <a:t>6-Oct-21</a:t>
            </a:fld>
            <a:endParaRPr lang="en-US" dirty="0"/>
          </a:p>
        </p:txBody>
      </p:sp>
      <p:sp>
        <p:nvSpPr>
          <p:cNvPr id="8" name="Footer Placeholder 7"/>
          <p:cNvSpPr>
            <a:spLocks noGrp="1"/>
          </p:cNvSpPr>
          <p:nvPr>
            <p:ph type="ftr" sz="quarter" idx="30"/>
          </p:nvPr>
        </p:nvSpPr>
        <p:spPr/>
        <p:txBody>
          <a:bodyPr/>
          <a:lstStyle>
            <a:lvl1pPr>
              <a:defRPr>
                <a:solidFill>
                  <a:schemeClr val="bg1"/>
                </a:solidFill>
              </a:defRPr>
            </a:lvl1pPr>
          </a:lstStyle>
          <a:p>
            <a:pPr>
              <a:defRPr/>
            </a:pPr>
            <a:r>
              <a:rPr lang="en-US" dirty="0"/>
              <a:t>FOOTER / PRESENTATION NAME</a:t>
            </a:r>
          </a:p>
        </p:txBody>
      </p:sp>
      <p:sp>
        <p:nvSpPr>
          <p:cNvPr id="11" name="Slide Number Placeholder 10"/>
          <p:cNvSpPr>
            <a:spLocks noGrp="1"/>
          </p:cNvSpPr>
          <p:nvPr>
            <p:ph type="sldNum" sz="quarter" idx="31"/>
          </p:nvPr>
        </p:nvSpPr>
        <p:spPr/>
        <p:txBody>
          <a:bodyPr/>
          <a:lstStyle>
            <a:lvl1pPr>
              <a:defRPr>
                <a:solidFill>
                  <a:schemeClr val="bg1"/>
                </a:solidFill>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59101891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9" Type="http://schemas.openxmlformats.org/officeDocument/2006/relationships/tags" Target="../tags/tag33.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7" Type="http://schemas.openxmlformats.org/officeDocument/2006/relationships/slideLayout" Target="../slideLayouts/slideLayout22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slideLayout" Target="../slideLayouts/slideLayout247.xml"/><Relationship Id="rId41" Type="http://schemas.openxmlformats.org/officeDocument/2006/relationships/image" Target="../media/image7.emf"/><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theme" Target="../theme/theme10.xml"/><Relationship Id="rId40" Type="http://schemas.openxmlformats.org/officeDocument/2006/relationships/oleObject" Target="../embeddings/oleObject21.bin"/><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 Id="rId8" Type="http://schemas.openxmlformats.org/officeDocument/2006/relationships/slideLayout" Target="../slideLayouts/slideLayout226.xml"/><Relationship Id="rId3" Type="http://schemas.openxmlformats.org/officeDocument/2006/relationships/slideLayout" Target="../slideLayouts/slideLayout221.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vmlDrawing" Target="../drawings/vmlDrawing21.v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21" Type="http://schemas.openxmlformats.org/officeDocument/2006/relationships/slideLayout" Target="../slideLayouts/slideLayout275.xml"/><Relationship Id="rId34" Type="http://schemas.openxmlformats.org/officeDocument/2006/relationships/slideLayout" Target="../slideLayouts/slideLayout288.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38" Type="http://schemas.openxmlformats.org/officeDocument/2006/relationships/image" Target="../media/image8.png"/><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37" Type="http://schemas.openxmlformats.org/officeDocument/2006/relationships/theme" Target="../theme/theme11.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36" Type="http://schemas.openxmlformats.org/officeDocument/2006/relationships/slideLayout" Target="../slideLayouts/slideLayout290.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slideLayout" Target="../slideLayouts/slideLayout289.xml"/><Relationship Id="rId8" Type="http://schemas.openxmlformats.org/officeDocument/2006/relationships/slideLayout" Target="../slideLayouts/slideLayout262.xml"/><Relationship Id="rId3" Type="http://schemas.openxmlformats.org/officeDocument/2006/relationships/slideLayout" Target="../slideLayouts/slideLayout25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21" Type="http://schemas.openxmlformats.org/officeDocument/2006/relationships/slideLayout" Target="../slideLayouts/slideLayout311.xml"/><Relationship Id="rId34" Type="http://schemas.openxmlformats.org/officeDocument/2006/relationships/slideLayout" Target="../slideLayouts/slideLayout324.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33" Type="http://schemas.openxmlformats.org/officeDocument/2006/relationships/slideLayout" Target="../slideLayouts/slideLayout323.xml"/><Relationship Id="rId38" Type="http://schemas.openxmlformats.org/officeDocument/2006/relationships/image" Target="../media/image8.png"/><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slideLayout" Target="../slideLayouts/slideLayout319.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slideLayout" Target="../slideLayouts/slideLayout322.xml"/><Relationship Id="rId37" Type="http://schemas.openxmlformats.org/officeDocument/2006/relationships/theme" Target="../theme/theme12.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slideLayout" Target="../slideLayouts/slideLayout318.xml"/><Relationship Id="rId36" Type="http://schemas.openxmlformats.org/officeDocument/2006/relationships/slideLayout" Target="../slideLayouts/slideLayout326.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slideLayout" Target="../slideLayouts/slideLayout321.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slideLayout" Target="../slideLayouts/slideLayout317.xml"/><Relationship Id="rId30" Type="http://schemas.openxmlformats.org/officeDocument/2006/relationships/slideLayout" Target="../slideLayouts/slideLayout320.xml"/><Relationship Id="rId35" Type="http://schemas.openxmlformats.org/officeDocument/2006/relationships/slideLayout" Target="../slideLayouts/slideLayout325.xml"/><Relationship Id="rId8" Type="http://schemas.openxmlformats.org/officeDocument/2006/relationships/slideLayout" Target="../slideLayouts/slideLayout298.xml"/><Relationship Id="rId3"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theme" Target="../theme/theme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8"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image" Target="../media/image1.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oleObject" Target="../embeddings/oleObject1.bin"/><Relationship Id="rId5" Type="http://schemas.openxmlformats.org/officeDocument/2006/relationships/slideLayout" Target="../slideLayouts/slideLayout57.xml"/><Relationship Id="rId10" Type="http://schemas.openxmlformats.org/officeDocument/2006/relationships/tags" Target="../tags/tag1.xml"/><Relationship Id="rId4" Type="http://schemas.openxmlformats.org/officeDocument/2006/relationships/slideLayout" Target="../slideLayouts/slideLayout56.xml"/><Relationship Id="rId9"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5.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5.xml"/><Relationship Id="rId5" Type="http://schemas.openxmlformats.org/officeDocument/2006/relationships/slideLayout" Target="../slideLayouts/slideLayout64.xml"/><Relationship Id="rId10" Type="http://schemas.openxmlformats.org/officeDocument/2006/relationships/vmlDrawing" Target="../drawings/vmlDrawing5.vml"/><Relationship Id="rId4" Type="http://schemas.openxmlformats.org/officeDocument/2006/relationships/slideLayout" Target="../slideLayouts/slideLayout6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theme" Target="../theme/theme5.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8" Type="http://schemas.openxmlformats.org/officeDocument/2006/relationships/slideLayout" Target="../slideLayouts/slideLayout75.xml"/><Relationship Id="rId3"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theme" Target="../theme/theme6.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8" Type="http://schemas.openxmlformats.org/officeDocument/2006/relationships/slideLayout" Target="../slideLayouts/slideLayout111.xml"/><Relationship Id="rId3"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theme" Target="../theme/theme7.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8"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14.vml"/><Relationship Id="rId3" Type="http://schemas.openxmlformats.org/officeDocument/2006/relationships/slideLayout" Target="../slideLayouts/slideLayout178.xml"/><Relationship Id="rId7" Type="http://schemas.openxmlformats.org/officeDocument/2006/relationships/theme" Target="../theme/theme8.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image" Target="../media/image1.emf"/><Relationship Id="rId5" Type="http://schemas.openxmlformats.org/officeDocument/2006/relationships/slideLayout" Target="../slideLayouts/slideLayout180.xml"/><Relationship Id="rId10" Type="http://schemas.openxmlformats.org/officeDocument/2006/relationships/oleObject" Target="../embeddings/oleObject14.bin"/><Relationship Id="rId4" Type="http://schemas.openxmlformats.org/officeDocument/2006/relationships/slideLayout" Target="../slideLayouts/slideLayout179.xml"/><Relationship Id="rId9" Type="http://schemas.openxmlformats.org/officeDocument/2006/relationships/tags" Target="../tags/tag2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21" Type="http://schemas.openxmlformats.org/officeDocument/2006/relationships/slideLayout" Target="../slideLayouts/slideLayout202.xml"/><Relationship Id="rId34" Type="http://schemas.openxmlformats.org/officeDocument/2006/relationships/slideLayout" Target="../slideLayouts/slideLayout215.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slideLayout" Target="../slideLayouts/slideLayout214.xml"/><Relationship Id="rId38" Type="http://schemas.openxmlformats.org/officeDocument/2006/relationships/theme" Target="../theme/theme9.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37" Type="http://schemas.openxmlformats.org/officeDocument/2006/relationships/slideLayout" Target="../slideLayouts/slideLayout218.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36" Type="http://schemas.openxmlformats.org/officeDocument/2006/relationships/slideLayout" Target="../slideLayouts/slideLayout217.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35" Type="http://schemas.openxmlformats.org/officeDocument/2006/relationships/slideLayout" Target="../slideLayouts/slideLayout216.xml"/><Relationship Id="rId8" Type="http://schemas.openxmlformats.org/officeDocument/2006/relationships/slideLayout" Target="../slideLayouts/slideLayout189.xml"/><Relationship Id="rId3"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5953D8-CACC-481D-A4DC-F70FBE85A25E}" type="datetime5">
              <a:rPr lang="en-US" smtClean="0"/>
              <a:t>6-Oct-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 PRESENTATION NAM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D2442B-3121-4A99-B6F9-065622924F82}" type="slidenum">
              <a:rPr lang="en-US" smtClean="0"/>
              <a:t>‹#›</a:t>
            </a:fld>
            <a:endParaRPr lang="en-US"/>
          </a:p>
        </p:txBody>
      </p:sp>
    </p:spTree>
    <p:extLst>
      <p:ext uri="{BB962C8B-B14F-4D97-AF65-F5344CB8AC3E}">
        <p14:creationId xmlns:p14="http://schemas.microsoft.com/office/powerpoint/2010/main" val="31178299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97" r:id="rId13"/>
    <p:sldLayoutId id="2147483916" r:id="rId14"/>
    <p:sldLayoutId id="2147483991" r:id="rId15"/>
    <p:sldLayoutId id="2147483993" r:id="rId16"/>
    <p:sldLayoutId id="2147483994" r:id="rId1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C1B5DC-88A8-4D16-BE29-57DEA83B0997}"/>
              </a:ext>
            </a:extLst>
          </p:cNvPr>
          <p:cNvGraphicFramePr>
            <a:graphicFrameLocks noChangeAspect="1"/>
          </p:cNvGraphicFramePr>
          <p:nvPr userDrawn="1">
            <p:custDataLst>
              <p:tags r:id="rId39"/>
            </p:custDataLst>
            <p:extLst>
              <p:ext uri="{D42A27DB-BD31-4B8C-83A1-F6EECF244321}">
                <p14:modId xmlns:p14="http://schemas.microsoft.com/office/powerpoint/2010/main" val="3733465626"/>
              </p:ext>
            </p:extLst>
          </p:nvPr>
        </p:nvGraphicFramePr>
        <p:xfrm>
          <a:off x="2101" y="2101"/>
          <a:ext cx="2101" cy="2100"/>
        </p:xfrm>
        <a:graphic>
          <a:graphicData uri="http://schemas.openxmlformats.org/presentationml/2006/ole">
            <mc:AlternateContent xmlns:mc="http://schemas.openxmlformats.org/markup-compatibility/2006">
              <mc:Choice xmlns:v="urn:schemas-microsoft-com:vml" Requires="v">
                <p:oleObj spid="_x0000_s21506" name="think-cell Slide" r:id="rId40" imgW="592" imgH="595" progId="TCLayout.ActiveDocument.1">
                  <p:embed/>
                </p:oleObj>
              </mc:Choice>
              <mc:Fallback>
                <p:oleObj name="think-cell Slide" r:id="rId40" imgW="592" imgH="595" progId="TCLayout.ActiveDocument.1">
                  <p:embed/>
                  <p:pic>
                    <p:nvPicPr>
                      <p:cNvPr id="5" name="Object 4" hidden="1">
                        <a:extLst>
                          <a:ext uri="{FF2B5EF4-FFF2-40B4-BE49-F238E27FC236}">
                            <a16:creationId xmlns:a16="http://schemas.microsoft.com/office/drawing/2014/main" id="{19C1B5DC-88A8-4D16-BE29-57DEA83B0997}"/>
                          </a:ext>
                        </a:extLst>
                      </p:cNvPr>
                      <p:cNvPicPr/>
                      <p:nvPr/>
                    </p:nvPicPr>
                    <p:blipFill>
                      <a:blip r:embed="rId41"/>
                      <a:stretch>
                        <a:fillRect/>
                      </a:stretch>
                    </p:blipFill>
                    <p:spPr>
                      <a:xfrm>
                        <a:off x="2101" y="2101"/>
                        <a:ext cx="2101" cy="2100"/>
                      </a:xfrm>
                      <a:prstGeom prst="rect">
                        <a:avLst/>
                      </a:prstGeom>
                    </p:spPr>
                  </p:pic>
                </p:oleObj>
              </mc:Fallback>
            </mc:AlternateContent>
          </a:graphicData>
        </a:graphic>
      </p:graphicFrame>
      <p:sp>
        <p:nvSpPr>
          <p:cNvPr id="2" name="Title Placeholder 1"/>
          <p:cNvSpPr>
            <a:spLocks noGrp="1"/>
          </p:cNvSpPr>
          <p:nvPr>
            <p:ph type="title"/>
          </p:nvPr>
        </p:nvSpPr>
        <p:spPr bwMode="gray">
          <a:xfrm>
            <a:off x="380672" y="381455"/>
            <a:ext cx="10286541" cy="1142827"/>
          </a:xfrm>
          <a:prstGeom prst="rect">
            <a:avLst/>
          </a:prstGeom>
        </p:spPr>
        <p:txBody>
          <a:bodyPr vert="horz" lIns="0" tIns="0" rIns="0" bIns="0" rtlCol="0" anchor="t" anchorCtr="0">
            <a:noAutofit/>
          </a:bodyPr>
          <a:lstStyle/>
          <a:p>
            <a:pPr lvl="0"/>
            <a:endParaRPr lang="en-US" noProof="0"/>
          </a:p>
        </p:txBody>
      </p:sp>
      <p:sp>
        <p:nvSpPr>
          <p:cNvPr id="3" name="Text Placeholder 2"/>
          <p:cNvSpPr>
            <a:spLocks noGrp="1"/>
          </p:cNvSpPr>
          <p:nvPr>
            <p:ph type="body" idx="1"/>
          </p:nvPr>
        </p:nvSpPr>
        <p:spPr bwMode="gray">
          <a:xfrm>
            <a:off x="380671" y="1524282"/>
            <a:ext cx="8001488" cy="4571319"/>
          </a:xfrm>
          <a:prstGeom prst="rect">
            <a:avLst/>
          </a:prstGeom>
        </p:spPr>
        <p:txBody>
          <a:bodyPr vert="horz" lIns="0" tIns="0" rIns="0" bIns="0" rtlCol="0">
            <a:noAutofit/>
          </a:bodyPr>
          <a:lstStyle/>
          <a:p>
            <a:pPr lvl="0"/>
            <a:r>
              <a:rPr lang="en-US" noProof="0"/>
              <a:t>Click to edit Master text styles </a:t>
            </a:r>
          </a:p>
          <a:p>
            <a:pPr lvl="1"/>
            <a:r>
              <a:rPr lang="en-US" noProof="0"/>
              <a:t>Second level </a:t>
            </a:r>
          </a:p>
          <a:p>
            <a:pPr lvl="2"/>
            <a:r>
              <a:rPr lang="en-US" noProof="0"/>
              <a:t>Third level </a:t>
            </a:r>
          </a:p>
          <a:p>
            <a:pPr lvl="3"/>
            <a:r>
              <a:rPr lang="en-US" noProof="0"/>
              <a:t>Fourth level </a:t>
            </a:r>
          </a:p>
          <a:p>
            <a:pPr lvl="4"/>
            <a:r>
              <a:rPr lang="en-US" noProof="0"/>
              <a:t>Fifth level </a:t>
            </a:r>
          </a:p>
          <a:p>
            <a:pPr marL="0" lvl="5" indent="0" algn="l" defTabSz="1218838" rtl="0" eaLnBrk="1" latinLnBrk="0" hangingPunct="1">
              <a:lnSpc>
                <a:spcPct val="75000"/>
              </a:lnSpc>
              <a:spcBef>
                <a:spcPts val="1587"/>
              </a:spcBef>
              <a:spcAft>
                <a:spcPts val="794"/>
              </a:spcAft>
              <a:buClrTx/>
              <a:buSzPct val="90000"/>
              <a:buFont typeface="Wingdings" pitchFamily="2" charset="2"/>
              <a:buNone/>
              <a:tabLst>
                <a:tab pos="1309829" algn="l"/>
              </a:tabLst>
            </a:pPr>
            <a:r>
              <a:rPr lang="en-US" noProof="0"/>
              <a:t>SIXTH LEVEL</a:t>
            </a:r>
          </a:p>
          <a:p>
            <a:pPr lvl="6"/>
            <a:r>
              <a:rPr lang="en-US" noProof="0"/>
              <a:t>Seventh Level</a:t>
            </a:r>
          </a:p>
          <a:p>
            <a:pPr lvl="7"/>
            <a:r>
              <a:rPr lang="en-US" noProof="0" err="1"/>
              <a:t>Eighth</a:t>
            </a:r>
            <a:r>
              <a:rPr lang="en-US" noProof="0"/>
              <a:t> Level</a:t>
            </a:r>
          </a:p>
          <a:p>
            <a:pPr lvl="8"/>
            <a:r>
              <a:rPr lang="en-US" noProof="0" err="1"/>
              <a:t>Ninth</a:t>
            </a:r>
            <a:r>
              <a:rPr lang="en-US" noProof="0"/>
              <a:t> Level</a:t>
            </a:r>
          </a:p>
        </p:txBody>
      </p:sp>
      <p:sp>
        <p:nvSpPr>
          <p:cNvPr id="4" name="Date Placeholder 3"/>
          <p:cNvSpPr>
            <a:spLocks noGrp="1"/>
          </p:cNvSpPr>
          <p:nvPr>
            <p:ph type="dt" sz="half" idx="2"/>
          </p:nvPr>
        </p:nvSpPr>
        <p:spPr bwMode="gray">
          <a:xfrm>
            <a:off x="10667212" y="6477934"/>
            <a:ext cx="763799" cy="379993"/>
          </a:xfrm>
          <a:prstGeom prst="rect">
            <a:avLst/>
          </a:prstGeom>
        </p:spPr>
        <p:txBody>
          <a:bodyPr vert="horz" wrap="none" lIns="0" tIns="0" rIns="0" bIns="0" rtlCol="0" anchor="ctr" anchorCtr="0"/>
          <a:lstStyle>
            <a:lvl1pPr algn="r" defTabSz="1218764" fontAlgn="auto">
              <a:lnSpc>
                <a:spcPct val="80000"/>
              </a:lnSpc>
              <a:spcBef>
                <a:spcPts val="0"/>
              </a:spcBef>
              <a:spcAft>
                <a:spcPts val="0"/>
              </a:spcAft>
              <a:buClrTx/>
              <a:defRPr sz="794" b="0" i="0" cap="all" spc="40" baseline="0">
                <a:solidFill>
                  <a:schemeClr val="tx1"/>
                </a:solidFill>
                <a:latin typeface="+mj-lt"/>
                <a:ea typeface="AdihausDIN" panose="020B0504020101020102" pitchFamily="34" charset="0"/>
                <a:cs typeface="AdihausDIN" panose="020B0504020101020102" pitchFamily="34" charset="0"/>
              </a:defRPr>
            </a:lvl1pPr>
          </a:lstStyle>
          <a:p>
            <a:pPr>
              <a:defRPr/>
            </a:pPr>
            <a:fld id="{3DE9973B-61C2-4706-8AFB-BD81DDB12055}" type="datetime5">
              <a:rPr lang="en-US" smtClean="0"/>
              <a:t>6-Oct-21</a:t>
            </a:fld>
            <a:endParaRPr lang="en-US"/>
          </a:p>
        </p:txBody>
      </p:sp>
      <p:sp>
        <p:nvSpPr>
          <p:cNvPr id="61" name="Footer Placeholder 60">
            <a:extLst>
              <a:ext uri="{FF2B5EF4-FFF2-40B4-BE49-F238E27FC236}">
                <a16:creationId xmlns:a16="http://schemas.microsoft.com/office/drawing/2014/main" id="{BE0AECDB-1657-4D12-A3A8-93C0F5E2DC92}"/>
              </a:ext>
            </a:extLst>
          </p:cNvPr>
          <p:cNvSpPr>
            <a:spLocks noGrp="1"/>
          </p:cNvSpPr>
          <p:nvPr>
            <p:ph type="ftr" sz="quarter" idx="3"/>
          </p:nvPr>
        </p:nvSpPr>
        <p:spPr bwMode="gray">
          <a:xfrm>
            <a:off x="1142717" y="6477934"/>
            <a:ext cx="1524094" cy="379993"/>
          </a:xfrm>
          <a:prstGeom prst="rect">
            <a:avLst/>
          </a:prstGeom>
          <a:noFill/>
        </p:spPr>
        <p:txBody>
          <a:bodyPr vert="horz" wrap="none" lIns="0" tIns="0" rIns="0" bIns="0" rtlCol="0" anchor="ctr" anchorCtr="0">
            <a:noAutofit/>
          </a:bodyPr>
          <a:lstStyle>
            <a:lvl1pPr algn="l" defTabSz="1218764" fontAlgn="auto">
              <a:lnSpc>
                <a:spcPct val="80000"/>
              </a:lnSpc>
              <a:spcBef>
                <a:spcPts val="0"/>
              </a:spcBef>
              <a:spcAft>
                <a:spcPts val="0"/>
              </a:spcAft>
              <a:buClrTx/>
              <a:defRPr sz="794" b="0" i="0" cap="all" spc="40" baseline="0">
                <a:solidFill>
                  <a:schemeClr val="tx1"/>
                </a:solidFill>
                <a:latin typeface="+mj-lt"/>
                <a:ea typeface="AdihausDIN" panose="020B0504020101020102" pitchFamily="34" charset="0"/>
                <a:cs typeface="AdihausDIN" panose="020B0504020101020102" pitchFamily="34" charset="0"/>
              </a:defRPr>
            </a:lvl1pPr>
          </a:lstStyle>
          <a:p>
            <a:pPr>
              <a:defRPr/>
            </a:pPr>
            <a:r>
              <a:rPr lang="en-US"/>
              <a:t>FOOTER / PRESENTATION NAME</a:t>
            </a:r>
          </a:p>
        </p:txBody>
      </p:sp>
      <p:sp>
        <p:nvSpPr>
          <p:cNvPr id="6" name="Slide Number Placeholder 5"/>
          <p:cNvSpPr>
            <a:spLocks noGrp="1"/>
          </p:cNvSpPr>
          <p:nvPr>
            <p:ph type="sldNum" sz="quarter" idx="4"/>
          </p:nvPr>
        </p:nvSpPr>
        <p:spPr bwMode="gray">
          <a:xfrm>
            <a:off x="11429607" y="6476936"/>
            <a:ext cx="381742" cy="381063"/>
          </a:xfrm>
          <a:prstGeom prst="rect">
            <a:avLst/>
          </a:prstGeom>
        </p:spPr>
        <p:txBody>
          <a:bodyPr vert="horz" wrap="none" lIns="0" tIns="0" rIns="0" bIns="0" rtlCol="0" anchor="ctr" anchorCtr="0"/>
          <a:lstStyle>
            <a:lvl1pPr algn="r" defTabSz="1218764" fontAlgn="auto">
              <a:lnSpc>
                <a:spcPct val="80000"/>
              </a:lnSpc>
              <a:spcBef>
                <a:spcPts val="0"/>
              </a:spcBef>
              <a:spcAft>
                <a:spcPts val="0"/>
              </a:spcAft>
              <a:buClrTx/>
              <a:defRPr sz="794" b="0" i="0" cap="all" spc="40" baseline="0">
                <a:solidFill>
                  <a:schemeClr val="tx1"/>
                </a:solidFill>
                <a:latin typeface="+mj-lt"/>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a:p>
        </p:txBody>
      </p:sp>
      <p:sp>
        <p:nvSpPr>
          <p:cNvPr id="8" name="Text Placeholder 4">
            <a:extLst>
              <a:ext uri="{FF2B5EF4-FFF2-40B4-BE49-F238E27FC236}">
                <a16:creationId xmlns:a16="http://schemas.microsoft.com/office/drawing/2014/main" id="{7B12B60E-CACD-4D7C-BFAD-D501F9663DFD}"/>
              </a:ext>
            </a:extLst>
          </p:cNvPr>
          <p:cNvSpPr txBox="1">
            <a:spLocks/>
          </p:cNvSpPr>
          <p:nvPr userDrawn="1"/>
        </p:nvSpPr>
        <p:spPr bwMode="gray">
          <a:xfrm>
            <a:off x="380016" y="6601555"/>
            <a:ext cx="381460" cy="88729"/>
          </a:xfrm>
          <a:custGeom>
            <a:avLst/>
            <a:gdLst>
              <a:gd name="connsiteX0" fmla="*/ 962020 w 1295999"/>
              <a:gd name="connsiteY0" fmla="*/ 123589 h 301519"/>
              <a:gd name="connsiteX1" fmla="*/ 899264 w 1295999"/>
              <a:gd name="connsiteY1" fmla="*/ 187067 h 301519"/>
              <a:gd name="connsiteX2" fmla="*/ 962020 w 1295999"/>
              <a:gd name="connsiteY2" fmla="*/ 250545 h 301519"/>
              <a:gd name="connsiteX3" fmla="*/ 1024776 w 1295999"/>
              <a:gd name="connsiteY3" fmla="*/ 187067 h 301519"/>
              <a:gd name="connsiteX4" fmla="*/ 962020 w 1295999"/>
              <a:gd name="connsiteY4" fmla="*/ 123589 h 301519"/>
              <a:gd name="connsiteX5" fmla="*/ 706668 w 1295999"/>
              <a:gd name="connsiteY5" fmla="*/ 123589 h 301519"/>
              <a:gd name="connsiteX6" fmla="*/ 644392 w 1295999"/>
              <a:gd name="connsiteY6" fmla="*/ 187067 h 301519"/>
              <a:gd name="connsiteX7" fmla="*/ 706668 w 1295999"/>
              <a:gd name="connsiteY7" fmla="*/ 250545 h 301519"/>
              <a:gd name="connsiteX8" fmla="*/ 768944 w 1295999"/>
              <a:gd name="connsiteY8" fmla="*/ 187067 h 301519"/>
              <a:gd name="connsiteX9" fmla="*/ 706668 w 1295999"/>
              <a:gd name="connsiteY9" fmla="*/ 123589 h 301519"/>
              <a:gd name="connsiteX10" fmla="*/ 370526 w 1295999"/>
              <a:gd name="connsiteY10" fmla="*/ 123589 h 301519"/>
              <a:gd name="connsiteX11" fmla="*/ 308250 w 1295999"/>
              <a:gd name="connsiteY11" fmla="*/ 187067 h 301519"/>
              <a:gd name="connsiteX12" fmla="*/ 370526 w 1295999"/>
              <a:gd name="connsiteY12" fmla="*/ 250545 h 301519"/>
              <a:gd name="connsiteX13" fmla="*/ 432802 w 1295999"/>
              <a:gd name="connsiteY13" fmla="*/ 187067 h 301519"/>
              <a:gd name="connsiteX14" fmla="*/ 370526 w 1295999"/>
              <a:gd name="connsiteY14" fmla="*/ 123589 h 301519"/>
              <a:gd name="connsiteX15" fmla="*/ 115172 w 1295999"/>
              <a:gd name="connsiteY15" fmla="*/ 123589 h 301519"/>
              <a:gd name="connsiteX16" fmla="*/ 52416 w 1295999"/>
              <a:gd name="connsiteY16" fmla="*/ 187067 h 301519"/>
              <a:gd name="connsiteX17" fmla="*/ 115172 w 1295999"/>
              <a:gd name="connsiteY17" fmla="*/ 250545 h 301519"/>
              <a:gd name="connsiteX18" fmla="*/ 177928 w 1295999"/>
              <a:gd name="connsiteY18" fmla="*/ 187067 h 301519"/>
              <a:gd name="connsiteX19" fmla="*/ 115172 w 1295999"/>
              <a:gd name="connsiteY19" fmla="*/ 123589 h 301519"/>
              <a:gd name="connsiteX20" fmla="*/ 514071 w 1295999"/>
              <a:gd name="connsiteY20" fmla="*/ 75019 h 301519"/>
              <a:gd name="connsiteX21" fmla="*/ 568893 w 1295999"/>
              <a:gd name="connsiteY21" fmla="*/ 75019 h 301519"/>
              <a:gd name="connsiteX22" fmla="*/ 568893 w 1295999"/>
              <a:gd name="connsiteY22" fmla="*/ 296710 h 301519"/>
              <a:gd name="connsiteX23" fmla="*/ 514071 w 1295999"/>
              <a:gd name="connsiteY23" fmla="*/ 296710 h 301519"/>
              <a:gd name="connsiteX24" fmla="*/ 1194227 w 1295999"/>
              <a:gd name="connsiteY24" fmla="*/ 72615 h 301519"/>
              <a:gd name="connsiteX25" fmla="*/ 1287995 w 1295999"/>
              <a:gd name="connsiteY25" fmla="*/ 145448 h 301519"/>
              <a:gd name="connsiteX26" fmla="*/ 1231963 w 1295999"/>
              <a:gd name="connsiteY26" fmla="*/ 145448 h 301519"/>
              <a:gd name="connsiteX27" fmla="*/ 1193083 w 1295999"/>
              <a:gd name="connsiteY27" fmla="*/ 114234 h 301519"/>
              <a:gd name="connsiteX28" fmla="*/ 1158778 w 1295999"/>
              <a:gd name="connsiteY28" fmla="*/ 136200 h 301519"/>
              <a:gd name="connsiteX29" fmla="*/ 1196514 w 1295999"/>
              <a:gd name="connsiteY29" fmla="*/ 158165 h 301519"/>
              <a:gd name="connsiteX30" fmla="*/ 1231963 w 1295999"/>
              <a:gd name="connsiteY30" fmla="*/ 165102 h 301519"/>
              <a:gd name="connsiteX31" fmla="*/ 1295999 w 1295999"/>
              <a:gd name="connsiteY31" fmla="*/ 228686 h 301519"/>
              <a:gd name="connsiteX32" fmla="*/ 1201088 w 1295999"/>
              <a:gd name="connsiteY32" fmla="*/ 301519 h 301519"/>
              <a:gd name="connsiteX33" fmla="*/ 1099315 w 1295999"/>
              <a:gd name="connsiteY33" fmla="*/ 225218 h 301519"/>
              <a:gd name="connsiteX34" fmla="*/ 1154204 w 1295999"/>
              <a:gd name="connsiteY34" fmla="*/ 225218 h 301519"/>
              <a:gd name="connsiteX35" fmla="*/ 1202231 w 1295999"/>
              <a:gd name="connsiteY35" fmla="*/ 259900 h 301519"/>
              <a:gd name="connsiteX36" fmla="*/ 1237680 w 1295999"/>
              <a:gd name="connsiteY36" fmla="*/ 237935 h 301519"/>
              <a:gd name="connsiteX37" fmla="*/ 1207949 w 1295999"/>
              <a:gd name="connsiteY37" fmla="*/ 215969 h 301519"/>
              <a:gd name="connsiteX38" fmla="*/ 1179361 w 1295999"/>
              <a:gd name="connsiteY38" fmla="*/ 210189 h 301519"/>
              <a:gd name="connsiteX39" fmla="*/ 1103889 w 1295999"/>
              <a:gd name="connsiteY39" fmla="*/ 145448 h 301519"/>
              <a:gd name="connsiteX40" fmla="*/ 1194227 w 1295999"/>
              <a:gd name="connsiteY40" fmla="*/ 72615 h 301519"/>
              <a:gd name="connsiteX41" fmla="*/ 959735 w 1295999"/>
              <a:gd name="connsiteY41" fmla="*/ 72615 h 301519"/>
              <a:gd name="connsiteX42" fmla="*/ 1023759 w 1295999"/>
              <a:gd name="connsiteY42" fmla="*/ 93425 h 301519"/>
              <a:gd name="connsiteX43" fmla="*/ 1023759 w 1295999"/>
              <a:gd name="connsiteY43" fmla="*/ 74927 h 301519"/>
              <a:gd name="connsiteX44" fmla="*/ 1078637 w 1295999"/>
              <a:gd name="connsiteY44" fmla="*/ 74927 h 301519"/>
              <a:gd name="connsiteX45" fmla="*/ 1078637 w 1295999"/>
              <a:gd name="connsiteY45" fmla="*/ 296895 h 301519"/>
              <a:gd name="connsiteX46" fmla="*/ 1023759 w 1295999"/>
              <a:gd name="connsiteY46" fmla="*/ 296895 h 301519"/>
              <a:gd name="connsiteX47" fmla="*/ 1023759 w 1295999"/>
              <a:gd name="connsiteY47" fmla="*/ 281866 h 301519"/>
              <a:gd name="connsiteX48" fmla="*/ 959735 w 1295999"/>
              <a:gd name="connsiteY48" fmla="*/ 301519 h 301519"/>
              <a:gd name="connsiteX49" fmla="*/ 845405 w 1295999"/>
              <a:gd name="connsiteY49" fmla="*/ 187067 h 301519"/>
              <a:gd name="connsiteX50" fmla="*/ 959735 w 1295999"/>
              <a:gd name="connsiteY50" fmla="*/ 72615 h 301519"/>
              <a:gd name="connsiteX51" fmla="*/ 113040 w 1295999"/>
              <a:gd name="connsiteY51" fmla="*/ 72615 h 301519"/>
              <a:gd name="connsiteX52" fmla="*/ 178124 w 1295999"/>
              <a:gd name="connsiteY52" fmla="*/ 93425 h 301519"/>
              <a:gd name="connsiteX53" fmla="*/ 178124 w 1295999"/>
              <a:gd name="connsiteY53" fmla="*/ 74927 h 301519"/>
              <a:gd name="connsiteX54" fmla="*/ 231789 w 1295999"/>
              <a:gd name="connsiteY54" fmla="*/ 74927 h 301519"/>
              <a:gd name="connsiteX55" fmla="*/ 231789 w 1295999"/>
              <a:gd name="connsiteY55" fmla="*/ 296895 h 301519"/>
              <a:gd name="connsiteX56" fmla="*/ 178124 w 1295999"/>
              <a:gd name="connsiteY56" fmla="*/ 296895 h 301519"/>
              <a:gd name="connsiteX57" fmla="*/ 178124 w 1295999"/>
              <a:gd name="connsiteY57" fmla="*/ 281866 h 301519"/>
              <a:gd name="connsiteX58" fmla="*/ 113040 w 1295999"/>
              <a:gd name="connsiteY58" fmla="*/ 301519 h 301519"/>
              <a:gd name="connsiteX59" fmla="*/ 0 w 1295999"/>
              <a:gd name="connsiteY59" fmla="*/ 187067 h 301519"/>
              <a:gd name="connsiteX60" fmla="*/ 113040 w 1295999"/>
              <a:gd name="connsiteY60" fmla="*/ 72615 h 301519"/>
              <a:gd name="connsiteX61" fmla="*/ 768887 w 1295999"/>
              <a:gd name="connsiteY61" fmla="*/ 0 h 301519"/>
              <a:gd name="connsiteX62" fmla="*/ 823765 w 1295999"/>
              <a:gd name="connsiteY62" fmla="*/ 0 h 301519"/>
              <a:gd name="connsiteX63" fmla="*/ 823765 w 1295999"/>
              <a:gd name="connsiteY63" fmla="*/ 296898 h 301519"/>
              <a:gd name="connsiteX64" fmla="*/ 768887 w 1295999"/>
              <a:gd name="connsiteY64" fmla="*/ 296898 h 301519"/>
              <a:gd name="connsiteX65" fmla="*/ 768887 w 1295999"/>
              <a:gd name="connsiteY65" fmla="*/ 281880 h 301519"/>
              <a:gd name="connsiteX66" fmla="*/ 703719 w 1295999"/>
              <a:gd name="connsiteY66" fmla="*/ 301519 h 301519"/>
              <a:gd name="connsiteX67" fmla="*/ 590533 w 1295999"/>
              <a:gd name="connsiteY67" fmla="*/ 187150 h 301519"/>
              <a:gd name="connsiteX68" fmla="*/ 703719 w 1295999"/>
              <a:gd name="connsiteY68" fmla="*/ 72781 h 301519"/>
              <a:gd name="connsiteX69" fmla="*/ 768887 w 1295999"/>
              <a:gd name="connsiteY69" fmla="*/ 93575 h 301519"/>
              <a:gd name="connsiteX70" fmla="*/ 768887 w 1295999"/>
              <a:gd name="connsiteY70" fmla="*/ 0 h 301519"/>
              <a:gd name="connsiteX71" fmla="*/ 514071 w 1295999"/>
              <a:gd name="connsiteY71" fmla="*/ 0 h 301519"/>
              <a:gd name="connsiteX72" fmla="*/ 568893 w 1295999"/>
              <a:gd name="connsiteY72" fmla="*/ 0 h 301519"/>
              <a:gd name="connsiteX73" fmla="*/ 568893 w 1295999"/>
              <a:gd name="connsiteY73" fmla="*/ 55303 h 301519"/>
              <a:gd name="connsiteX74" fmla="*/ 514071 w 1295999"/>
              <a:gd name="connsiteY74" fmla="*/ 55303 h 301519"/>
              <a:gd name="connsiteX75" fmla="*/ 432857 w 1295999"/>
              <a:gd name="connsiteY75" fmla="*/ 0 h 301519"/>
              <a:gd name="connsiteX76" fmla="*/ 487622 w 1295999"/>
              <a:gd name="connsiteY76" fmla="*/ 0 h 301519"/>
              <a:gd name="connsiteX77" fmla="*/ 487622 w 1295999"/>
              <a:gd name="connsiteY77" fmla="*/ 296898 h 301519"/>
              <a:gd name="connsiteX78" fmla="*/ 432857 w 1295999"/>
              <a:gd name="connsiteY78" fmla="*/ 296898 h 301519"/>
              <a:gd name="connsiteX79" fmla="*/ 432857 w 1295999"/>
              <a:gd name="connsiteY79" fmla="*/ 281880 h 301519"/>
              <a:gd name="connsiteX80" fmla="*/ 367824 w 1295999"/>
              <a:gd name="connsiteY80" fmla="*/ 301519 h 301519"/>
              <a:gd name="connsiteX81" fmla="*/ 254871 w 1295999"/>
              <a:gd name="connsiteY81" fmla="*/ 187150 h 301519"/>
              <a:gd name="connsiteX82" fmla="*/ 367824 w 1295999"/>
              <a:gd name="connsiteY82" fmla="*/ 72781 h 301519"/>
              <a:gd name="connsiteX83" fmla="*/ 432857 w 1295999"/>
              <a:gd name="connsiteY83" fmla="*/ 93575 h 301519"/>
              <a:gd name="connsiteX84" fmla="*/ 432857 w 1295999"/>
              <a:gd name="connsiteY84" fmla="*/ 0 h 30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95999" h="301519">
                <a:moveTo>
                  <a:pt x="962020" y="123589"/>
                </a:moveTo>
                <a:cubicBezTo>
                  <a:pt x="927361" y="123589"/>
                  <a:pt x="899264" y="152009"/>
                  <a:pt x="899264" y="187067"/>
                </a:cubicBezTo>
                <a:cubicBezTo>
                  <a:pt x="899264" y="222125"/>
                  <a:pt x="927361" y="250545"/>
                  <a:pt x="962020" y="250545"/>
                </a:cubicBezTo>
                <a:cubicBezTo>
                  <a:pt x="996679" y="250545"/>
                  <a:pt x="1024776" y="222125"/>
                  <a:pt x="1024776" y="187067"/>
                </a:cubicBezTo>
                <a:cubicBezTo>
                  <a:pt x="1024776" y="152009"/>
                  <a:pt x="996679" y="123589"/>
                  <a:pt x="962020" y="123589"/>
                </a:cubicBezTo>
                <a:close/>
                <a:moveTo>
                  <a:pt x="706668" y="123589"/>
                </a:moveTo>
                <a:cubicBezTo>
                  <a:pt x="672274" y="123589"/>
                  <a:pt x="644392" y="152009"/>
                  <a:pt x="644392" y="187067"/>
                </a:cubicBezTo>
                <a:cubicBezTo>
                  <a:pt x="644392" y="222125"/>
                  <a:pt x="672274" y="250545"/>
                  <a:pt x="706668" y="250545"/>
                </a:cubicBezTo>
                <a:cubicBezTo>
                  <a:pt x="741062" y="250545"/>
                  <a:pt x="768944" y="222125"/>
                  <a:pt x="768944" y="187067"/>
                </a:cubicBezTo>
                <a:cubicBezTo>
                  <a:pt x="768944" y="152009"/>
                  <a:pt x="741062" y="123589"/>
                  <a:pt x="706668" y="123589"/>
                </a:cubicBezTo>
                <a:close/>
                <a:moveTo>
                  <a:pt x="370526" y="123589"/>
                </a:moveTo>
                <a:cubicBezTo>
                  <a:pt x="336132" y="123589"/>
                  <a:pt x="308250" y="152009"/>
                  <a:pt x="308250" y="187067"/>
                </a:cubicBezTo>
                <a:cubicBezTo>
                  <a:pt x="308250" y="222125"/>
                  <a:pt x="336132" y="250545"/>
                  <a:pt x="370526" y="250545"/>
                </a:cubicBezTo>
                <a:cubicBezTo>
                  <a:pt x="404920" y="250545"/>
                  <a:pt x="432802" y="222125"/>
                  <a:pt x="432802" y="187067"/>
                </a:cubicBezTo>
                <a:cubicBezTo>
                  <a:pt x="432802" y="152009"/>
                  <a:pt x="404920" y="123589"/>
                  <a:pt x="370526" y="123589"/>
                </a:cubicBezTo>
                <a:close/>
                <a:moveTo>
                  <a:pt x="115172" y="123589"/>
                </a:moveTo>
                <a:cubicBezTo>
                  <a:pt x="80513" y="123589"/>
                  <a:pt x="52416" y="152009"/>
                  <a:pt x="52416" y="187067"/>
                </a:cubicBezTo>
                <a:cubicBezTo>
                  <a:pt x="52416" y="222125"/>
                  <a:pt x="80513" y="250545"/>
                  <a:pt x="115172" y="250545"/>
                </a:cubicBezTo>
                <a:cubicBezTo>
                  <a:pt x="149831" y="250545"/>
                  <a:pt x="177928" y="222125"/>
                  <a:pt x="177928" y="187067"/>
                </a:cubicBezTo>
                <a:cubicBezTo>
                  <a:pt x="177928" y="152009"/>
                  <a:pt x="149831" y="123589"/>
                  <a:pt x="115172" y="123589"/>
                </a:cubicBezTo>
                <a:close/>
                <a:moveTo>
                  <a:pt x="514071" y="75019"/>
                </a:moveTo>
                <a:lnTo>
                  <a:pt x="568893" y="75019"/>
                </a:lnTo>
                <a:lnTo>
                  <a:pt x="568893" y="296710"/>
                </a:lnTo>
                <a:lnTo>
                  <a:pt x="514071" y="296710"/>
                </a:lnTo>
                <a:close/>
                <a:moveTo>
                  <a:pt x="1194227" y="72615"/>
                </a:moveTo>
                <a:cubicBezTo>
                  <a:pt x="1250259" y="72615"/>
                  <a:pt x="1284564" y="101517"/>
                  <a:pt x="1287995" y="145448"/>
                </a:cubicBezTo>
                <a:cubicBezTo>
                  <a:pt x="1287995" y="145448"/>
                  <a:pt x="1287995" y="145448"/>
                  <a:pt x="1231963" y="145448"/>
                </a:cubicBezTo>
                <a:cubicBezTo>
                  <a:pt x="1231963" y="128107"/>
                  <a:pt x="1220527" y="114234"/>
                  <a:pt x="1193083" y="114234"/>
                </a:cubicBezTo>
                <a:cubicBezTo>
                  <a:pt x="1173644" y="114234"/>
                  <a:pt x="1158778" y="121171"/>
                  <a:pt x="1158778" y="136200"/>
                </a:cubicBezTo>
                <a:cubicBezTo>
                  <a:pt x="1158778" y="148916"/>
                  <a:pt x="1174787" y="153541"/>
                  <a:pt x="1196514" y="158165"/>
                </a:cubicBezTo>
                <a:cubicBezTo>
                  <a:pt x="1196514" y="158165"/>
                  <a:pt x="1196514" y="158165"/>
                  <a:pt x="1231963" y="165102"/>
                </a:cubicBezTo>
                <a:cubicBezTo>
                  <a:pt x="1276560" y="173194"/>
                  <a:pt x="1295999" y="194004"/>
                  <a:pt x="1295999" y="228686"/>
                </a:cubicBezTo>
                <a:cubicBezTo>
                  <a:pt x="1295999" y="278398"/>
                  <a:pt x="1253689" y="301519"/>
                  <a:pt x="1201088" y="301519"/>
                </a:cubicBezTo>
                <a:cubicBezTo>
                  <a:pt x="1138195" y="301519"/>
                  <a:pt x="1100459" y="270305"/>
                  <a:pt x="1099315" y="225218"/>
                </a:cubicBezTo>
                <a:cubicBezTo>
                  <a:pt x="1099315" y="225218"/>
                  <a:pt x="1099315" y="225218"/>
                  <a:pt x="1154204" y="225218"/>
                </a:cubicBezTo>
                <a:cubicBezTo>
                  <a:pt x="1155347" y="241403"/>
                  <a:pt x="1166782" y="259900"/>
                  <a:pt x="1202231" y="259900"/>
                </a:cubicBezTo>
                <a:cubicBezTo>
                  <a:pt x="1227389" y="259900"/>
                  <a:pt x="1237680" y="248339"/>
                  <a:pt x="1237680" y="237935"/>
                </a:cubicBezTo>
                <a:cubicBezTo>
                  <a:pt x="1237680" y="226374"/>
                  <a:pt x="1228532" y="219437"/>
                  <a:pt x="1207949" y="215969"/>
                </a:cubicBezTo>
                <a:cubicBezTo>
                  <a:pt x="1207949" y="215969"/>
                  <a:pt x="1207949" y="215969"/>
                  <a:pt x="1179361" y="210189"/>
                </a:cubicBezTo>
                <a:cubicBezTo>
                  <a:pt x="1143912" y="204408"/>
                  <a:pt x="1103889" y="196316"/>
                  <a:pt x="1103889" y="145448"/>
                </a:cubicBezTo>
                <a:cubicBezTo>
                  <a:pt x="1103889" y="103829"/>
                  <a:pt x="1137051" y="72615"/>
                  <a:pt x="1194227" y="72615"/>
                </a:cubicBezTo>
                <a:close/>
                <a:moveTo>
                  <a:pt x="959735" y="72615"/>
                </a:moveTo>
                <a:cubicBezTo>
                  <a:pt x="983744" y="72615"/>
                  <a:pt x="1005466" y="79552"/>
                  <a:pt x="1023759" y="93425"/>
                </a:cubicBezTo>
                <a:cubicBezTo>
                  <a:pt x="1023759" y="93425"/>
                  <a:pt x="1023759" y="93425"/>
                  <a:pt x="1023759" y="74927"/>
                </a:cubicBezTo>
                <a:cubicBezTo>
                  <a:pt x="1023759" y="74927"/>
                  <a:pt x="1023759" y="74927"/>
                  <a:pt x="1078637" y="74927"/>
                </a:cubicBezTo>
                <a:cubicBezTo>
                  <a:pt x="1078637" y="74927"/>
                  <a:pt x="1078637" y="74927"/>
                  <a:pt x="1078637" y="296895"/>
                </a:cubicBezTo>
                <a:cubicBezTo>
                  <a:pt x="1078637" y="296895"/>
                  <a:pt x="1078637" y="296895"/>
                  <a:pt x="1023759" y="296895"/>
                </a:cubicBezTo>
                <a:cubicBezTo>
                  <a:pt x="1023759" y="296895"/>
                  <a:pt x="1023759" y="296895"/>
                  <a:pt x="1023759" y="281866"/>
                </a:cubicBezTo>
                <a:cubicBezTo>
                  <a:pt x="1005466" y="294583"/>
                  <a:pt x="983744" y="301519"/>
                  <a:pt x="959735" y="301519"/>
                </a:cubicBezTo>
                <a:cubicBezTo>
                  <a:pt x="896853" y="301519"/>
                  <a:pt x="845405" y="250652"/>
                  <a:pt x="845405" y="187067"/>
                </a:cubicBezTo>
                <a:cubicBezTo>
                  <a:pt x="845405" y="123483"/>
                  <a:pt x="896853" y="72615"/>
                  <a:pt x="959735" y="72615"/>
                </a:cubicBezTo>
                <a:close/>
                <a:moveTo>
                  <a:pt x="113040" y="72615"/>
                </a:moveTo>
                <a:cubicBezTo>
                  <a:pt x="137018" y="72615"/>
                  <a:pt x="159855" y="79552"/>
                  <a:pt x="178124" y="93425"/>
                </a:cubicBezTo>
                <a:cubicBezTo>
                  <a:pt x="178124" y="93425"/>
                  <a:pt x="178124" y="93425"/>
                  <a:pt x="178124" y="74927"/>
                </a:cubicBezTo>
                <a:cubicBezTo>
                  <a:pt x="178124" y="74927"/>
                  <a:pt x="178124" y="74927"/>
                  <a:pt x="231789" y="74927"/>
                </a:cubicBezTo>
                <a:cubicBezTo>
                  <a:pt x="231789" y="74927"/>
                  <a:pt x="231789" y="74927"/>
                  <a:pt x="231789" y="296895"/>
                </a:cubicBezTo>
                <a:cubicBezTo>
                  <a:pt x="231789" y="296895"/>
                  <a:pt x="231789" y="296895"/>
                  <a:pt x="178124" y="296895"/>
                </a:cubicBezTo>
                <a:cubicBezTo>
                  <a:pt x="178124" y="296895"/>
                  <a:pt x="178124" y="296895"/>
                  <a:pt x="178124" y="281866"/>
                </a:cubicBezTo>
                <a:cubicBezTo>
                  <a:pt x="159855" y="294583"/>
                  <a:pt x="137018" y="301519"/>
                  <a:pt x="113040" y="301519"/>
                </a:cubicBezTo>
                <a:cubicBezTo>
                  <a:pt x="50240" y="301519"/>
                  <a:pt x="0" y="250652"/>
                  <a:pt x="0" y="187067"/>
                </a:cubicBezTo>
                <a:cubicBezTo>
                  <a:pt x="0" y="123483"/>
                  <a:pt x="50240" y="72615"/>
                  <a:pt x="113040" y="72615"/>
                </a:cubicBezTo>
                <a:close/>
                <a:moveTo>
                  <a:pt x="768887" y="0"/>
                </a:moveTo>
                <a:cubicBezTo>
                  <a:pt x="768887" y="0"/>
                  <a:pt x="768887" y="0"/>
                  <a:pt x="823765" y="0"/>
                </a:cubicBezTo>
                <a:cubicBezTo>
                  <a:pt x="823765" y="0"/>
                  <a:pt x="823765" y="0"/>
                  <a:pt x="823765" y="296898"/>
                </a:cubicBezTo>
                <a:cubicBezTo>
                  <a:pt x="823765" y="296898"/>
                  <a:pt x="823765" y="296898"/>
                  <a:pt x="768887" y="296898"/>
                </a:cubicBezTo>
                <a:cubicBezTo>
                  <a:pt x="768887" y="296898"/>
                  <a:pt x="768887" y="296898"/>
                  <a:pt x="768887" y="281880"/>
                </a:cubicBezTo>
                <a:cubicBezTo>
                  <a:pt x="750594" y="294588"/>
                  <a:pt x="727729" y="301519"/>
                  <a:pt x="703719" y="301519"/>
                </a:cubicBezTo>
                <a:cubicBezTo>
                  <a:pt x="641981" y="301519"/>
                  <a:pt x="590533" y="250688"/>
                  <a:pt x="590533" y="187150"/>
                </a:cubicBezTo>
                <a:cubicBezTo>
                  <a:pt x="590533" y="123611"/>
                  <a:pt x="641981" y="72781"/>
                  <a:pt x="703719" y="72781"/>
                </a:cubicBezTo>
                <a:cubicBezTo>
                  <a:pt x="727729" y="72781"/>
                  <a:pt x="750594" y="79712"/>
                  <a:pt x="768887" y="93575"/>
                </a:cubicBezTo>
                <a:cubicBezTo>
                  <a:pt x="768887" y="93575"/>
                  <a:pt x="768887" y="93575"/>
                  <a:pt x="768887" y="0"/>
                </a:cubicBezTo>
                <a:close/>
                <a:moveTo>
                  <a:pt x="514071" y="0"/>
                </a:moveTo>
                <a:lnTo>
                  <a:pt x="568893" y="0"/>
                </a:lnTo>
                <a:lnTo>
                  <a:pt x="568893" y="55303"/>
                </a:lnTo>
                <a:lnTo>
                  <a:pt x="514071" y="55303"/>
                </a:lnTo>
                <a:close/>
                <a:moveTo>
                  <a:pt x="432857" y="0"/>
                </a:moveTo>
                <a:cubicBezTo>
                  <a:pt x="432857" y="0"/>
                  <a:pt x="432857" y="0"/>
                  <a:pt x="487622" y="0"/>
                </a:cubicBezTo>
                <a:cubicBezTo>
                  <a:pt x="487622" y="0"/>
                  <a:pt x="487622" y="0"/>
                  <a:pt x="487622" y="296898"/>
                </a:cubicBezTo>
                <a:cubicBezTo>
                  <a:pt x="487622" y="296898"/>
                  <a:pt x="487622" y="296898"/>
                  <a:pt x="432857" y="296898"/>
                </a:cubicBezTo>
                <a:cubicBezTo>
                  <a:pt x="432857" y="296898"/>
                  <a:pt x="432857" y="296898"/>
                  <a:pt x="432857" y="281880"/>
                </a:cubicBezTo>
                <a:cubicBezTo>
                  <a:pt x="414602" y="294588"/>
                  <a:pt x="391784" y="301519"/>
                  <a:pt x="367824" y="301519"/>
                </a:cubicBezTo>
                <a:cubicBezTo>
                  <a:pt x="305072" y="301519"/>
                  <a:pt x="254871" y="250688"/>
                  <a:pt x="254871" y="187150"/>
                </a:cubicBezTo>
                <a:cubicBezTo>
                  <a:pt x="254871" y="123611"/>
                  <a:pt x="305072" y="72781"/>
                  <a:pt x="367824" y="72781"/>
                </a:cubicBezTo>
                <a:cubicBezTo>
                  <a:pt x="391784" y="72781"/>
                  <a:pt x="414602" y="79712"/>
                  <a:pt x="432857" y="93575"/>
                </a:cubicBezTo>
                <a:cubicBezTo>
                  <a:pt x="432857" y="93575"/>
                  <a:pt x="432857" y="93575"/>
                  <a:pt x="432857" y="0"/>
                </a:cubicBezTo>
                <a:close/>
              </a:path>
            </a:pathLst>
          </a:custGeom>
          <a:solidFill>
            <a:schemeClr val="tx1"/>
          </a:solidFill>
        </p:spPr>
        <p:txBody>
          <a:bodyPr vert="horz" wrap="square" lIns="0" tIns="0" rIns="0" bIns="0" rtlCol="0">
            <a:noAutofit/>
          </a:bodyPr>
          <a:lstStyle>
            <a:lvl1pPr marL="0" indent="0" algn="l" rtl="0" eaLnBrk="1" fontAlgn="base" hangingPunct="1">
              <a:lnSpc>
                <a:spcPct val="100000"/>
              </a:lnSpc>
              <a:spcBef>
                <a:spcPts val="0"/>
              </a:spcBef>
              <a:spcAft>
                <a:spcPts val="0"/>
              </a:spcAft>
              <a:buSzPct val="90000"/>
              <a:buFont typeface="Arial" panose="020B0604020202020204" pitchFamily="34" charset="0"/>
              <a:buNone/>
              <a:defRPr sz="500" b="0" kern="1200" cap="none" baseline="0">
                <a:solidFill>
                  <a:schemeClr val="tx1">
                    <a:alpha val="0"/>
                  </a:schemeClr>
                </a:solidFill>
                <a:latin typeface="+mn-lt"/>
                <a:ea typeface="+mn-ea"/>
                <a:cs typeface="AdihausDIN" panose="020B0504020101020102" pitchFamily="34" charset="0"/>
              </a:defRPr>
            </a:lvl1pPr>
            <a:lvl2pPr marL="0" indent="0" algn="l" rtl="0" eaLnBrk="1" fontAlgn="base" hangingPunct="1">
              <a:lnSpc>
                <a:spcPct val="100000"/>
              </a:lnSpc>
              <a:spcBef>
                <a:spcPts val="0"/>
              </a:spcBef>
              <a:spcAft>
                <a:spcPts val="0"/>
              </a:spcAft>
              <a:buSzPct val="90000"/>
              <a:buFont typeface="Arial" panose="020B0604020202020204" pitchFamily="34" charset="0"/>
              <a:buNone/>
              <a:defRPr sz="500" b="0" kern="1200" cap="none" baseline="0">
                <a:solidFill>
                  <a:schemeClr val="tx1">
                    <a:alpha val="0"/>
                  </a:schemeClr>
                </a:solidFill>
                <a:latin typeface="+mn-lt"/>
                <a:ea typeface="+mn-ea"/>
                <a:cs typeface="AdihausDIN" panose="020B0504020101020102" pitchFamily="34" charset="0"/>
              </a:defRPr>
            </a:lvl2pPr>
            <a:lvl3pPr marL="0" indent="0" algn="l" rtl="0" eaLnBrk="1" fontAlgn="base" hangingPunct="1">
              <a:lnSpc>
                <a:spcPct val="100000"/>
              </a:lnSpc>
              <a:spcBef>
                <a:spcPts val="0"/>
              </a:spcBef>
              <a:spcAft>
                <a:spcPts val="0"/>
              </a:spcAft>
              <a:buSzPct val="90000"/>
              <a:buFont typeface="Arial" panose="020B0604020202020204" pitchFamily="34" charset="0"/>
              <a:buNone/>
              <a:defRPr sz="500" b="0" kern="1200" cap="none" baseline="0">
                <a:solidFill>
                  <a:schemeClr val="tx1">
                    <a:alpha val="0"/>
                  </a:schemeClr>
                </a:solidFill>
                <a:latin typeface="+mn-lt"/>
                <a:ea typeface="+mn-ea"/>
                <a:cs typeface="AdihausDIN" panose="020B0504020101020102" pitchFamily="34" charset="0"/>
              </a:defRPr>
            </a:lvl3pPr>
            <a:lvl4pPr marL="0" indent="0" algn="l" rtl="0" eaLnBrk="1" fontAlgn="base" hangingPunct="1">
              <a:lnSpc>
                <a:spcPct val="100000"/>
              </a:lnSpc>
              <a:spcBef>
                <a:spcPts val="0"/>
              </a:spcBef>
              <a:spcAft>
                <a:spcPts val="0"/>
              </a:spcAft>
              <a:buSzPct val="90000"/>
              <a:buFont typeface="Arial" panose="020B0604020202020204" pitchFamily="34" charset="0"/>
              <a:buNone/>
              <a:defRPr sz="500" b="0" kern="1200" cap="none" baseline="0">
                <a:solidFill>
                  <a:schemeClr val="tx1">
                    <a:alpha val="0"/>
                  </a:schemeClr>
                </a:solidFill>
                <a:latin typeface="+mn-lt"/>
                <a:ea typeface="+mn-ea"/>
                <a:cs typeface="AdihausDIN" panose="020B0504020101020102" pitchFamily="34" charset="0"/>
              </a:defRPr>
            </a:lvl4pPr>
            <a:lvl5pPr marL="0" indent="0" algn="l" rtl="0" eaLnBrk="1" fontAlgn="base" hangingPunct="1">
              <a:lnSpc>
                <a:spcPct val="100000"/>
              </a:lnSpc>
              <a:spcBef>
                <a:spcPts val="0"/>
              </a:spcBef>
              <a:spcAft>
                <a:spcPts val="0"/>
              </a:spcAft>
              <a:buSzPct val="90000"/>
              <a:buFont typeface="Arial" panose="020B0604020202020204" pitchFamily="34" charset="0"/>
              <a:buNone/>
              <a:tabLst>
                <a:tab pos="990230" algn="l"/>
              </a:tabLst>
              <a:defRPr sz="500" b="0" kern="1200" cap="none" baseline="0">
                <a:solidFill>
                  <a:schemeClr val="tx1">
                    <a:alpha val="0"/>
                  </a:schemeClr>
                </a:solidFill>
                <a:latin typeface="+mn-lt"/>
                <a:ea typeface="+mn-ea"/>
                <a:cs typeface="AdihausDIN" panose="020B0504020101020102" pitchFamily="34" charset="0"/>
              </a:defRPr>
            </a:lvl5pPr>
            <a:lvl6pPr marL="0" indent="0" algn="l" defTabSz="921477" rtl="0" eaLnBrk="1" latinLnBrk="0" hangingPunct="1">
              <a:lnSpc>
                <a:spcPct val="100000"/>
              </a:lnSpc>
              <a:spcBef>
                <a:spcPts val="0"/>
              </a:spcBef>
              <a:spcAft>
                <a:spcPts val="0"/>
              </a:spcAft>
              <a:buClrTx/>
              <a:buSzPct val="90000"/>
              <a:buFont typeface="Arial" panose="020B0604020202020204" pitchFamily="34" charset="0"/>
              <a:buNone/>
              <a:tabLst>
                <a:tab pos="990269" algn="l"/>
              </a:tabLst>
              <a:defRPr lang="en-US" sz="500" b="0" i="0" kern="1200" cap="none" spc="20" baseline="0" noProof="0">
                <a:solidFill>
                  <a:schemeClr val="tx1">
                    <a:alpha val="0"/>
                  </a:schemeClr>
                </a:solidFill>
                <a:latin typeface="+mn-lt"/>
                <a:ea typeface="+mn-ea"/>
                <a:cs typeface="AdihausDIN" panose="020B0504020101020102" pitchFamily="34" charset="0"/>
              </a:defRPr>
            </a:lvl6pPr>
            <a:lvl7pPr marL="0" indent="0" algn="l" defTabSz="921477" rtl="0" eaLnBrk="1" latinLnBrk="0" hangingPunct="1">
              <a:lnSpc>
                <a:spcPct val="100000"/>
              </a:lnSpc>
              <a:spcBef>
                <a:spcPts val="0"/>
              </a:spcBef>
              <a:spcAft>
                <a:spcPts val="0"/>
              </a:spcAft>
              <a:buClrTx/>
              <a:buSzPct val="90000"/>
              <a:buFont typeface="Arial" panose="020B0604020202020204" pitchFamily="34" charset="0"/>
              <a:buNone/>
              <a:tabLst>
                <a:tab pos="990269" algn="l"/>
              </a:tabLst>
              <a:defRPr sz="500" b="0" i="0" kern="1200" cap="none" baseline="0">
                <a:solidFill>
                  <a:schemeClr val="tx1">
                    <a:alpha val="0"/>
                  </a:schemeClr>
                </a:solidFill>
                <a:latin typeface="+mn-lt"/>
                <a:ea typeface="+mn-ea"/>
                <a:cs typeface="AdihausDIN" panose="020B0504020101020102" pitchFamily="34" charset="0"/>
              </a:defRPr>
            </a:lvl7pPr>
            <a:lvl8pPr marL="0" indent="0" algn="l" defTabSz="921477" rtl="0" eaLnBrk="1" latinLnBrk="0" hangingPunct="1">
              <a:lnSpc>
                <a:spcPct val="100000"/>
              </a:lnSpc>
              <a:spcBef>
                <a:spcPts val="0"/>
              </a:spcBef>
              <a:spcAft>
                <a:spcPts val="0"/>
              </a:spcAft>
              <a:buClrTx/>
              <a:buSzPct val="90000"/>
              <a:buFont typeface="Arial" panose="020B0604020202020204" pitchFamily="34" charset="0"/>
              <a:buNone/>
              <a:tabLst>
                <a:tab pos="990269" algn="l"/>
              </a:tabLst>
              <a:defRPr sz="500" b="0" kern="1200" cap="none" baseline="0">
                <a:solidFill>
                  <a:schemeClr val="tx1">
                    <a:alpha val="0"/>
                  </a:schemeClr>
                </a:solidFill>
                <a:latin typeface="+mn-lt"/>
                <a:ea typeface="+mn-ea"/>
                <a:cs typeface="AdihausDIN" panose="020B0504020101020102" pitchFamily="34" charset="0"/>
              </a:defRPr>
            </a:lvl8pPr>
            <a:lvl9pPr marL="0" indent="0" algn="l" defTabSz="921477" rtl="0" eaLnBrk="1" latinLnBrk="0" hangingPunct="1">
              <a:lnSpc>
                <a:spcPct val="100000"/>
              </a:lnSpc>
              <a:spcBef>
                <a:spcPts val="0"/>
              </a:spcBef>
              <a:spcAft>
                <a:spcPts val="0"/>
              </a:spcAft>
              <a:buClrTx/>
              <a:buSzPct val="90000"/>
              <a:buFont typeface="Arial" panose="020B0604020202020204" pitchFamily="34" charset="0"/>
              <a:buNone/>
              <a:tabLst>
                <a:tab pos="990269" algn="l"/>
              </a:tabLst>
              <a:defRPr sz="500" b="0" kern="1200" cap="none" baseline="0">
                <a:solidFill>
                  <a:schemeClr val="tx1">
                    <a:alpha val="0"/>
                  </a:schemeClr>
                </a:solidFill>
                <a:latin typeface="+mn-lt"/>
                <a:ea typeface="+mn-ea"/>
                <a:cs typeface="AdihausDIN" panose="020B0504020101020102" pitchFamily="34" charset="0"/>
              </a:defRPr>
            </a:lvl9pPr>
          </a:lstStyle>
          <a:p>
            <a:pPr defTabSz="1209477"/>
            <a:endParaRPr lang="en-US" sz="661"/>
          </a:p>
        </p:txBody>
      </p:sp>
    </p:spTree>
    <p:extLst>
      <p:ext uri="{BB962C8B-B14F-4D97-AF65-F5344CB8AC3E}">
        <p14:creationId xmlns:p14="http://schemas.microsoft.com/office/powerpoint/2010/main" val="3161542369"/>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Lst>
  <p:transition>
    <p:fade/>
  </p:transition>
  <p:hf sldNum="0" hdr="0" ftr="0" dt="0"/>
  <p:txStyles>
    <p:titleStyle>
      <a:lvl1pPr algn="l" rtl="0" eaLnBrk="1" fontAlgn="base" hangingPunct="1">
        <a:lnSpc>
          <a:spcPct val="75000"/>
        </a:lnSpc>
        <a:spcBef>
          <a:spcPct val="0"/>
        </a:spcBef>
        <a:spcAft>
          <a:spcPct val="0"/>
        </a:spcAft>
        <a:defRPr sz="3704" b="1" i="0" kern="1200" cap="all" spc="26" baseline="0">
          <a:solidFill>
            <a:schemeClr val="tx1"/>
          </a:solidFill>
          <a:latin typeface="+mj-lt"/>
          <a:ea typeface="+mj-ea"/>
          <a:cs typeface="+mj-cs"/>
        </a:defRPr>
      </a:lvl1pPr>
      <a:lvl2pPr algn="l" rtl="0" eaLnBrk="1" fontAlgn="base" hangingPunct="1">
        <a:lnSpc>
          <a:spcPct val="75000"/>
        </a:lnSpc>
        <a:spcBef>
          <a:spcPct val="0"/>
        </a:spcBef>
        <a:spcAft>
          <a:spcPct val="0"/>
        </a:spcAft>
        <a:defRPr sz="3704" b="1" kern="1200" cap="all" spc="26" baseline="0">
          <a:solidFill>
            <a:schemeClr val="tx1"/>
          </a:solidFill>
          <a:latin typeface="+mj-lt"/>
        </a:defRPr>
      </a:lvl2pPr>
      <a:lvl3pPr algn="l" rtl="0" eaLnBrk="1" fontAlgn="base" hangingPunct="1">
        <a:lnSpc>
          <a:spcPct val="75000"/>
        </a:lnSpc>
        <a:spcBef>
          <a:spcPct val="0"/>
        </a:spcBef>
        <a:spcAft>
          <a:spcPct val="0"/>
        </a:spcAft>
        <a:defRPr sz="3704" b="1" kern="1200" cap="all" spc="26" baseline="0">
          <a:solidFill>
            <a:schemeClr val="tx1"/>
          </a:solidFill>
          <a:latin typeface="+mj-lt"/>
        </a:defRPr>
      </a:lvl3pPr>
      <a:lvl4pPr algn="l" rtl="0" eaLnBrk="1" fontAlgn="base" hangingPunct="1">
        <a:lnSpc>
          <a:spcPct val="75000"/>
        </a:lnSpc>
        <a:spcBef>
          <a:spcPct val="0"/>
        </a:spcBef>
        <a:spcAft>
          <a:spcPct val="0"/>
        </a:spcAft>
        <a:defRPr sz="3704" b="1" kern="1200" cap="all" spc="26" baseline="0">
          <a:solidFill>
            <a:schemeClr val="tx1"/>
          </a:solidFill>
          <a:latin typeface="+mj-lt"/>
        </a:defRPr>
      </a:lvl4pPr>
      <a:lvl5pPr algn="l" rtl="0" eaLnBrk="1" fontAlgn="base" hangingPunct="1">
        <a:lnSpc>
          <a:spcPct val="75000"/>
        </a:lnSpc>
        <a:spcBef>
          <a:spcPct val="0"/>
        </a:spcBef>
        <a:spcAft>
          <a:spcPct val="0"/>
        </a:spcAft>
        <a:defRPr sz="3704" b="1" kern="1200" cap="all" spc="26" baseline="0">
          <a:solidFill>
            <a:schemeClr val="tx1"/>
          </a:solidFill>
          <a:latin typeface="+mj-lt"/>
        </a:defRPr>
      </a:lvl5pPr>
      <a:lvl6pPr algn="l" rtl="0" eaLnBrk="1" hangingPunct="1">
        <a:lnSpc>
          <a:spcPct val="75000"/>
        </a:lnSpc>
        <a:defRPr sz="3704" b="1" kern="1200" cap="all" spc="26" baseline="0">
          <a:latin typeface="+mj-lt"/>
        </a:defRPr>
      </a:lvl6pPr>
      <a:lvl7pPr algn="l" rtl="0" eaLnBrk="1" hangingPunct="1">
        <a:lnSpc>
          <a:spcPct val="75000"/>
        </a:lnSpc>
        <a:defRPr sz="3704" b="1" kern="1200" cap="all" spc="26" baseline="0">
          <a:latin typeface="+mj-lt"/>
        </a:defRPr>
      </a:lvl7pPr>
      <a:lvl8pPr algn="l" rtl="0" eaLnBrk="1" hangingPunct="1">
        <a:lnSpc>
          <a:spcPct val="75000"/>
        </a:lnSpc>
        <a:defRPr sz="3704" b="1" kern="1200" cap="all" spc="26" baseline="0">
          <a:latin typeface="+mj-lt"/>
        </a:defRPr>
      </a:lvl8pPr>
      <a:lvl9pPr algn="l" eaLnBrk="1" hangingPunct="1">
        <a:lnSpc>
          <a:spcPct val="75000"/>
        </a:lnSpc>
        <a:defRPr sz="3704" b="1" kern="1200" cap="all" spc="26"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mj-lt"/>
        <a:buAutoNum type="alphaLcPeriod"/>
        <a:tabLst>
          <a:tab pos="1309777"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8838" rtl="0" eaLnBrk="1" latinLnBrk="0" hangingPunct="1">
        <a:lnSpc>
          <a:spcPct val="75000"/>
        </a:lnSpc>
        <a:spcBef>
          <a:spcPts val="1587"/>
        </a:spcBef>
        <a:spcAft>
          <a:spcPts val="794"/>
        </a:spcAft>
        <a:buClrTx/>
        <a:buSzPct val="90000"/>
        <a:buFont typeface="Wingdings" pitchFamily="2" charset="2"/>
        <a:buNone/>
        <a:tabLst>
          <a:tab pos="1309829" algn="l"/>
        </a:tabLst>
        <a:defRPr lang="en-US" sz="2381" b="1" i="0" kern="1200" cap="all" spc="26" baseline="0" noProof="0" dirty="0">
          <a:solidFill>
            <a:schemeClr val="tx1"/>
          </a:solidFill>
          <a:latin typeface="+mj-lt"/>
          <a:ea typeface="+mn-ea"/>
          <a:cs typeface="AdihausDIN" panose="020B0504020101020102" pitchFamily="34" charset="0"/>
        </a:defRPr>
      </a:lvl6pPr>
      <a:lvl7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i="0" kern="1200" cap="none" baseline="0">
          <a:solidFill>
            <a:schemeClr val="tx2"/>
          </a:solidFill>
          <a:latin typeface="+mn-lt"/>
          <a:ea typeface="+mn-ea"/>
          <a:cs typeface="AdihausDIN" panose="020B0504020101020102" pitchFamily="34" charset="0"/>
        </a:defRPr>
      </a:lvl7pPr>
      <a:lvl8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2">
          <p15:clr>
            <a:srgbClr val="F26B43"/>
          </p15:clr>
        </p15:guide>
        <p15:guide id="2" orient="horz" pos="1633">
          <p15:clr>
            <a:srgbClr val="F26B43"/>
          </p15:clr>
        </p15:guide>
        <p15:guide id="3" pos="2721">
          <p15:clr>
            <a:srgbClr val="F26B43"/>
          </p15:clr>
        </p15:guide>
        <p15:guide id="4" pos="2540">
          <p15:clr>
            <a:srgbClr val="F26B43"/>
          </p15:clr>
        </p15:guide>
        <p15:guide id="5" pos="2358">
          <p15:clr>
            <a:srgbClr val="F26B43"/>
          </p15:clr>
        </p15:guide>
        <p15:guide id="6" pos="2177">
          <p15:clr>
            <a:srgbClr val="F26B43"/>
          </p15:clr>
        </p15:guide>
        <p15:guide id="7" pos="1995">
          <p15:clr>
            <a:srgbClr val="F26B43"/>
          </p15:clr>
        </p15:guide>
        <p15:guide id="8" pos="1814">
          <p15:clr>
            <a:srgbClr val="F26B43"/>
          </p15:clr>
        </p15:guide>
        <p15:guide id="9" pos="1632">
          <p15:clr>
            <a:srgbClr val="F26B43"/>
          </p15:clr>
        </p15:guide>
        <p15:guide id="10" pos="1451">
          <p15:clr>
            <a:srgbClr val="F26B43"/>
          </p15:clr>
        </p15:guide>
        <p15:guide id="11" pos="1270">
          <p15:clr>
            <a:srgbClr val="F26B43"/>
          </p15:clr>
        </p15:guide>
        <p15:guide id="12" pos="1088">
          <p15:clr>
            <a:srgbClr val="F26B43"/>
          </p15:clr>
        </p15:guide>
        <p15:guide id="13" pos="907">
          <p15:clr>
            <a:srgbClr val="F26B43"/>
          </p15:clr>
        </p15:guide>
        <p15:guide id="14" pos="725">
          <p15:clr>
            <a:srgbClr val="F26B43"/>
          </p15:clr>
        </p15:guide>
        <p15:guide id="15" pos="544">
          <p15:clr>
            <a:srgbClr val="F26B43"/>
          </p15:clr>
        </p15:guide>
        <p15:guide id="16" pos="362">
          <p15:clr>
            <a:srgbClr val="F26B43"/>
          </p15:clr>
        </p15:guide>
        <p15:guide id="17" pos="181">
          <p15:clr>
            <a:srgbClr val="F26B43"/>
          </p15:clr>
        </p15:guide>
        <p15:guide id="18" pos="3084">
          <p15:clr>
            <a:srgbClr val="F26B43"/>
          </p15:clr>
        </p15:guide>
        <p15:guide id="19" pos="3265">
          <p15:clr>
            <a:srgbClr val="F26B43"/>
          </p15:clr>
        </p15:guide>
        <p15:guide id="20" pos="3447">
          <p15:clr>
            <a:srgbClr val="F26B43"/>
          </p15:clr>
        </p15:guide>
        <p15:guide id="21" pos="3810">
          <p15:clr>
            <a:srgbClr val="F26B43"/>
          </p15:clr>
        </p15:guide>
        <p15:guide id="22" pos="3628">
          <p15:clr>
            <a:srgbClr val="F26B43"/>
          </p15:clr>
        </p15:guide>
        <p15:guide id="23" pos="3991">
          <p15:clr>
            <a:srgbClr val="F26B43"/>
          </p15:clr>
        </p15:guide>
        <p15:guide id="24" pos="4173">
          <p15:clr>
            <a:srgbClr val="F26B43"/>
          </p15:clr>
        </p15:guide>
        <p15:guide id="25" pos="4354">
          <p15:clr>
            <a:srgbClr val="F26B43"/>
          </p15:clr>
        </p15:guide>
        <p15:guide id="26" pos="4535">
          <p15:clr>
            <a:srgbClr val="F26B43"/>
          </p15:clr>
        </p15:guide>
        <p15:guide id="27" pos="4717">
          <p15:clr>
            <a:srgbClr val="F26B43"/>
          </p15:clr>
        </p15:guide>
        <p15:guide id="28" pos="4898">
          <p15:clr>
            <a:srgbClr val="F26B43"/>
          </p15:clr>
        </p15:guide>
        <p15:guide id="29" pos="5080">
          <p15:clr>
            <a:srgbClr val="F26B43"/>
          </p15:clr>
        </p15:guide>
        <p15:guide id="30" pos="5261">
          <p15:clr>
            <a:srgbClr val="F26B43"/>
          </p15:clr>
        </p15:guide>
        <p15:guide id="31" pos="5443">
          <p15:clr>
            <a:srgbClr val="F26B43"/>
          </p15:clr>
        </p15:guide>
        <p15:guide id="32" pos="5624">
          <p15:clr>
            <a:srgbClr val="F26B43"/>
          </p15:clr>
        </p15:guide>
        <p15:guide id="33" orient="horz" pos="1452">
          <p15:clr>
            <a:srgbClr val="F26B43"/>
          </p15:clr>
        </p15:guide>
        <p15:guide id="34" orient="horz" pos="1270">
          <p15:clr>
            <a:srgbClr val="F26B43"/>
          </p15:clr>
        </p15:guide>
        <p15:guide id="35" orient="horz" pos="1089">
          <p15:clr>
            <a:srgbClr val="F26B43"/>
          </p15:clr>
        </p15:guide>
        <p15:guide id="36" orient="horz" pos="907">
          <p15:clr>
            <a:srgbClr val="F26B43"/>
          </p15:clr>
        </p15:guide>
        <p15:guide id="37" orient="horz" pos="726">
          <p15:clr>
            <a:srgbClr val="F26B43"/>
          </p15:clr>
        </p15:guide>
        <p15:guide id="38" orient="horz" pos="544">
          <p15:clr>
            <a:srgbClr val="F26B43"/>
          </p15:clr>
        </p15:guide>
        <p15:guide id="39" orient="horz" pos="363">
          <p15:clr>
            <a:srgbClr val="F26B43"/>
          </p15:clr>
        </p15:guide>
        <p15:guide id="40" orient="horz" pos="182">
          <p15:clr>
            <a:srgbClr val="F26B43"/>
          </p15:clr>
        </p15:guide>
        <p15:guide id="41" orient="horz" pos="1814">
          <p15:clr>
            <a:srgbClr val="F26B43"/>
          </p15:clr>
        </p15:guide>
        <p15:guide id="42" orient="horz" pos="1996">
          <p15:clr>
            <a:srgbClr val="F26B43"/>
          </p15:clr>
        </p15:guide>
        <p15:guide id="43" orient="horz" pos="2177">
          <p15:clr>
            <a:srgbClr val="F26B43"/>
          </p15:clr>
        </p15:guide>
        <p15:guide id="44" orient="horz" pos="2359">
          <p15:clr>
            <a:srgbClr val="F26B43"/>
          </p15:clr>
        </p15:guide>
        <p15:guide id="45" orient="horz" pos="2540">
          <p15:clr>
            <a:srgbClr val="F26B43"/>
          </p15:clr>
        </p15:guide>
        <p15:guide id="46" orient="horz" pos="2722">
          <p15:clr>
            <a:srgbClr val="F26B43"/>
          </p15:clr>
        </p15:guide>
        <p15:guide id="47" orient="horz" pos="2903">
          <p15:clr>
            <a:srgbClr val="F26B43"/>
          </p15:clr>
        </p15:guide>
        <p15:guide id="48" orient="horz" pos="308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80672" y="381455"/>
            <a:ext cx="10286541" cy="380943"/>
          </a:xfrm>
          <a:prstGeom prst="rect">
            <a:avLst/>
          </a:prstGeom>
        </p:spPr>
        <p:txBody>
          <a:bodyPr vert="horz" lIns="0" tIns="0" rIns="0" bIns="0" rtlCol="0" anchor="t" anchorCtr="0">
            <a:noAutofit/>
          </a:bodyPr>
          <a:lstStyle/>
          <a:p>
            <a:pPr lvl="0"/>
            <a:endParaRPr lang="en-US" noProof="0"/>
          </a:p>
        </p:txBody>
      </p:sp>
      <p:sp>
        <p:nvSpPr>
          <p:cNvPr id="3" name="Text Placeholder 2"/>
          <p:cNvSpPr>
            <a:spLocks noGrp="1"/>
          </p:cNvSpPr>
          <p:nvPr>
            <p:ph type="body" idx="1"/>
          </p:nvPr>
        </p:nvSpPr>
        <p:spPr bwMode="gray">
          <a:xfrm>
            <a:off x="380671" y="1524282"/>
            <a:ext cx="8001488" cy="4571319"/>
          </a:xfrm>
          <a:prstGeom prst="rect">
            <a:avLst/>
          </a:prstGeom>
        </p:spPr>
        <p:txBody>
          <a:bodyPr vert="horz" lIns="0" tIns="0" rIns="0" bIns="0" rtlCol="0">
            <a:noAutofit/>
          </a:bodyPr>
          <a:lstStyle/>
          <a:p>
            <a:pPr lvl="0"/>
            <a:r>
              <a:rPr lang="en-US" noProof="0"/>
              <a:t>Click to edit Master text styles </a:t>
            </a:r>
            <a:endParaRPr lang="en-US"/>
          </a:p>
          <a:p>
            <a:pPr lvl="1"/>
            <a:r>
              <a:rPr lang="en-US" noProof="0"/>
              <a:t>Second level </a:t>
            </a:r>
            <a:endParaRPr lang="en-US"/>
          </a:p>
          <a:p>
            <a:pPr lvl="2"/>
            <a:r>
              <a:rPr lang="en-US" noProof="0"/>
              <a:t>Third level </a:t>
            </a:r>
            <a:endParaRPr lang="en-US"/>
          </a:p>
          <a:p>
            <a:pPr lvl="3"/>
            <a:r>
              <a:rPr lang="en-US" noProof="0"/>
              <a:t>Fourth level </a:t>
            </a:r>
            <a:endParaRPr lang="en-US"/>
          </a:p>
          <a:p>
            <a:pPr lvl="4"/>
            <a:r>
              <a:rPr lang="en-US" noProof="0"/>
              <a:t>Fifth level </a:t>
            </a:r>
            <a:endParaRPr lang="en-US"/>
          </a:p>
          <a:p>
            <a:pPr marL="0" lvl="5" indent="0" algn="l" defTabSz="1218838" rtl="0" eaLnBrk="1" latinLnBrk="0" hangingPunct="1">
              <a:lnSpc>
                <a:spcPct val="75000"/>
              </a:lnSpc>
              <a:spcBef>
                <a:spcPts val="1587"/>
              </a:spcBef>
              <a:spcAft>
                <a:spcPts val="794"/>
              </a:spcAft>
              <a:buClrTx/>
              <a:buSzPct val="90000"/>
              <a:buFont typeface="Wingdings" pitchFamily="2" charset="2"/>
              <a:buNone/>
              <a:tabLst>
                <a:tab pos="1309829" algn="l"/>
              </a:tabLst>
            </a:pPr>
            <a:r>
              <a:rPr lang="en-US" noProof="0"/>
              <a:t>SIXTH LEVEL</a:t>
            </a:r>
            <a:endParaRPr lang="en-US"/>
          </a:p>
          <a:p>
            <a:pPr lvl="6"/>
            <a:r>
              <a:rPr lang="en-US" noProof="0"/>
              <a:t>Seventh Level</a:t>
            </a:r>
            <a:endParaRPr lang="en-US"/>
          </a:p>
          <a:p>
            <a:pPr lvl="7"/>
            <a:r>
              <a:rPr lang="en-US" noProof="0" err="1"/>
              <a:t>Eighth</a:t>
            </a:r>
            <a:r>
              <a:rPr lang="en-US" noProof="0"/>
              <a:t> Level</a:t>
            </a:r>
            <a:endParaRPr lang="en-US"/>
          </a:p>
          <a:p>
            <a:pPr lvl="8"/>
            <a:r>
              <a:rPr lang="en-US" noProof="0" err="1"/>
              <a:t>Ninth</a:t>
            </a:r>
            <a:r>
              <a:rPr lang="en-US" noProof="0"/>
              <a:t> Level</a:t>
            </a:r>
            <a:endParaRPr lang="en-US"/>
          </a:p>
        </p:txBody>
      </p:sp>
      <p:sp>
        <p:nvSpPr>
          <p:cNvPr id="6" name="Slide Number Placeholder 5"/>
          <p:cNvSpPr>
            <a:spLocks noGrp="1"/>
          </p:cNvSpPr>
          <p:nvPr>
            <p:ph type="sldNum" sz="quarter" idx="4"/>
          </p:nvPr>
        </p:nvSpPr>
        <p:spPr bwMode="gray">
          <a:xfrm>
            <a:off x="11429607" y="6476936"/>
            <a:ext cx="381742" cy="381063"/>
          </a:xfrm>
          <a:prstGeom prst="rect">
            <a:avLst/>
          </a:prstGeom>
        </p:spPr>
        <p:txBody>
          <a:bodyPr vert="horz" wrap="none" lIns="0" tIns="0" rIns="0" bIns="0" rtlCol="0" anchor="ctr" anchorCtr="0"/>
          <a:lstStyle>
            <a:lvl1pPr algn="r" defTabSz="1218764" fontAlgn="auto">
              <a:lnSpc>
                <a:spcPct val="80000"/>
              </a:lnSpc>
              <a:spcBef>
                <a:spcPts val="0"/>
              </a:spcBef>
              <a:spcAft>
                <a:spcPts val="0"/>
              </a:spcAft>
              <a:buClrTx/>
              <a:defRPr sz="794" b="0" i="0" cap="all" spc="40" baseline="0">
                <a:solidFill>
                  <a:schemeClr val="tx1"/>
                </a:solidFill>
                <a:latin typeface="+mj-lt"/>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a:p>
        </p:txBody>
      </p:sp>
      <p:pic>
        <p:nvPicPr>
          <p:cNvPr id="1766923257" name="image" descr="{&quot;templafy&quot;:{&quot;id&quot;:&quot;606825ea-cd56-4a48-86ee-6fc20f51b15d&quot;}}"/>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314344" y="6476033"/>
            <a:ext cx="476279" cy="303023"/>
          </a:xfrm>
          <a:prstGeom prst="rect">
            <a:avLst/>
          </a:prstGeom>
        </p:spPr>
      </p:pic>
      <p:sp>
        <p:nvSpPr>
          <p:cNvPr id="8" name="Footer Placeholder 1">
            <a:extLst>
              <a:ext uri="{FF2B5EF4-FFF2-40B4-BE49-F238E27FC236}">
                <a16:creationId xmlns:a16="http://schemas.microsoft.com/office/drawing/2014/main" id="{1E8CBCB4-873D-4F55-8E7E-03C1A4A21528}"/>
              </a:ext>
            </a:extLst>
          </p:cNvPr>
          <p:cNvSpPr>
            <a:spLocks noGrp="1"/>
          </p:cNvSpPr>
          <p:nvPr>
            <p:ph type="ftr" sz="quarter" idx="3"/>
          </p:nvPr>
        </p:nvSpPr>
        <p:spPr>
          <a:xfrm>
            <a:off x="1142717" y="6477934"/>
            <a:ext cx="8764203" cy="379993"/>
          </a:xfrm>
          <a:prstGeom prst="rect">
            <a:avLst/>
          </a:prstGeom>
          <a:noFill/>
        </p:spPr>
        <p:txBody>
          <a:bodyPr vert="horz" wrap="none" lIns="0" tIns="0" rIns="0" bIns="0" rtlCol="0" anchor="ctr" anchorCtr="0">
            <a:noAutofit/>
          </a:bodyPr>
          <a:lstStyle>
            <a:lvl1pPr>
              <a:defRPr lang="en-US" sz="794" b="0" i="0" cap="all" spc="40" baseline="0" smtClean="0">
                <a:latin typeface="+mj-lt"/>
                <a:ea typeface="AdihausDIN" panose="020B0504020101020102" pitchFamily="34" charset="0"/>
                <a:cs typeface="AdihausDIN" panose="020B0504020101020102" pitchFamily="34" charset="0"/>
              </a:defRPr>
            </a:lvl1pPr>
          </a:lstStyle>
          <a:p>
            <a:pPr defTabSz="1218764">
              <a:lnSpc>
                <a:spcPct val="80000"/>
              </a:lnSpc>
            </a:pPr>
            <a:r>
              <a:rPr lang="en-GB"/>
              <a:t>FOOTER / PRESENTATION NAME</a:t>
            </a:r>
          </a:p>
        </p:txBody>
      </p:sp>
      <p:sp>
        <p:nvSpPr>
          <p:cNvPr id="9" name="Date Placeholder 7">
            <a:extLst>
              <a:ext uri="{FF2B5EF4-FFF2-40B4-BE49-F238E27FC236}">
                <a16:creationId xmlns:a16="http://schemas.microsoft.com/office/drawing/2014/main" id="{C5FB049E-2704-434F-8B64-8A45DB400C31}"/>
              </a:ext>
            </a:extLst>
          </p:cNvPr>
          <p:cNvSpPr>
            <a:spLocks noGrp="1"/>
          </p:cNvSpPr>
          <p:nvPr>
            <p:ph type="dt" sz="half" idx="2"/>
          </p:nvPr>
        </p:nvSpPr>
        <p:spPr>
          <a:xfrm>
            <a:off x="10669311" y="6476883"/>
            <a:ext cx="762396" cy="381118"/>
          </a:xfrm>
          <a:prstGeom prst="rect">
            <a:avLst/>
          </a:prstGeom>
        </p:spPr>
        <p:txBody>
          <a:bodyPr vert="horz" lIns="0" tIns="0" rIns="0" bIns="0" rtlCol="0" anchor="ctr"/>
          <a:lstStyle>
            <a:lvl1pPr algn="r">
              <a:lnSpc>
                <a:spcPct val="80000"/>
              </a:lnSpc>
              <a:defRPr lang="en-US" sz="794" b="0" i="0" kern="1200" cap="all" spc="40" baseline="0" smtClean="0">
                <a:solidFill>
                  <a:schemeClr val="tx1"/>
                </a:solidFill>
                <a:latin typeface="+mj-lt"/>
                <a:ea typeface="AdihausDIN" panose="020B0504020101020102" pitchFamily="34" charset="0"/>
                <a:cs typeface="AdihausDIN" panose="020B0504020101020102" pitchFamily="34" charset="0"/>
              </a:defRPr>
            </a:lvl1pPr>
          </a:lstStyle>
          <a:p>
            <a:fld id="{9B6FE7A1-9ED9-4D5D-8112-A794CD6A2C37}" type="datetime5">
              <a:rPr lang="en-US" smtClean="0"/>
              <a:t>6-Oct-21</a:t>
            </a:fld>
            <a:endParaRPr lang="en-US"/>
          </a:p>
        </p:txBody>
      </p:sp>
    </p:spTree>
    <p:extLst>
      <p:ext uri="{BB962C8B-B14F-4D97-AF65-F5344CB8AC3E}">
        <p14:creationId xmlns:p14="http://schemas.microsoft.com/office/powerpoint/2010/main" val="1707644868"/>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 id="2147483983" r:id="rId29"/>
    <p:sldLayoutId id="2147483984" r:id="rId30"/>
    <p:sldLayoutId id="2147483985" r:id="rId31"/>
    <p:sldLayoutId id="2147483986" r:id="rId32"/>
    <p:sldLayoutId id="2147483987" r:id="rId33"/>
    <p:sldLayoutId id="2147483988" r:id="rId34"/>
    <p:sldLayoutId id="2147483989" r:id="rId35"/>
    <p:sldLayoutId id="2147483990" r:id="rId36"/>
  </p:sldLayoutIdLst>
  <p:transition>
    <p:fade/>
  </p:transition>
  <p:hf sldNum="0" hdr="0" ftr="0" dt="0"/>
  <p:txStyles>
    <p:titleStyle>
      <a:lvl1pPr algn="l" rtl="0" eaLnBrk="1" fontAlgn="base" hangingPunct="1">
        <a:lnSpc>
          <a:spcPct val="75000"/>
        </a:lnSpc>
        <a:spcBef>
          <a:spcPct val="0"/>
        </a:spcBef>
        <a:spcAft>
          <a:spcPct val="0"/>
        </a:spcAft>
        <a:defRPr sz="3174" b="1" i="0" kern="1200" cap="all" spc="26" baseline="0">
          <a:solidFill>
            <a:schemeClr val="tx1"/>
          </a:solidFill>
          <a:latin typeface="+mj-lt"/>
          <a:ea typeface="+mj-ea"/>
          <a:cs typeface="+mj-cs"/>
        </a:defRPr>
      </a:lvl1pPr>
      <a:lvl2pPr algn="l" rtl="0" eaLnBrk="1" fontAlgn="base" hangingPunct="1">
        <a:lnSpc>
          <a:spcPct val="75000"/>
        </a:lnSpc>
        <a:spcBef>
          <a:spcPct val="0"/>
        </a:spcBef>
        <a:spcAft>
          <a:spcPct val="0"/>
        </a:spcAft>
        <a:defRPr sz="3704" b="1" kern="1200" cap="all" spc="26" baseline="0">
          <a:solidFill>
            <a:schemeClr val="tx1"/>
          </a:solidFill>
          <a:latin typeface="+mj-lt"/>
        </a:defRPr>
      </a:lvl2pPr>
      <a:lvl3pPr algn="l" rtl="0" eaLnBrk="1" fontAlgn="base" hangingPunct="1">
        <a:lnSpc>
          <a:spcPct val="75000"/>
        </a:lnSpc>
        <a:spcBef>
          <a:spcPct val="0"/>
        </a:spcBef>
        <a:spcAft>
          <a:spcPct val="0"/>
        </a:spcAft>
        <a:defRPr sz="3704" b="1" kern="1200" cap="all" spc="26" baseline="0">
          <a:solidFill>
            <a:schemeClr val="tx1"/>
          </a:solidFill>
          <a:latin typeface="+mj-lt"/>
        </a:defRPr>
      </a:lvl3pPr>
      <a:lvl4pPr algn="l" rtl="0" eaLnBrk="1" fontAlgn="base" hangingPunct="1">
        <a:lnSpc>
          <a:spcPct val="75000"/>
        </a:lnSpc>
        <a:spcBef>
          <a:spcPct val="0"/>
        </a:spcBef>
        <a:spcAft>
          <a:spcPct val="0"/>
        </a:spcAft>
        <a:defRPr sz="3704" b="1" kern="1200" cap="all" spc="26" baseline="0">
          <a:solidFill>
            <a:schemeClr val="tx1"/>
          </a:solidFill>
          <a:latin typeface="+mj-lt"/>
        </a:defRPr>
      </a:lvl4pPr>
      <a:lvl5pPr algn="l" rtl="0" eaLnBrk="1" fontAlgn="base" hangingPunct="1">
        <a:lnSpc>
          <a:spcPct val="75000"/>
        </a:lnSpc>
        <a:spcBef>
          <a:spcPct val="0"/>
        </a:spcBef>
        <a:spcAft>
          <a:spcPct val="0"/>
        </a:spcAft>
        <a:defRPr sz="3704" b="1" kern="1200" cap="all" spc="26" baseline="0">
          <a:solidFill>
            <a:schemeClr val="tx1"/>
          </a:solidFill>
          <a:latin typeface="+mj-lt"/>
        </a:defRPr>
      </a:lvl5pPr>
      <a:lvl6pPr algn="l" rtl="0" eaLnBrk="1" hangingPunct="1">
        <a:lnSpc>
          <a:spcPct val="75000"/>
        </a:lnSpc>
        <a:defRPr sz="3704" b="1" kern="1200" cap="all" spc="26" baseline="0">
          <a:latin typeface="+mj-lt"/>
        </a:defRPr>
      </a:lvl6pPr>
      <a:lvl7pPr algn="l" rtl="0" eaLnBrk="1" hangingPunct="1">
        <a:lnSpc>
          <a:spcPct val="75000"/>
        </a:lnSpc>
        <a:defRPr sz="3704" b="1" kern="1200" cap="all" spc="26" baseline="0">
          <a:latin typeface="+mj-lt"/>
        </a:defRPr>
      </a:lvl7pPr>
      <a:lvl8pPr algn="l" rtl="0" eaLnBrk="1" hangingPunct="1">
        <a:lnSpc>
          <a:spcPct val="75000"/>
        </a:lnSpc>
        <a:defRPr sz="3704" b="1" kern="1200" cap="all" spc="26" baseline="0">
          <a:latin typeface="+mj-lt"/>
        </a:defRPr>
      </a:lvl8pPr>
      <a:lvl9pPr algn="l" eaLnBrk="1" hangingPunct="1">
        <a:lnSpc>
          <a:spcPct val="75000"/>
        </a:lnSpc>
        <a:defRPr sz="3704" b="1" kern="1200" cap="all" spc="26"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mn-lt"/>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mn-lt"/>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mn-lt"/>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mn-lt"/>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mj-lt"/>
        <a:buAutoNum type="alphaLcPeriod"/>
        <a:tabLst>
          <a:tab pos="1309777" algn="l"/>
        </a:tabLst>
        <a:defRPr sz="1587" kern="1200">
          <a:solidFill>
            <a:schemeClr val="tx1"/>
          </a:solidFill>
          <a:latin typeface="+mn-lt"/>
          <a:ea typeface="+mn-ea"/>
          <a:cs typeface="AdihausDIN" panose="020B0504020101020102" pitchFamily="34" charset="0"/>
        </a:defRPr>
      </a:lvl5pPr>
      <a:lvl6pPr marL="0" indent="0" algn="l" defTabSz="1218838" rtl="0" eaLnBrk="1" latinLnBrk="0" hangingPunct="1">
        <a:lnSpc>
          <a:spcPct val="75000"/>
        </a:lnSpc>
        <a:spcBef>
          <a:spcPts val="1587"/>
        </a:spcBef>
        <a:spcAft>
          <a:spcPts val="794"/>
        </a:spcAft>
        <a:buClrTx/>
        <a:buSzPct val="90000"/>
        <a:buFont typeface="Wingdings" pitchFamily="2" charset="2"/>
        <a:buNone/>
        <a:tabLst>
          <a:tab pos="1309829" algn="l"/>
        </a:tabLst>
        <a:defRPr lang="en-US" sz="2381" b="1" i="0" kern="1200" cap="all" spc="26" baseline="0" noProof="0" dirty="0">
          <a:solidFill>
            <a:schemeClr val="tx1"/>
          </a:solidFill>
          <a:latin typeface="+mj-lt"/>
          <a:ea typeface="+mn-ea"/>
          <a:cs typeface="AdihausDIN" panose="020B0504020101020102" pitchFamily="34" charset="0"/>
        </a:defRPr>
      </a:lvl6pPr>
      <a:lvl7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i="0" kern="1200" cap="none" baseline="0">
          <a:solidFill>
            <a:schemeClr val="tx2"/>
          </a:solidFill>
          <a:latin typeface="+mn-lt"/>
          <a:ea typeface="+mn-ea"/>
          <a:cs typeface="AdihausDIN" panose="020B0504020101020102" pitchFamily="34" charset="0"/>
        </a:defRPr>
      </a:lvl7pPr>
      <a:lvl8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2">
          <p15:clr>
            <a:srgbClr val="F26B43"/>
          </p15:clr>
        </p15:guide>
        <p15:guide id="2" orient="horz" pos="1633">
          <p15:clr>
            <a:srgbClr val="F26B43"/>
          </p15:clr>
        </p15:guide>
        <p15:guide id="3" pos="2721">
          <p15:clr>
            <a:srgbClr val="F26B43"/>
          </p15:clr>
        </p15:guide>
        <p15:guide id="4" pos="2540">
          <p15:clr>
            <a:srgbClr val="F26B43"/>
          </p15:clr>
        </p15:guide>
        <p15:guide id="5" pos="2358">
          <p15:clr>
            <a:srgbClr val="F26B43"/>
          </p15:clr>
        </p15:guide>
        <p15:guide id="6" pos="2177">
          <p15:clr>
            <a:srgbClr val="F26B43"/>
          </p15:clr>
        </p15:guide>
        <p15:guide id="7" pos="1995">
          <p15:clr>
            <a:srgbClr val="F26B43"/>
          </p15:clr>
        </p15:guide>
        <p15:guide id="8" pos="1814">
          <p15:clr>
            <a:srgbClr val="F26B43"/>
          </p15:clr>
        </p15:guide>
        <p15:guide id="9" pos="1632">
          <p15:clr>
            <a:srgbClr val="F26B43"/>
          </p15:clr>
        </p15:guide>
        <p15:guide id="10" pos="1451">
          <p15:clr>
            <a:srgbClr val="F26B43"/>
          </p15:clr>
        </p15:guide>
        <p15:guide id="11" pos="1270">
          <p15:clr>
            <a:srgbClr val="F26B43"/>
          </p15:clr>
        </p15:guide>
        <p15:guide id="12" pos="1088">
          <p15:clr>
            <a:srgbClr val="F26B43"/>
          </p15:clr>
        </p15:guide>
        <p15:guide id="13" pos="907">
          <p15:clr>
            <a:srgbClr val="F26B43"/>
          </p15:clr>
        </p15:guide>
        <p15:guide id="14" pos="725">
          <p15:clr>
            <a:srgbClr val="F26B43"/>
          </p15:clr>
        </p15:guide>
        <p15:guide id="15" pos="544">
          <p15:clr>
            <a:srgbClr val="F26B43"/>
          </p15:clr>
        </p15:guide>
        <p15:guide id="16" pos="362">
          <p15:clr>
            <a:srgbClr val="F26B43"/>
          </p15:clr>
        </p15:guide>
        <p15:guide id="17" pos="181">
          <p15:clr>
            <a:srgbClr val="F26B43"/>
          </p15:clr>
        </p15:guide>
        <p15:guide id="18" pos="3084">
          <p15:clr>
            <a:srgbClr val="F26B43"/>
          </p15:clr>
        </p15:guide>
        <p15:guide id="19" pos="3265">
          <p15:clr>
            <a:srgbClr val="F26B43"/>
          </p15:clr>
        </p15:guide>
        <p15:guide id="20" pos="3447">
          <p15:clr>
            <a:srgbClr val="F26B43"/>
          </p15:clr>
        </p15:guide>
        <p15:guide id="21" pos="3810">
          <p15:clr>
            <a:srgbClr val="F26B43"/>
          </p15:clr>
        </p15:guide>
        <p15:guide id="22" pos="3628">
          <p15:clr>
            <a:srgbClr val="F26B43"/>
          </p15:clr>
        </p15:guide>
        <p15:guide id="23" pos="3991">
          <p15:clr>
            <a:srgbClr val="F26B43"/>
          </p15:clr>
        </p15:guide>
        <p15:guide id="24" pos="4173">
          <p15:clr>
            <a:srgbClr val="F26B43"/>
          </p15:clr>
        </p15:guide>
        <p15:guide id="25" pos="4354">
          <p15:clr>
            <a:srgbClr val="F26B43"/>
          </p15:clr>
        </p15:guide>
        <p15:guide id="26" pos="4535">
          <p15:clr>
            <a:srgbClr val="F26B43"/>
          </p15:clr>
        </p15:guide>
        <p15:guide id="27" pos="4717">
          <p15:clr>
            <a:srgbClr val="F26B43"/>
          </p15:clr>
        </p15:guide>
        <p15:guide id="28" pos="4898">
          <p15:clr>
            <a:srgbClr val="F26B43"/>
          </p15:clr>
        </p15:guide>
        <p15:guide id="29" pos="5080">
          <p15:clr>
            <a:srgbClr val="F26B43"/>
          </p15:clr>
        </p15:guide>
        <p15:guide id="30" pos="5261">
          <p15:clr>
            <a:srgbClr val="F26B43"/>
          </p15:clr>
        </p15:guide>
        <p15:guide id="31" pos="5443">
          <p15:clr>
            <a:srgbClr val="F26B43"/>
          </p15:clr>
        </p15:guide>
        <p15:guide id="32" pos="5624">
          <p15:clr>
            <a:srgbClr val="F26B43"/>
          </p15:clr>
        </p15:guide>
        <p15:guide id="33" orient="horz" pos="1452">
          <p15:clr>
            <a:srgbClr val="F26B43"/>
          </p15:clr>
        </p15:guide>
        <p15:guide id="34" orient="horz" pos="1270">
          <p15:clr>
            <a:srgbClr val="F26B43"/>
          </p15:clr>
        </p15:guide>
        <p15:guide id="35" orient="horz" pos="1089">
          <p15:clr>
            <a:srgbClr val="F26B43"/>
          </p15:clr>
        </p15:guide>
        <p15:guide id="36" orient="horz" pos="907">
          <p15:clr>
            <a:srgbClr val="F26B43"/>
          </p15:clr>
        </p15:guide>
        <p15:guide id="37" orient="horz" pos="726">
          <p15:clr>
            <a:srgbClr val="F26B43"/>
          </p15:clr>
        </p15:guide>
        <p15:guide id="38" orient="horz" pos="544">
          <p15:clr>
            <a:srgbClr val="F26B43"/>
          </p15:clr>
        </p15:guide>
        <p15:guide id="39" orient="horz" pos="363">
          <p15:clr>
            <a:srgbClr val="F26B43"/>
          </p15:clr>
        </p15:guide>
        <p15:guide id="40" orient="horz" pos="182">
          <p15:clr>
            <a:srgbClr val="F26B43"/>
          </p15:clr>
        </p15:guide>
        <p15:guide id="41" orient="horz" pos="1814">
          <p15:clr>
            <a:srgbClr val="F26B43"/>
          </p15:clr>
        </p15:guide>
        <p15:guide id="42" orient="horz" pos="1996">
          <p15:clr>
            <a:srgbClr val="F26B43"/>
          </p15:clr>
        </p15:guide>
        <p15:guide id="43" orient="horz" pos="2177">
          <p15:clr>
            <a:srgbClr val="F26B43"/>
          </p15:clr>
        </p15:guide>
        <p15:guide id="44" orient="horz" pos="2359">
          <p15:clr>
            <a:srgbClr val="F26B43"/>
          </p15:clr>
        </p15:guide>
        <p15:guide id="45" orient="horz" pos="2540">
          <p15:clr>
            <a:srgbClr val="F26B43"/>
          </p15:clr>
        </p15:guide>
        <p15:guide id="46" orient="horz" pos="2722">
          <p15:clr>
            <a:srgbClr val="F26B43"/>
          </p15:clr>
        </p15:guide>
        <p15:guide id="47" orient="horz" pos="2903">
          <p15:clr>
            <a:srgbClr val="F26B43"/>
          </p15:clr>
        </p15:guide>
        <p15:guide id="48" orient="horz" pos="3085">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380671" y="1524282"/>
            <a:ext cx="8001488" cy="4571319"/>
          </a:xfrm>
          <a:prstGeom prst="rect">
            <a:avLst/>
          </a:prstGeom>
        </p:spPr>
        <p:txBody>
          <a:bodyPr vert="horz" lIns="0" tIns="0" rIns="0" bIns="0" rtlCol="0">
            <a:noAutofit/>
          </a:bodyPr>
          <a:lstStyle/>
          <a:p>
            <a:pPr lvl="0"/>
            <a:r>
              <a:rPr lang="en-US" noProof="0"/>
              <a:t>Click to edit Master text styles </a:t>
            </a:r>
            <a:endParaRPr lang="en-US"/>
          </a:p>
          <a:p>
            <a:pPr lvl="1"/>
            <a:r>
              <a:rPr lang="en-US" noProof="0"/>
              <a:t>Second level </a:t>
            </a:r>
            <a:endParaRPr lang="en-US"/>
          </a:p>
          <a:p>
            <a:pPr lvl="2"/>
            <a:r>
              <a:rPr lang="en-US" noProof="0"/>
              <a:t>Third level </a:t>
            </a:r>
            <a:endParaRPr lang="en-US"/>
          </a:p>
          <a:p>
            <a:pPr lvl="3"/>
            <a:r>
              <a:rPr lang="en-US" noProof="0"/>
              <a:t>Fourth level </a:t>
            </a:r>
            <a:endParaRPr lang="en-US"/>
          </a:p>
          <a:p>
            <a:pPr lvl="4"/>
            <a:r>
              <a:rPr lang="en-US" noProof="0"/>
              <a:t>Fifth level </a:t>
            </a:r>
            <a:endParaRPr lang="en-US"/>
          </a:p>
          <a:p>
            <a:pPr marL="0" lvl="5" indent="0" algn="l" defTabSz="1218838" rtl="0" eaLnBrk="1" latinLnBrk="0" hangingPunct="1">
              <a:lnSpc>
                <a:spcPct val="75000"/>
              </a:lnSpc>
              <a:spcBef>
                <a:spcPts val="1587"/>
              </a:spcBef>
              <a:spcAft>
                <a:spcPts val="794"/>
              </a:spcAft>
              <a:buClrTx/>
              <a:buSzPct val="90000"/>
              <a:buFont typeface="Wingdings" pitchFamily="2" charset="2"/>
              <a:buNone/>
              <a:tabLst>
                <a:tab pos="1309829" algn="l"/>
              </a:tabLst>
            </a:pPr>
            <a:r>
              <a:rPr lang="en-US" noProof="0"/>
              <a:t>SIXTH LEVEL</a:t>
            </a:r>
            <a:endParaRPr lang="en-US"/>
          </a:p>
          <a:p>
            <a:pPr lvl="6"/>
            <a:r>
              <a:rPr lang="en-US" noProof="0"/>
              <a:t>Seventh Level</a:t>
            </a:r>
            <a:endParaRPr lang="en-US"/>
          </a:p>
          <a:p>
            <a:pPr lvl="7"/>
            <a:r>
              <a:rPr lang="en-US" noProof="0" err="1"/>
              <a:t>Eighth</a:t>
            </a:r>
            <a:r>
              <a:rPr lang="en-US" noProof="0"/>
              <a:t> Level</a:t>
            </a:r>
            <a:endParaRPr lang="en-US"/>
          </a:p>
          <a:p>
            <a:pPr lvl="8"/>
            <a:r>
              <a:rPr lang="en-US" noProof="0" err="1"/>
              <a:t>Ninth</a:t>
            </a:r>
            <a:r>
              <a:rPr lang="en-US" noProof="0"/>
              <a:t> Level</a:t>
            </a:r>
            <a:endParaRPr lang="en-US"/>
          </a:p>
        </p:txBody>
      </p:sp>
      <p:sp>
        <p:nvSpPr>
          <p:cNvPr id="11" name="Title Placeholder 1">
            <a:extLst>
              <a:ext uri="{FF2B5EF4-FFF2-40B4-BE49-F238E27FC236}">
                <a16:creationId xmlns:a16="http://schemas.microsoft.com/office/drawing/2014/main" id="{00D05825-4A9D-44D2-BDDE-C019BFD1AAF4}"/>
              </a:ext>
            </a:extLst>
          </p:cNvPr>
          <p:cNvSpPr>
            <a:spLocks noGrp="1"/>
          </p:cNvSpPr>
          <p:nvPr>
            <p:ph type="title"/>
          </p:nvPr>
        </p:nvSpPr>
        <p:spPr bwMode="gray">
          <a:xfrm>
            <a:off x="380672" y="381455"/>
            <a:ext cx="10286541" cy="380943"/>
          </a:xfrm>
          <a:prstGeom prst="rect">
            <a:avLst/>
          </a:prstGeom>
        </p:spPr>
        <p:txBody>
          <a:bodyPr vert="horz" lIns="0" tIns="0" rIns="0" bIns="0" rtlCol="0" anchor="t" anchorCtr="0">
            <a:noAutofit/>
          </a:bodyPr>
          <a:lstStyle/>
          <a:p>
            <a:pPr lvl="0"/>
            <a:endParaRPr lang="en-US" noProof="0"/>
          </a:p>
        </p:txBody>
      </p:sp>
      <p:sp>
        <p:nvSpPr>
          <p:cNvPr id="10" name="Slide Number Placeholder 5">
            <a:extLst>
              <a:ext uri="{FF2B5EF4-FFF2-40B4-BE49-F238E27FC236}">
                <a16:creationId xmlns:a16="http://schemas.microsoft.com/office/drawing/2014/main" id="{7E5CFC5D-30A2-4212-AE3A-0722701127F6}"/>
              </a:ext>
            </a:extLst>
          </p:cNvPr>
          <p:cNvSpPr>
            <a:spLocks noGrp="1"/>
          </p:cNvSpPr>
          <p:nvPr>
            <p:ph type="sldNum" sz="quarter" idx="4"/>
          </p:nvPr>
        </p:nvSpPr>
        <p:spPr bwMode="gray">
          <a:xfrm>
            <a:off x="11429607" y="6476936"/>
            <a:ext cx="381742" cy="381063"/>
          </a:xfrm>
          <a:prstGeom prst="rect">
            <a:avLst/>
          </a:prstGeom>
        </p:spPr>
        <p:txBody>
          <a:bodyPr vert="horz" wrap="none" lIns="0" tIns="0" rIns="0" bIns="0" rtlCol="0" anchor="ctr" anchorCtr="0"/>
          <a:lstStyle>
            <a:lvl1pPr algn="r" defTabSz="1218764" fontAlgn="auto">
              <a:lnSpc>
                <a:spcPct val="80000"/>
              </a:lnSpc>
              <a:spcBef>
                <a:spcPts val="0"/>
              </a:spcBef>
              <a:spcAft>
                <a:spcPts val="0"/>
              </a:spcAft>
              <a:buClrTx/>
              <a:defRPr sz="794" b="0" i="0" cap="all" spc="40" baseline="0">
                <a:solidFill>
                  <a:schemeClr val="tx1"/>
                </a:solidFill>
                <a:latin typeface="+mj-lt"/>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a:p>
        </p:txBody>
      </p:sp>
      <p:pic>
        <p:nvPicPr>
          <p:cNvPr id="1577589418" name="image" descr="{&quot;templafy&quot;:{&quot;id&quot;:&quot;0c366c3e-2ad8-446a-8ba3-48dd42c99e32&quot;}}"/>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314344" y="6476033"/>
            <a:ext cx="476279" cy="303023"/>
          </a:xfrm>
          <a:prstGeom prst="rect">
            <a:avLst/>
          </a:prstGeom>
        </p:spPr>
      </p:pic>
      <p:sp>
        <p:nvSpPr>
          <p:cNvPr id="14" name="Footer Placeholder 1">
            <a:extLst>
              <a:ext uri="{FF2B5EF4-FFF2-40B4-BE49-F238E27FC236}">
                <a16:creationId xmlns:a16="http://schemas.microsoft.com/office/drawing/2014/main" id="{00691E55-6E4B-4E5A-9397-AAFCFC0A8DA5}"/>
              </a:ext>
            </a:extLst>
          </p:cNvPr>
          <p:cNvSpPr>
            <a:spLocks noGrp="1"/>
          </p:cNvSpPr>
          <p:nvPr>
            <p:ph type="ftr" sz="quarter" idx="3"/>
          </p:nvPr>
        </p:nvSpPr>
        <p:spPr>
          <a:xfrm>
            <a:off x="1142717" y="6477934"/>
            <a:ext cx="8764203" cy="379993"/>
          </a:xfrm>
          <a:prstGeom prst="rect">
            <a:avLst/>
          </a:prstGeom>
          <a:noFill/>
        </p:spPr>
        <p:txBody>
          <a:bodyPr vert="horz" wrap="none" lIns="0" tIns="0" rIns="0" bIns="0" rtlCol="0" anchor="ctr" anchorCtr="0">
            <a:noAutofit/>
          </a:bodyPr>
          <a:lstStyle>
            <a:lvl1pPr>
              <a:defRPr lang="en-US" sz="794" b="0" i="0" cap="all" spc="40" baseline="0" smtClean="0">
                <a:latin typeface="+mj-lt"/>
                <a:ea typeface="AdihausDIN" panose="020B0504020101020102" pitchFamily="34" charset="0"/>
                <a:cs typeface="AdihausDIN" panose="020B0504020101020102" pitchFamily="34" charset="0"/>
              </a:defRPr>
            </a:lvl1pPr>
          </a:lstStyle>
          <a:p>
            <a:pPr defTabSz="1218764">
              <a:lnSpc>
                <a:spcPct val="80000"/>
              </a:lnSpc>
            </a:pPr>
            <a:r>
              <a:rPr lang="de-DE"/>
              <a:t>FOOTER / PRESENTATION NAME</a:t>
            </a:r>
          </a:p>
        </p:txBody>
      </p:sp>
      <p:sp>
        <p:nvSpPr>
          <p:cNvPr id="15" name="Date Placeholder 7">
            <a:extLst>
              <a:ext uri="{FF2B5EF4-FFF2-40B4-BE49-F238E27FC236}">
                <a16:creationId xmlns:a16="http://schemas.microsoft.com/office/drawing/2014/main" id="{74665397-8A69-4700-94F1-9E59E5820D3F}"/>
              </a:ext>
            </a:extLst>
          </p:cNvPr>
          <p:cNvSpPr>
            <a:spLocks noGrp="1"/>
          </p:cNvSpPr>
          <p:nvPr>
            <p:ph type="dt" sz="half" idx="2"/>
          </p:nvPr>
        </p:nvSpPr>
        <p:spPr>
          <a:xfrm>
            <a:off x="10669311" y="6476883"/>
            <a:ext cx="762396" cy="381118"/>
          </a:xfrm>
          <a:prstGeom prst="rect">
            <a:avLst/>
          </a:prstGeom>
        </p:spPr>
        <p:txBody>
          <a:bodyPr vert="horz" lIns="0" tIns="0" rIns="0" bIns="0" rtlCol="0" anchor="ctr"/>
          <a:lstStyle>
            <a:lvl1pPr algn="r">
              <a:lnSpc>
                <a:spcPct val="80000"/>
              </a:lnSpc>
              <a:defRPr lang="en-US" sz="794" b="0" i="0" kern="1200" cap="all" spc="40" baseline="0" smtClean="0">
                <a:solidFill>
                  <a:schemeClr val="tx1"/>
                </a:solidFill>
                <a:latin typeface="+mj-lt"/>
                <a:ea typeface="AdihausDIN" panose="020B0504020101020102" pitchFamily="34" charset="0"/>
                <a:cs typeface="AdihausDIN" panose="020B0504020101020102" pitchFamily="34" charset="0"/>
              </a:defRPr>
            </a:lvl1pPr>
          </a:lstStyle>
          <a:p>
            <a:fld id="{1BD9C9BF-3E1D-4511-800A-CACEAE3ED45F}" type="datetime5">
              <a:rPr lang="en-US" smtClean="0"/>
              <a:t>6-Oct-21</a:t>
            </a:fld>
            <a:endParaRPr lang="en-US"/>
          </a:p>
        </p:txBody>
      </p:sp>
    </p:spTree>
    <p:extLst>
      <p:ext uri="{BB962C8B-B14F-4D97-AF65-F5344CB8AC3E}">
        <p14:creationId xmlns:p14="http://schemas.microsoft.com/office/powerpoint/2010/main" val="2856731825"/>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26" r:id="rId31"/>
    <p:sldLayoutId id="2147484027" r:id="rId32"/>
    <p:sldLayoutId id="2147484028" r:id="rId33"/>
    <p:sldLayoutId id="2147484029" r:id="rId34"/>
    <p:sldLayoutId id="2147484030" r:id="rId35"/>
    <p:sldLayoutId id="2147484031" r:id="rId36"/>
  </p:sldLayoutIdLst>
  <p:transition>
    <p:fade/>
  </p:transition>
  <p:hf sldNum="0" hdr="0" ftr="0" dt="0"/>
  <p:txStyles>
    <p:titleStyle>
      <a:lvl1pPr algn="l" rtl="0" eaLnBrk="1" fontAlgn="base" hangingPunct="1">
        <a:lnSpc>
          <a:spcPct val="75000"/>
        </a:lnSpc>
        <a:spcBef>
          <a:spcPct val="0"/>
        </a:spcBef>
        <a:spcAft>
          <a:spcPct val="0"/>
        </a:spcAft>
        <a:defRPr sz="3174" b="1" i="0" kern="1200" cap="all" spc="26" baseline="0">
          <a:solidFill>
            <a:schemeClr val="tx1"/>
          </a:solidFill>
          <a:latin typeface="+mj-lt"/>
          <a:ea typeface="+mj-ea"/>
          <a:cs typeface="+mj-cs"/>
        </a:defRPr>
      </a:lvl1pPr>
      <a:lvl2pPr algn="l" rtl="0" eaLnBrk="1" fontAlgn="base" hangingPunct="1">
        <a:lnSpc>
          <a:spcPct val="75000"/>
        </a:lnSpc>
        <a:spcBef>
          <a:spcPct val="0"/>
        </a:spcBef>
        <a:spcAft>
          <a:spcPct val="0"/>
        </a:spcAft>
        <a:defRPr sz="3704" b="1" kern="1200" cap="all" spc="26" baseline="0">
          <a:solidFill>
            <a:schemeClr val="tx1"/>
          </a:solidFill>
          <a:latin typeface="+mj-lt"/>
        </a:defRPr>
      </a:lvl2pPr>
      <a:lvl3pPr algn="l" rtl="0" eaLnBrk="1" fontAlgn="base" hangingPunct="1">
        <a:lnSpc>
          <a:spcPct val="75000"/>
        </a:lnSpc>
        <a:spcBef>
          <a:spcPct val="0"/>
        </a:spcBef>
        <a:spcAft>
          <a:spcPct val="0"/>
        </a:spcAft>
        <a:defRPr sz="3704" b="1" kern="1200" cap="all" spc="26" baseline="0">
          <a:solidFill>
            <a:schemeClr val="tx1"/>
          </a:solidFill>
          <a:latin typeface="+mj-lt"/>
        </a:defRPr>
      </a:lvl3pPr>
      <a:lvl4pPr algn="l" rtl="0" eaLnBrk="1" fontAlgn="base" hangingPunct="1">
        <a:lnSpc>
          <a:spcPct val="75000"/>
        </a:lnSpc>
        <a:spcBef>
          <a:spcPct val="0"/>
        </a:spcBef>
        <a:spcAft>
          <a:spcPct val="0"/>
        </a:spcAft>
        <a:defRPr sz="3704" b="1" kern="1200" cap="all" spc="26" baseline="0">
          <a:solidFill>
            <a:schemeClr val="tx1"/>
          </a:solidFill>
          <a:latin typeface="+mj-lt"/>
        </a:defRPr>
      </a:lvl4pPr>
      <a:lvl5pPr algn="l" rtl="0" eaLnBrk="1" fontAlgn="base" hangingPunct="1">
        <a:lnSpc>
          <a:spcPct val="75000"/>
        </a:lnSpc>
        <a:spcBef>
          <a:spcPct val="0"/>
        </a:spcBef>
        <a:spcAft>
          <a:spcPct val="0"/>
        </a:spcAft>
        <a:defRPr sz="3704" b="1" kern="1200" cap="all" spc="26" baseline="0">
          <a:solidFill>
            <a:schemeClr val="tx1"/>
          </a:solidFill>
          <a:latin typeface="+mj-lt"/>
        </a:defRPr>
      </a:lvl5pPr>
      <a:lvl6pPr algn="l" rtl="0" eaLnBrk="1" hangingPunct="1">
        <a:lnSpc>
          <a:spcPct val="75000"/>
        </a:lnSpc>
        <a:defRPr sz="3704" b="1" kern="1200" cap="all" spc="26" baseline="0">
          <a:latin typeface="+mj-lt"/>
        </a:defRPr>
      </a:lvl6pPr>
      <a:lvl7pPr algn="l" rtl="0" eaLnBrk="1" hangingPunct="1">
        <a:lnSpc>
          <a:spcPct val="75000"/>
        </a:lnSpc>
        <a:defRPr sz="3704" b="1" kern="1200" cap="all" spc="26" baseline="0">
          <a:latin typeface="+mj-lt"/>
        </a:defRPr>
      </a:lvl7pPr>
      <a:lvl8pPr algn="l" rtl="0" eaLnBrk="1" hangingPunct="1">
        <a:lnSpc>
          <a:spcPct val="75000"/>
        </a:lnSpc>
        <a:defRPr sz="3704" b="1" kern="1200" cap="all" spc="26" baseline="0">
          <a:latin typeface="+mj-lt"/>
        </a:defRPr>
      </a:lvl8pPr>
      <a:lvl9pPr algn="l" eaLnBrk="1" hangingPunct="1">
        <a:lnSpc>
          <a:spcPct val="75000"/>
        </a:lnSpc>
        <a:defRPr sz="3704" b="1" kern="1200" cap="all" spc="26"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mn-lt"/>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mn-lt"/>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mn-lt"/>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mn-lt"/>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mj-lt"/>
        <a:buAutoNum type="alphaLcPeriod"/>
        <a:tabLst>
          <a:tab pos="1309777" algn="l"/>
        </a:tabLst>
        <a:defRPr sz="1587" kern="1200">
          <a:solidFill>
            <a:schemeClr val="tx1"/>
          </a:solidFill>
          <a:latin typeface="+mn-lt"/>
          <a:ea typeface="+mn-ea"/>
          <a:cs typeface="AdihausDIN" panose="020B0504020101020102" pitchFamily="34" charset="0"/>
        </a:defRPr>
      </a:lvl5pPr>
      <a:lvl6pPr marL="0" indent="0" algn="l" defTabSz="1218838" rtl="0" eaLnBrk="1" latinLnBrk="0" hangingPunct="1">
        <a:lnSpc>
          <a:spcPct val="75000"/>
        </a:lnSpc>
        <a:spcBef>
          <a:spcPts val="1587"/>
        </a:spcBef>
        <a:spcAft>
          <a:spcPts val="794"/>
        </a:spcAft>
        <a:buClrTx/>
        <a:buSzPct val="90000"/>
        <a:buFont typeface="Wingdings" pitchFamily="2" charset="2"/>
        <a:buNone/>
        <a:tabLst>
          <a:tab pos="1309829" algn="l"/>
        </a:tabLst>
        <a:defRPr lang="en-US" sz="2381" b="1" i="0" kern="1200" cap="all" spc="26" baseline="0" noProof="0" dirty="0">
          <a:solidFill>
            <a:schemeClr val="tx1"/>
          </a:solidFill>
          <a:latin typeface="+mj-lt"/>
          <a:ea typeface="+mn-ea"/>
          <a:cs typeface="AdihausDIN" panose="020B0504020101020102" pitchFamily="34" charset="0"/>
        </a:defRPr>
      </a:lvl6pPr>
      <a:lvl7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i="0" kern="1200" cap="none" baseline="0">
          <a:solidFill>
            <a:schemeClr val="tx2"/>
          </a:solidFill>
          <a:latin typeface="+mn-lt"/>
          <a:ea typeface="+mn-ea"/>
          <a:cs typeface="AdihausDIN" panose="020B0504020101020102" pitchFamily="34" charset="0"/>
        </a:defRPr>
      </a:lvl7pPr>
      <a:lvl8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2">
          <p15:clr>
            <a:srgbClr val="F26B43"/>
          </p15:clr>
        </p15:guide>
        <p15:guide id="2" orient="horz" pos="1633">
          <p15:clr>
            <a:srgbClr val="F26B43"/>
          </p15:clr>
        </p15:guide>
        <p15:guide id="3" pos="2721">
          <p15:clr>
            <a:srgbClr val="F26B43"/>
          </p15:clr>
        </p15:guide>
        <p15:guide id="4" pos="2540">
          <p15:clr>
            <a:srgbClr val="F26B43"/>
          </p15:clr>
        </p15:guide>
        <p15:guide id="5" pos="2358">
          <p15:clr>
            <a:srgbClr val="F26B43"/>
          </p15:clr>
        </p15:guide>
        <p15:guide id="6" pos="2177">
          <p15:clr>
            <a:srgbClr val="F26B43"/>
          </p15:clr>
        </p15:guide>
        <p15:guide id="7" pos="1995">
          <p15:clr>
            <a:srgbClr val="F26B43"/>
          </p15:clr>
        </p15:guide>
        <p15:guide id="8" pos="1814">
          <p15:clr>
            <a:srgbClr val="F26B43"/>
          </p15:clr>
        </p15:guide>
        <p15:guide id="9" pos="1632">
          <p15:clr>
            <a:srgbClr val="F26B43"/>
          </p15:clr>
        </p15:guide>
        <p15:guide id="10" pos="1451">
          <p15:clr>
            <a:srgbClr val="F26B43"/>
          </p15:clr>
        </p15:guide>
        <p15:guide id="11" pos="1270">
          <p15:clr>
            <a:srgbClr val="F26B43"/>
          </p15:clr>
        </p15:guide>
        <p15:guide id="12" pos="1088">
          <p15:clr>
            <a:srgbClr val="F26B43"/>
          </p15:clr>
        </p15:guide>
        <p15:guide id="13" pos="907">
          <p15:clr>
            <a:srgbClr val="F26B43"/>
          </p15:clr>
        </p15:guide>
        <p15:guide id="14" pos="725">
          <p15:clr>
            <a:srgbClr val="F26B43"/>
          </p15:clr>
        </p15:guide>
        <p15:guide id="15" pos="544">
          <p15:clr>
            <a:srgbClr val="F26B43"/>
          </p15:clr>
        </p15:guide>
        <p15:guide id="16" pos="362">
          <p15:clr>
            <a:srgbClr val="F26B43"/>
          </p15:clr>
        </p15:guide>
        <p15:guide id="17" pos="181">
          <p15:clr>
            <a:srgbClr val="F26B43"/>
          </p15:clr>
        </p15:guide>
        <p15:guide id="18" pos="3084">
          <p15:clr>
            <a:srgbClr val="F26B43"/>
          </p15:clr>
        </p15:guide>
        <p15:guide id="19" pos="3265">
          <p15:clr>
            <a:srgbClr val="F26B43"/>
          </p15:clr>
        </p15:guide>
        <p15:guide id="20" pos="3447">
          <p15:clr>
            <a:srgbClr val="F26B43"/>
          </p15:clr>
        </p15:guide>
        <p15:guide id="21" pos="3810">
          <p15:clr>
            <a:srgbClr val="F26B43"/>
          </p15:clr>
        </p15:guide>
        <p15:guide id="22" pos="3628">
          <p15:clr>
            <a:srgbClr val="F26B43"/>
          </p15:clr>
        </p15:guide>
        <p15:guide id="23" pos="3991">
          <p15:clr>
            <a:srgbClr val="F26B43"/>
          </p15:clr>
        </p15:guide>
        <p15:guide id="24" pos="4173">
          <p15:clr>
            <a:srgbClr val="F26B43"/>
          </p15:clr>
        </p15:guide>
        <p15:guide id="25" pos="4354">
          <p15:clr>
            <a:srgbClr val="F26B43"/>
          </p15:clr>
        </p15:guide>
        <p15:guide id="26" pos="4535">
          <p15:clr>
            <a:srgbClr val="F26B43"/>
          </p15:clr>
        </p15:guide>
        <p15:guide id="27" pos="4717">
          <p15:clr>
            <a:srgbClr val="F26B43"/>
          </p15:clr>
        </p15:guide>
        <p15:guide id="28" pos="4898">
          <p15:clr>
            <a:srgbClr val="F26B43"/>
          </p15:clr>
        </p15:guide>
        <p15:guide id="29" pos="5080">
          <p15:clr>
            <a:srgbClr val="F26B43"/>
          </p15:clr>
        </p15:guide>
        <p15:guide id="30" pos="5261">
          <p15:clr>
            <a:srgbClr val="F26B43"/>
          </p15:clr>
        </p15:guide>
        <p15:guide id="31" pos="5443">
          <p15:clr>
            <a:srgbClr val="F26B43"/>
          </p15:clr>
        </p15:guide>
        <p15:guide id="32" pos="5624">
          <p15:clr>
            <a:srgbClr val="F26B43"/>
          </p15:clr>
        </p15:guide>
        <p15:guide id="33" orient="horz" pos="1452">
          <p15:clr>
            <a:srgbClr val="F26B43"/>
          </p15:clr>
        </p15:guide>
        <p15:guide id="34" orient="horz" pos="1270">
          <p15:clr>
            <a:srgbClr val="F26B43"/>
          </p15:clr>
        </p15:guide>
        <p15:guide id="35" orient="horz" pos="1089">
          <p15:clr>
            <a:srgbClr val="F26B43"/>
          </p15:clr>
        </p15:guide>
        <p15:guide id="36" orient="horz" pos="907">
          <p15:clr>
            <a:srgbClr val="F26B43"/>
          </p15:clr>
        </p15:guide>
        <p15:guide id="37" orient="horz" pos="726">
          <p15:clr>
            <a:srgbClr val="F26B43"/>
          </p15:clr>
        </p15:guide>
        <p15:guide id="38" orient="horz" pos="544">
          <p15:clr>
            <a:srgbClr val="F26B43"/>
          </p15:clr>
        </p15:guide>
        <p15:guide id="39" orient="horz" pos="363">
          <p15:clr>
            <a:srgbClr val="F26B43"/>
          </p15:clr>
        </p15:guide>
        <p15:guide id="40" orient="horz" pos="182">
          <p15:clr>
            <a:srgbClr val="F26B43"/>
          </p15:clr>
        </p15:guide>
        <p15:guide id="41" orient="horz" pos="1814">
          <p15:clr>
            <a:srgbClr val="F26B43"/>
          </p15:clr>
        </p15:guide>
        <p15:guide id="42" orient="horz" pos="1996">
          <p15:clr>
            <a:srgbClr val="F26B43"/>
          </p15:clr>
        </p15:guide>
        <p15:guide id="43" orient="horz" pos="2177">
          <p15:clr>
            <a:srgbClr val="F26B43"/>
          </p15:clr>
        </p15:guide>
        <p15:guide id="44" orient="horz" pos="2359">
          <p15:clr>
            <a:srgbClr val="F26B43"/>
          </p15:clr>
        </p15:guide>
        <p15:guide id="45" orient="horz" pos="2540">
          <p15:clr>
            <a:srgbClr val="F26B43"/>
          </p15:clr>
        </p15:guide>
        <p15:guide id="46" orient="horz" pos="2722">
          <p15:clr>
            <a:srgbClr val="F26B43"/>
          </p15:clr>
        </p15:guide>
        <p15:guide id="47" orient="horz" pos="2903">
          <p15:clr>
            <a:srgbClr val="F26B43"/>
          </p15:clr>
        </p15:guide>
        <p15:guide id="48" orient="horz" pos="308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80672" y="382168"/>
            <a:ext cx="10286541" cy="761182"/>
          </a:xfrm>
          <a:prstGeom prst="rect">
            <a:avLst/>
          </a:prstGeom>
        </p:spPr>
        <p:txBody>
          <a:bodyPr vert="horz" lIns="0" tIns="0" rIns="0" bIns="0" rtlCol="0" anchor="t" anchorCtr="0">
            <a:noAutofit/>
          </a:bodyPr>
          <a:lstStyle/>
          <a:p>
            <a:pPr lvl="0"/>
            <a:endParaRPr lang="en-US" noProof="0" dirty="0"/>
          </a:p>
        </p:txBody>
      </p:sp>
      <p:sp>
        <p:nvSpPr>
          <p:cNvPr id="3" name="Text Placeholder 2"/>
          <p:cNvSpPr>
            <a:spLocks noGrp="1"/>
          </p:cNvSpPr>
          <p:nvPr>
            <p:ph type="body" idx="1"/>
          </p:nvPr>
        </p:nvSpPr>
        <p:spPr bwMode="gray">
          <a:xfrm>
            <a:off x="760293" y="1524469"/>
            <a:ext cx="9906919" cy="4191232"/>
          </a:xfrm>
          <a:prstGeom prst="rect">
            <a:avLst/>
          </a:prstGeom>
        </p:spPr>
        <p:txBody>
          <a:bodyPr vert="horz" lIns="0" tIns="0" rIns="0" bIns="0" rtlCol="0">
            <a:noAutofit/>
          </a:bodyPr>
          <a:lstStyle/>
          <a:p>
            <a:pPr lvl="0"/>
            <a:r>
              <a:rPr lang="en-US" noProof="0" dirty="0"/>
              <a:t>Click to edit Master text styles </a:t>
            </a:r>
          </a:p>
          <a:p>
            <a:pPr lvl="1"/>
            <a:r>
              <a:rPr lang="en-US" noProof="0" dirty="0"/>
              <a:t>Second level </a:t>
            </a:r>
          </a:p>
          <a:p>
            <a:pPr lvl="2"/>
            <a:r>
              <a:rPr lang="en-US" noProof="0" dirty="0"/>
              <a:t>Third level </a:t>
            </a:r>
          </a:p>
          <a:p>
            <a:pPr lvl="3"/>
            <a:r>
              <a:rPr lang="en-US" noProof="0" dirty="0"/>
              <a:t>Fourth level </a:t>
            </a:r>
          </a:p>
          <a:p>
            <a:pPr lvl="4"/>
            <a:r>
              <a:rPr lang="en-US" noProof="0" dirty="0"/>
              <a:t>Fifth level </a:t>
            </a:r>
          </a:p>
          <a:p>
            <a:pPr lvl="5"/>
            <a:r>
              <a:rPr lang="en-US" noProof="0" dirty="0"/>
              <a:t>Sixth Level</a:t>
            </a:r>
          </a:p>
          <a:p>
            <a:pPr lvl="6"/>
            <a:r>
              <a:rPr lang="en-US" noProof="0" dirty="0"/>
              <a:t>Seventh Level</a:t>
            </a:r>
          </a:p>
          <a:p>
            <a:pPr lvl="7"/>
            <a:r>
              <a:rPr lang="de-DE" noProof="0" dirty="0" err="1"/>
              <a:t>Eighth</a:t>
            </a:r>
            <a:r>
              <a:rPr lang="de-DE" noProof="0" dirty="0"/>
              <a:t> Level</a:t>
            </a:r>
          </a:p>
          <a:p>
            <a:pPr lvl="8"/>
            <a:r>
              <a:rPr lang="de-DE" noProof="0" dirty="0" err="1"/>
              <a:t>Ninth</a:t>
            </a:r>
            <a:r>
              <a:rPr lang="de-DE" noProof="0" dirty="0"/>
              <a:t> Level</a:t>
            </a:r>
            <a:endParaRPr lang="en-US" noProof="0" dirty="0"/>
          </a:p>
        </p:txBody>
      </p:sp>
      <p:sp>
        <p:nvSpPr>
          <p:cNvPr id="4" name="Date Placeholder 3"/>
          <p:cNvSpPr>
            <a:spLocks noGrp="1"/>
          </p:cNvSpPr>
          <p:nvPr>
            <p:ph type="dt" sz="half" idx="2"/>
          </p:nvPr>
        </p:nvSpPr>
        <p:spPr bwMode="gray">
          <a:xfrm>
            <a:off x="10667212" y="6477934"/>
            <a:ext cx="763799" cy="379993"/>
          </a:xfrm>
          <a:prstGeom prst="rect">
            <a:avLst/>
          </a:prstGeom>
        </p:spPr>
        <p:txBody>
          <a:bodyPr vert="horz" wrap="none" lIns="0" tIns="0" rIns="0" bIns="0" rtlCol="0" anchor="t" anchorCtr="0"/>
          <a:lstStyle>
            <a:lvl1pPr algn="ctr" defTabSz="1218764"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ED9B3FCA-2F1C-402A-8E3A-42969A54BE57}" type="datetime5">
              <a:rPr lang="en-US" smtClean="0"/>
              <a:t>6-Oct-21</a:t>
            </a:fld>
            <a:endParaRPr lang="en-US" dirty="0"/>
          </a:p>
        </p:txBody>
      </p:sp>
      <p:sp>
        <p:nvSpPr>
          <p:cNvPr id="5" name="Footer Placeholder 4"/>
          <p:cNvSpPr>
            <a:spLocks noGrp="1"/>
          </p:cNvSpPr>
          <p:nvPr>
            <p:ph type="ftr" sz="quarter" idx="3"/>
          </p:nvPr>
        </p:nvSpPr>
        <p:spPr bwMode="gray">
          <a:xfrm>
            <a:off x="5334657" y="6477934"/>
            <a:ext cx="5332556" cy="379993"/>
          </a:xfrm>
          <a:prstGeom prst="rect">
            <a:avLst/>
          </a:prstGeom>
        </p:spPr>
        <p:txBody>
          <a:bodyPr vert="horz" lIns="0" tIns="0" rIns="0" bIns="0" rtlCol="0" anchor="t" anchorCtr="0"/>
          <a:lstStyle>
            <a:lvl1pPr algn="r" defTabSz="1218764"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r>
              <a:rPr lang="en-US"/>
              <a:t>FOOTER / PRESENTATION NAME</a:t>
            </a:r>
            <a:endParaRPr lang="en-US" dirty="0"/>
          </a:p>
        </p:txBody>
      </p:sp>
      <p:sp>
        <p:nvSpPr>
          <p:cNvPr id="6" name="Slide Number Placeholder 5"/>
          <p:cNvSpPr>
            <a:spLocks noGrp="1"/>
          </p:cNvSpPr>
          <p:nvPr>
            <p:ph type="sldNum" sz="quarter" idx="4"/>
          </p:nvPr>
        </p:nvSpPr>
        <p:spPr bwMode="gray">
          <a:xfrm>
            <a:off x="11429607" y="6476936"/>
            <a:ext cx="762393" cy="381063"/>
          </a:xfrm>
          <a:prstGeom prst="rect">
            <a:avLst/>
          </a:prstGeom>
        </p:spPr>
        <p:txBody>
          <a:bodyPr vert="horz" wrap="none" lIns="0" tIns="0" rIns="0" bIns="0" rtlCol="0" anchor="t" anchorCtr="0"/>
          <a:lstStyle>
            <a:lvl1pPr algn="l" defTabSz="1218764" fontAlgn="auto">
              <a:spcBef>
                <a:spcPts val="0"/>
              </a:spcBef>
              <a:spcAft>
                <a:spcPts val="0"/>
              </a:spcAft>
              <a:buClrTx/>
              <a:defRPr sz="794" b="1"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390702106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Lst>
  <p:transition spd="med">
    <p:fade/>
  </p:transition>
  <p:hf sldNum="0" hdr="0" ftr="0" dt="0"/>
  <p:txStyles>
    <p:titleStyle>
      <a:lvl1pPr algn="l" rtl="0" eaLnBrk="1" fontAlgn="base" hangingPunct="1">
        <a:lnSpc>
          <a:spcPct val="80000"/>
        </a:lnSpc>
        <a:spcBef>
          <a:spcPct val="0"/>
        </a:spcBef>
        <a:spcAft>
          <a:spcPct val="0"/>
        </a:spcAft>
        <a:defRPr sz="1852"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adineue PRO" pitchFamily="34" charset="0"/>
        <a:buAutoNum type="arabicPeriod"/>
        <a:tabLst>
          <a:tab pos="1309777"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89811E-4B4D-4159-914C-C231631FCC5C}"/>
              </a:ext>
            </a:extLst>
          </p:cNvPr>
          <p:cNvGraphicFramePr>
            <a:graphicFrameLocks noChangeAspect="1"/>
          </p:cNvGraphicFramePr>
          <p:nvPr userDrawn="1">
            <p:custDataLst>
              <p:tags r:id="rId10"/>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1026" name="think-cell Slide" r:id="rId11" imgW="270" imgH="270" progId="TCLayout.ActiveDocument.1">
                  <p:embed/>
                </p:oleObj>
              </mc:Choice>
              <mc:Fallback>
                <p:oleObj name="think-cell Slide" r:id="rId11" imgW="270" imgH="270" progId="TCLayout.ActiveDocument.1">
                  <p:embed/>
                  <p:pic>
                    <p:nvPicPr>
                      <p:cNvPr id="4" name="Object 3" hidden="1">
                        <a:extLst>
                          <a:ext uri="{FF2B5EF4-FFF2-40B4-BE49-F238E27FC236}">
                            <a16:creationId xmlns:a16="http://schemas.microsoft.com/office/drawing/2014/main" id="{D989811E-4B4D-4159-914C-C231631FCC5C}"/>
                          </a:ext>
                        </a:extLst>
                      </p:cNvPr>
                      <p:cNvPicPr/>
                      <p:nvPr/>
                    </p:nvPicPr>
                    <p:blipFill>
                      <a:blip r:embed="rId12"/>
                      <a:stretch>
                        <a:fillRect/>
                      </a:stretch>
                    </p:blipFill>
                    <p:spPr>
                      <a:xfrm>
                        <a:off x="2101" y="2101"/>
                        <a:ext cx="2100" cy="2099"/>
                      </a:xfrm>
                      <a:prstGeom prst="rect">
                        <a:avLst/>
                      </a:prstGeom>
                    </p:spPr>
                  </p:pic>
                </p:oleObj>
              </mc:Fallback>
            </mc:AlternateContent>
          </a:graphicData>
        </a:graphic>
      </p:graphicFrame>
      <p:sp>
        <p:nvSpPr>
          <p:cNvPr id="2" name="Title Placeholder 1"/>
          <p:cNvSpPr>
            <a:spLocks noGrp="1"/>
          </p:cNvSpPr>
          <p:nvPr>
            <p:ph type="title"/>
          </p:nvPr>
        </p:nvSpPr>
        <p:spPr bwMode="gray">
          <a:xfrm>
            <a:off x="380670" y="382168"/>
            <a:ext cx="11430697" cy="761182"/>
          </a:xfrm>
          <a:prstGeom prst="rect">
            <a:avLst/>
          </a:prstGeom>
        </p:spPr>
        <p:txBody>
          <a:bodyPr vert="horz" lIns="0" tIns="0" rIns="0" bIns="0" rtlCol="0" anchor="t" anchorCtr="0">
            <a:noAutofit/>
          </a:bodyPr>
          <a:lstStyle/>
          <a:p>
            <a:pPr lvl="0"/>
            <a:endParaRPr lang="en-US" noProof="0" dirty="0"/>
          </a:p>
        </p:txBody>
      </p:sp>
      <p:sp>
        <p:nvSpPr>
          <p:cNvPr id="3" name="Text Placeholder 2"/>
          <p:cNvSpPr>
            <a:spLocks noGrp="1"/>
          </p:cNvSpPr>
          <p:nvPr>
            <p:ph type="body" idx="1"/>
          </p:nvPr>
        </p:nvSpPr>
        <p:spPr bwMode="gray">
          <a:xfrm>
            <a:off x="760293" y="1524469"/>
            <a:ext cx="9906919" cy="4191232"/>
          </a:xfrm>
          <a:prstGeom prst="rect">
            <a:avLst/>
          </a:prstGeom>
        </p:spPr>
        <p:txBody>
          <a:bodyPr vert="horz" lIns="0" tIns="0" rIns="0" bIns="0" rtlCol="0">
            <a:noAutofit/>
          </a:bodyPr>
          <a:lstStyle/>
          <a:p>
            <a:pPr lvl="0"/>
            <a:r>
              <a:rPr lang="en-US" noProof="0" dirty="0"/>
              <a:t>Click to edit Master text styles </a:t>
            </a:r>
          </a:p>
          <a:p>
            <a:pPr lvl="1"/>
            <a:r>
              <a:rPr lang="en-US" noProof="0" dirty="0"/>
              <a:t>Second level </a:t>
            </a:r>
          </a:p>
          <a:p>
            <a:pPr lvl="2"/>
            <a:r>
              <a:rPr lang="en-US" noProof="0" dirty="0"/>
              <a:t>Third level </a:t>
            </a:r>
          </a:p>
          <a:p>
            <a:pPr lvl="3"/>
            <a:r>
              <a:rPr lang="en-US" noProof="0" dirty="0"/>
              <a:t>Fourth level </a:t>
            </a:r>
          </a:p>
          <a:p>
            <a:pPr lvl="4"/>
            <a:r>
              <a:rPr lang="en-US" noProof="0" dirty="0"/>
              <a:t>Fifth level </a:t>
            </a:r>
          </a:p>
          <a:p>
            <a:pPr lvl="5"/>
            <a:r>
              <a:rPr lang="en-US" noProof="0" dirty="0"/>
              <a:t>Sixth Level</a:t>
            </a:r>
          </a:p>
          <a:p>
            <a:pPr lvl="6"/>
            <a:r>
              <a:rPr lang="en-US" noProof="0" dirty="0"/>
              <a:t>Seventh Level</a:t>
            </a:r>
          </a:p>
          <a:p>
            <a:pPr lvl="7"/>
            <a:r>
              <a:rPr lang="de-DE" noProof="0" dirty="0" err="1"/>
              <a:t>Eighth</a:t>
            </a:r>
            <a:r>
              <a:rPr lang="de-DE" noProof="0" dirty="0"/>
              <a:t> Level</a:t>
            </a:r>
          </a:p>
          <a:p>
            <a:pPr lvl="8"/>
            <a:r>
              <a:rPr lang="de-DE" noProof="0" dirty="0" err="1"/>
              <a:t>Ninth</a:t>
            </a:r>
            <a:r>
              <a:rPr lang="de-DE" noProof="0" dirty="0"/>
              <a:t> Level</a:t>
            </a:r>
            <a:endParaRPr lang="en-US" noProof="0" dirty="0"/>
          </a:p>
        </p:txBody>
      </p:sp>
      <p:sp>
        <p:nvSpPr>
          <p:cNvPr id="6" name="Slide Number Placeholder 5"/>
          <p:cNvSpPr>
            <a:spLocks noGrp="1"/>
          </p:cNvSpPr>
          <p:nvPr>
            <p:ph type="sldNum" sz="quarter" idx="4"/>
          </p:nvPr>
        </p:nvSpPr>
        <p:spPr bwMode="gray">
          <a:xfrm>
            <a:off x="11811366" y="6476936"/>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69195780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6" r:id="rId5"/>
    <p:sldLayoutId id="2147483707" r:id="rId6"/>
    <p:sldLayoutId id="2147483708" r:id="rId7"/>
  </p:sldLayoutIdLst>
  <p:transition spd="med">
    <p:fade/>
  </p:transition>
  <p:hf sldNum="0" hdr="0" ftr="0" dt="0"/>
  <p:txStyles>
    <p:titleStyle>
      <a:lvl1pPr algn="l" rtl="0" eaLnBrk="1" fontAlgn="base" hangingPunct="1">
        <a:lnSpc>
          <a:spcPct val="80000"/>
        </a:lnSpc>
        <a:spcBef>
          <a:spcPct val="0"/>
        </a:spcBef>
        <a:spcAft>
          <a:spcPct val="0"/>
        </a:spcAft>
        <a:defRPr sz="1852"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adineue PRO" pitchFamily="34" charset="0"/>
        <a:buAutoNum type="arabicPeriod"/>
        <a:tabLst>
          <a:tab pos="1309777"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89811E-4B4D-4159-914C-C231631FCC5C}"/>
              </a:ext>
            </a:extLst>
          </p:cNvPr>
          <p:cNvGraphicFramePr>
            <a:graphicFrameLocks noChangeAspect="1"/>
          </p:cNvGraphicFramePr>
          <p:nvPr userDrawn="1">
            <p:custDataLst>
              <p:tags r:id="rId11"/>
            </p:custDataLst>
          </p:nvPr>
        </p:nvGraphicFramePr>
        <p:xfrm>
          <a:off x="2101" y="2101"/>
          <a:ext cx="2100" cy="2099"/>
        </p:xfrm>
        <a:graphic>
          <a:graphicData uri="http://schemas.openxmlformats.org/presentationml/2006/ole">
            <mc:AlternateContent xmlns:mc="http://schemas.openxmlformats.org/markup-compatibility/2006">
              <mc:Choice xmlns:v="urn:schemas-microsoft-com:vml" Requires="v">
                <p:oleObj spid="_x0000_s5122" name="think-cell Slide" r:id="rId12" imgW="270" imgH="270" progId="TCLayout.ActiveDocument.1">
                  <p:embed/>
                </p:oleObj>
              </mc:Choice>
              <mc:Fallback>
                <p:oleObj name="think-cell Slide" r:id="rId12" imgW="270" imgH="270" progId="TCLayout.ActiveDocument.1">
                  <p:embed/>
                  <p:pic>
                    <p:nvPicPr>
                      <p:cNvPr id="4" name="Object 3" hidden="1">
                        <a:extLst>
                          <a:ext uri="{FF2B5EF4-FFF2-40B4-BE49-F238E27FC236}">
                            <a16:creationId xmlns:a16="http://schemas.microsoft.com/office/drawing/2014/main" id="{D989811E-4B4D-4159-914C-C231631FCC5C}"/>
                          </a:ext>
                        </a:extLst>
                      </p:cNvPr>
                      <p:cNvPicPr/>
                      <p:nvPr/>
                    </p:nvPicPr>
                    <p:blipFill>
                      <a:blip r:embed="rId13"/>
                      <a:stretch>
                        <a:fillRect/>
                      </a:stretch>
                    </p:blipFill>
                    <p:spPr>
                      <a:xfrm>
                        <a:off x="2101" y="2101"/>
                        <a:ext cx="2100" cy="2099"/>
                      </a:xfrm>
                      <a:prstGeom prst="rect">
                        <a:avLst/>
                      </a:prstGeom>
                    </p:spPr>
                  </p:pic>
                </p:oleObj>
              </mc:Fallback>
            </mc:AlternateContent>
          </a:graphicData>
        </a:graphic>
      </p:graphicFrame>
      <p:sp>
        <p:nvSpPr>
          <p:cNvPr id="2" name="Title Placeholder 1"/>
          <p:cNvSpPr>
            <a:spLocks noGrp="1"/>
          </p:cNvSpPr>
          <p:nvPr>
            <p:ph type="title"/>
          </p:nvPr>
        </p:nvSpPr>
        <p:spPr bwMode="gray">
          <a:xfrm>
            <a:off x="380670" y="382168"/>
            <a:ext cx="11430697" cy="761182"/>
          </a:xfrm>
          <a:prstGeom prst="rect">
            <a:avLst/>
          </a:prstGeom>
        </p:spPr>
        <p:txBody>
          <a:bodyPr vert="horz" lIns="0" tIns="0" rIns="0" bIns="0" rtlCol="0" anchor="t" anchorCtr="0">
            <a:noAutofit/>
          </a:bodyPr>
          <a:lstStyle/>
          <a:p>
            <a:pPr lvl="0"/>
            <a:endParaRPr lang="en-US" noProof="0" dirty="0"/>
          </a:p>
        </p:txBody>
      </p:sp>
      <p:sp>
        <p:nvSpPr>
          <p:cNvPr id="3" name="Text Placeholder 2"/>
          <p:cNvSpPr>
            <a:spLocks noGrp="1"/>
          </p:cNvSpPr>
          <p:nvPr>
            <p:ph type="body" idx="1"/>
          </p:nvPr>
        </p:nvSpPr>
        <p:spPr bwMode="gray">
          <a:xfrm>
            <a:off x="760293" y="1524469"/>
            <a:ext cx="9906919" cy="4191232"/>
          </a:xfrm>
          <a:prstGeom prst="rect">
            <a:avLst/>
          </a:prstGeom>
        </p:spPr>
        <p:txBody>
          <a:bodyPr vert="horz" lIns="0" tIns="0" rIns="0" bIns="0" rtlCol="0">
            <a:noAutofit/>
          </a:bodyPr>
          <a:lstStyle/>
          <a:p>
            <a:pPr lvl="0"/>
            <a:r>
              <a:rPr lang="en-US" noProof="0" dirty="0"/>
              <a:t>Click to edit Master text styles </a:t>
            </a:r>
          </a:p>
          <a:p>
            <a:pPr lvl="1"/>
            <a:r>
              <a:rPr lang="en-US" noProof="0" dirty="0"/>
              <a:t>Second level </a:t>
            </a:r>
          </a:p>
          <a:p>
            <a:pPr lvl="2"/>
            <a:r>
              <a:rPr lang="en-US" noProof="0" dirty="0"/>
              <a:t>Third level </a:t>
            </a:r>
          </a:p>
          <a:p>
            <a:pPr lvl="3"/>
            <a:r>
              <a:rPr lang="en-US" noProof="0" dirty="0"/>
              <a:t>Fourth level </a:t>
            </a:r>
          </a:p>
          <a:p>
            <a:pPr lvl="4"/>
            <a:r>
              <a:rPr lang="en-US" noProof="0" dirty="0"/>
              <a:t>Fifth level </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7" name="Slide Number Placeholder 5">
            <a:extLst>
              <a:ext uri="{FF2B5EF4-FFF2-40B4-BE49-F238E27FC236}">
                <a16:creationId xmlns:a16="http://schemas.microsoft.com/office/drawing/2014/main" id="{05B48FBE-9C0A-48D6-9928-46455786693C}"/>
              </a:ext>
            </a:extLst>
          </p:cNvPr>
          <p:cNvSpPr>
            <a:spLocks noGrp="1"/>
          </p:cNvSpPr>
          <p:nvPr>
            <p:ph type="sldNum" sz="quarter" idx="4"/>
          </p:nvPr>
        </p:nvSpPr>
        <p:spPr bwMode="gray">
          <a:xfrm>
            <a:off x="11811366" y="6476936"/>
            <a:ext cx="380633" cy="381063"/>
          </a:xfrm>
          <a:prstGeom prst="rect">
            <a:avLst/>
          </a:prstGeom>
        </p:spPr>
        <p:txBody>
          <a:bodyPr vert="horz" wrap="none" lIns="0" tIns="0" rIns="0" bIns="0" rtlCol="0" anchor="ctr" anchorCtr="0"/>
          <a:lstStyle>
            <a:lvl1pPr algn="ctr" defTabSz="1218764" fontAlgn="auto">
              <a:spcBef>
                <a:spcPts val="0"/>
              </a:spcBef>
              <a:spcAft>
                <a:spcPts val="0"/>
              </a:spcAft>
              <a:buClrTx/>
              <a:defRPr sz="1058"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103112545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6" r:id="rId4"/>
    <p:sldLayoutId id="2147483717" r:id="rId5"/>
    <p:sldLayoutId id="2147483718" r:id="rId6"/>
    <p:sldLayoutId id="2147483719" r:id="rId7"/>
    <p:sldLayoutId id="2147483720" r:id="rId8"/>
  </p:sldLayoutIdLst>
  <p:transition spd="med">
    <p:fade/>
  </p:transition>
  <p:hf sldNum="0" hdr="0" ftr="0" dt="0"/>
  <p:txStyles>
    <p:titleStyle>
      <a:lvl1pPr algn="l" rtl="0" eaLnBrk="1" fontAlgn="base" hangingPunct="1">
        <a:lnSpc>
          <a:spcPct val="80000"/>
        </a:lnSpc>
        <a:spcBef>
          <a:spcPct val="0"/>
        </a:spcBef>
        <a:spcAft>
          <a:spcPct val="0"/>
        </a:spcAft>
        <a:defRPr sz="2381"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adineue PRO" pitchFamily="34" charset="0"/>
        <a:buAutoNum type="arabicPeriod"/>
        <a:tabLst>
          <a:tab pos="1309777"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80672" y="382168"/>
            <a:ext cx="10286541" cy="761182"/>
          </a:xfrm>
          <a:prstGeom prst="rect">
            <a:avLst/>
          </a:prstGeom>
        </p:spPr>
        <p:txBody>
          <a:bodyPr vert="horz" lIns="0" tIns="0" rIns="0" bIns="0" rtlCol="0" anchor="t" anchorCtr="0">
            <a:noAutofit/>
          </a:bodyPr>
          <a:lstStyle/>
          <a:p>
            <a:pPr lvl="0"/>
            <a:endParaRPr lang="en-US" noProof="0" dirty="0"/>
          </a:p>
        </p:txBody>
      </p:sp>
      <p:sp>
        <p:nvSpPr>
          <p:cNvPr id="3" name="Text Placeholder 2"/>
          <p:cNvSpPr>
            <a:spLocks noGrp="1"/>
          </p:cNvSpPr>
          <p:nvPr>
            <p:ph type="body" idx="1"/>
          </p:nvPr>
        </p:nvSpPr>
        <p:spPr bwMode="gray">
          <a:xfrm>
            <a:off x="760293" y="1524469"/>
            <a:ext cx="9906919" cy="4191232"/>
          </a:xfrm>
          <a:prstGeom prst="rect">
            <a:avLst/>
          </a:prstGeom>
        </p:spPr>
        <p:txBody>
          <a:bodyPr vert="horz" lIns="0" tIns="0" rIns="0" bIns="0" rtlCol="0">
            <a:noAutofit/>
          </a:bodyPr>
          <a:lstStyle/>
          <a:p>
            <a:pPr lvl="0"/>
            <a:r>
              <a:rPr lang="en-US" noProof="0" dirty="0"/>
              <a:t>Click to edit Master text styles </a:t>
            </a:r>
          </a:p>
          <a:p>
            <a:pPr lvl="1"/>
            <a:r>
              <a:rPr lang="en-US" noProof="0" dirty="0"/>
              <a:t>Second level </a:t>
            </a:r>
          </a:p>
          <a:p>
            <a:pPr lvl="2"/>
            <a:r>
              <a:rPr lang="en-US" noProof="0" dirty="0"/>
              <a:t>Third level </a:t>
            </a:r>
          </a:p>
          <a:p>
            <a:pPr lvl="3"/>
            <a:r>
              <a:rPr lang="en-US" noProof="0" dirty="0"/>
              <a:t>Fourth level </a:t>
            </a:r>
          </a:p>
          <a:p>
            <a:pPr lvl="4"/>
            <a:r>
              <a:rPr lang="en-US" noProof="0" dirty="0"/>
              <a:t>Fifth level </a:t>
            </a:r>
          </a:p>
          <a:p>
            <a:pPr lvl="5"/>
            <a:r>
              <a:rPr lang="en-US" noProof="0" dirty="0"/>
              <a:t>Sixth Level</a:t>
            </a:r>
          </a:p>
          <a:p>
            <a:pPr lvl="6"/>
            <a:r>
              <a:rPr lang="en-US" noProof="0" dirty="0"/>
              <a:t>Seventh Level</a:t>
            </a:r>
          </a:p>
          <a:p>
            <a:pPr lvl="7"/>
            <a:r>
              <a:rPr lang="de-DE" noProof="0" dirty="0" err="1"/>
              <a:t>Eighth</a:t>
            </a:r>
            <a:r>
              <a:rPr lang="de-DE" noProof="0" dirty="0"/>
              <a:t> Level</a:t>
            </a:r>
          </a:p>
          <a:p>
            <a:pPr lvl="8"/>
            <a:r>
              <a:rPr lang="de-DE" noProof="0" dirty="0" err="1"/>
              <a:t>Ninth</a:t>
            </a:r>
            <a:r>
              <a:rPr lang="de-DE" noProof="0" dirty="0"/>
              <a:t> Level</a:t>
            </a:r>
            <a:endParaRPr lang="en-US" noProof="0" dirty="0"/>
          </a:p>
        </p:txBody>
      </p:sp>
      <p:sp>
        <p:nvSpPr>
          <p:cNvPr id="4" name="Date Placeholder 3"/>
          <p:cNvSpPr>
            <a:spLocks noGrp="1"/>
          </p:cNvSpPr>
          <p:nvPr>
            <p:ph type="dt" sz="half" idx="2"/>
          </p:nvPr>
        </p:nvSpPr>
        <p:spPr bwMode="gray">
          <a:xfrm>
            <a:off x="10667212" y="6477934"/>
            <a:ext cx="763799" cy="379993"/>
          </a:xfrm>
          <a:prstGeom prst="rect">
            <a:avLst/>
          </a:prstGeom>
        </p:spPr>
        <p:txBody>
          <a:bodyPr vert="horz" wrap="none" lIns="0" tIns="0" rIns="0" bIns="0" rtlCol="0" anchor="t" anchorCtr="0"/>
          <a:lstStyle>
            <a:lvl1pPr algn="ctr" defTabSz="1218764"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EDFEA0EF-4461-40D4-973F-877558B03D5F}" type="datetime5">
              <a:rPr lang="en-US" smtClean="0"/>
              <a:t>6-Oct-21</a:t>
            </a:fld>
            <a:endParaRPr lang="en-US" dirty="0"/>
          </a:p>
        </p:txBody>
      </p:sp>
      <p:sp>
        <p:nvSpPr>
          <p:cNvPr id="5" name="Footer Placeholder 4"/>
          <p:cNvSpPr>
            <a:spLocks noGrp="1"/>
          </p:cNvSpPr>
          <p:nvPr>
            <p:ph type="ftr" sz="quarter" idx="3"/>
          </p:nvPr>
        </p:nvSpPr>
        <p:spPr bwMode="gray">
          <a:xfrm>
            <a:off x="5334657" y="6477934"/>
            <a:ext cx="5332556" cy="379993"/>
          </a:xfrm>
          <a:prstGeom prst="rect">
            <a:avLst/>
          </a:prstGeom>
        </p:spPr>
        <p:txBody>
          <a:bodyPr vert="horz" lIns="0" tIns="0" rIns="0" bIns="0" rtlCol="0" anchor="t" anchorCtr="0"/>
          <a:lstStyle>
            <a:lvl1pPr algn="r" defTabSz="1218764"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r>
              <a:rPr lang="en-US" dirty="0"/>
              <a:t>FOOTER / PRESENTATION NAME</a:t>
            </a:r>
          </a:p>
        </p:txBody>
      </p:sp>
      <p:sp>
        <p:nvSpPr>
          <p:cNvPr id="6" name="Slide Number Placeholder 5"/>
          <p:cNvSpPr>
            <a:spLocks noGrp="1"/>
          </p:cNvSpPr>
          <p:nvPr>
            <p:ph type="sldNum" sz="quarter" idx="4"/>
          </p:nvPr>
        </p:nvSpPr>
        <p:spPr bwMode="gray">
          <a:xfrm>
            <a:off x="11429607" y="6476936"/>
            <a:ext cx="762393" cy="381063"/>
          </a:xfrm>
          <a:prstGeom prst="rect">
            <a:avLst/>
          </a:prstGeom>
        </p:spPr>
        <p:txBody>
          <a:bodyPr vert="horz" wrap="none" lIns="0" tIns="0" rIns="0" bIns="0" rtlCol="0" anchor="t" anchorCtr="0"/>
          <a:lstStyle>
            <a:lvl1pPr algn="l" defTabSz="1218764" fontAlgn="auto">
              <a:spcBef>
                <a:spcPts val="0"/>
              </a:spcBef>
              <a:spcAft>
                <a:spcPts val="0"/>
              </a:spcAft>
              <a:buClrTx/>
              <a:defRPr sz="794" b="1"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dirty="0"/>
          </a:p>
        </p:txBody>
      </p:sp>
    </p:spTree>
    <p:extLst>
      <p:ext uri="{BB962C8B-B14F-4D97-AF65-F5344CB8AC3E}">
        <p14:creationId xmlns:p14="http://schemas.microsoft.com/office/powerpoint/2010/main" val="211815444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Lst>
  <p:transition spd="med">
    <p:fade/>
  </p:transition>
  <p:hf sldNum="0" hdr="0" ftr="0" dt="0"/>
  <p:txStyles>
    <p:titleStyle>
      <a:lvl1pPr algn="l" rtl="0" eaLnBrk="1" fontAlgn="base" hangingPunct="1">
        <a:lnSpc>
          <a:spcPct val="80000"/>
        </a:lnSpc>
        <a:spcBef>
          <a:spcPct val="0"/>
        </a:spcBef>
        <a:spcAft>
          <a:spcPct val="0"/>
        </a:spcAft>
        <a:defRPr sz="1852"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adineue PRO" pitchFamily="34" charset="0"/>
        <a:buAutoNum type="arabicPeriod"/>
        <a:tabLst>
          <a:tab pos="1309777"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80672" y="382168"/>
            <a:ext cx="10286541" cy="761182"/>
          </a:xfrm>
          <a:prstGeom prst="rect">
            <a:avLst/>
          </a:prstGeom>
        </p:spPr>
        <p:txBody>
          <a:bodyPr vert="horz" lIns="0" tIns="0" rIns="0" bIns="0" rtlCol="0" anchor="t" anchorCtr="0">
            <a:noAutofit/>
          </a:bodyPr>
          <a:lstStyle/>
          <a:p>
            <a:pPr lvl="0"/>
            <a:endParaRPr lang="en-US" noProof="0"/>
          </a:p>
        </p:txBody>
      </p:sp>
      <p:sp>
        <p:nvSpPr>
          <p:cNvPr id="3" name="Text Placeholder 2"/>
          <p:cNvSpPr>
            <a:spLocks noGrp="1"/>
          </p:cNvSpPr>
          <p:nvPr>
            <p:ph type="body" idx="1"/>
          </p:nvPr>
        </p:nvSpPr>
        <p:spPr bwMode="gray">
          <a:xfrm>
            <a:off x="760293" y="1524469"/>
            <a:ext cx="9906920" cy="4191232"/>
          </a:xfrm>
          <a:prstGeom prst="rect">
            <a:avLst/>
          </a:prstGeom>
        </p:spPr>
        <p:txBody>
          <a:bodyPr vert="horz" lIns="0" tIns="0" rIns="0" bIns="0" rtlCol="0">
            <a:noAutofit/>
          </a:bodyPr>
          <a:lstStyle/>
          <a:p>
            <a:pPr lvl="0"/>
            <a:r>
              <a:rPr lang="en-US" noProof="0"/>
              <a:t>Click to edit Master text styles </a:t>
            </a:r>
          </a:p>
          <a:p>
            <a:pPr lvl="1"/>
            <a:r>
              <a:rPr lang="en-US" noProof="0"/>
              <a:t>Second level </a:t>
            </a:r>
          </a:p>
          <a:p>
            <a:pPr lvl="2"/>
            <a:r>
              <a:rPr lang="en-US" noProof="0"/>
              <a:t>Third level </a:t>
            </a:r>
          </a:p>
          <a:p>
            <a:pPr lvl="3"/>
            <a:r>
              <a:rPr lang="en-US" noProof="0"/>
              <a:t>Fourth level </a:t>
            </a:r>
          </a:p>
          <a:p>
            <a:pPr lvl="4"/>
            <a:r>
              <a:rPr lang="en-US" noProof="0"/>
              <a:t>Fifth level </a:t>
            </a:r>
          </a:p>
          <a:p>
            <a:pPr lvl="5"/>
            <a:r>
              <a:rPr lang="en-US" noProof="0"/>
              <a:t>Sixth Level</a:t>
            </a:r>
          </a:p>
          <a:p>
            <a:pPr lvl="6"/>
            <a:r>
              <a:rPr lang="en-US" noProof="0"/>
              <a:t>Seventh Level</a:t>
            </a:r>
          </a:p>
          <a:p>
            <a:pPr lvl="7"/>
            <a:r>
              <a:rPr lang="de-DE" noProof="0" err="1"/>
              <a:t>Eighth</a:t>
            </a:r>
            <a:r>
              <a:rPr lang="de-DE" noProof="0"/>
              <a:t> Level</a:t>
            </a:r>
          </a:p>
          <a:p>
            <a:pPr lvl="8"/>
            <a:r>
              <a:rPr lang="de-DE" noProof="0" err="1"/>
              <a:t>Ninth</a:t>
            </a:r>
            <a:r>
              <a:rPr lang="de-DE" noProof="0"/>
              <a:t> Level</a:t>
            </a:r>
            <a:endParaRPr lang="en-US" noProof="0"/>
          </a:p>
        </p:txBody>
      </p:sp>
      <p:sp>
        <p:nvSpPr>
          <p:cNvPr id="4" name="Date Placeholder 3"/>
          <p:cNvSpPr>
            <a:spLocks noGrp="1"/>
          </p:cNvSpPr>
          <p:nvPr>
            <p:ph type="dt" sz="half" idx="2"/>
          </p:nvPr>
        </p:nvSpPr>
        <p:spPr bwMode="gray">
          <a:xfrm>
            <a:off x="10667212" y="6477934"/>
            <a:ext cx="763799" cy="379993"/>
          </a:xfrm>
          <a:prstGeom prst="rect">
            <a:avLst/>
          </a:prstGeom>
        </p:spPr>
        <p:txBody>
          <a:bodyPr vert="horz" wrap="none" lIns="0" tIns="0" rIns="0" bIns="0" rtlCol="0" anchor="t" anchorCtr="0"/>
          <a:lstStyle>
            <a:lvl1pPr algn="ctr" defTabSz="1219007"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C35CFE6-F297-41C1-8099-B5B2F96326DD}" type="datetime5">
              <a:rPr lang="en-US" smtClean="0"/>
              <a:t>6-Oct-21</a:t>
            </a:fld>
            <a:endParaRPr lang="en-US"/>
          </a:p>
        </p:txBody>
      </p:sp>
      <p:sp>
        <p:nvSpPr>
          <p:cNvPr id="5" name="Footer Placeholder 4"/>
          <p:cNvSpPr>
            <a:spLocks noGrp="1"/>
          </p:cNvSpPr>
          <p:nvPr>
            <p:ph type="ftr" sz="quarter" idx="3"/>
          </p:nvPr>
        </p:nvSpPr>
        <p:spPr bwMode="gray">
          <a:xfrm>
            <a:off x="5334659" y="6477934"/>
            <a:ext cx="5332556" cy="379993"/>
          </a:xfrm>
          <a:prstGeom prst="rect">
            <a:avLst/>
          </a:prstGeom>
        </p:spPr>
        <p:txBody>
          <a:bodyPr vert="horz" lIns="0" tIns="0" rIns="0" bIns="0" rtlCol="0" anchor="t" anchorCtr="0"/>
          <a:lstStyle>
            <a:lvl1pPr algn="r" defTabSz="1219007"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r>
              <a:rPr lang="en-US"/>
              <a:t>FOOTER / PRESENTATION NAME</a:t>
            </a:r>
          </a:p>
        </p:txBody>
      </p:sp>
      <p:sp>
        <p:nvSpPr>
          <p:cNvPr id="6" name="Slide Number Placeholder 5"/>
          <p:cNvSpPr>
            <a:spLocks noGrp="1"/>
          </p:cNvSpPr>
          <p:nvPr>
            <p:ph type="sldNum" sz="quarter" idx="4"/>
          </p:nvPr>
        </p:nvSpPr>
        <p:spPr bwMode="gray">
          <a:xfrm>
            <a:off x="11429609" y="6476939"/>
            <a:ext cx="762393" cy="381063"/>
          </a:xfrm>
          <a:prstGeom prst="rect">
            <a:avLst/>
          </a:prstGeom>
        </p:spPr>
        <p:txBody>
          <a:bodyPr vert="horz" wrap="none" lIns="0" tIns="0" rIns="0" bIns="0" rtlCol="0" anchor="t" anchorCtr="0"/>
          <a:lstStyle>
            <a:lvl1pPr algn="l" defTabSz="1219007" fontAlgn="auto">
              <a:spcBef>
                <a:spcPts val="0"/>
              </a:spcBef>
              <a:spcAft>
                <a:spcPts val="0"/>
              </a:spcAft>
              <a:buClrTx/>
              <a:defRPr sz="794" b="1"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367340883"/>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Lst>
  <p:transition spd="med">
    <p:fade/>
  </p:transition>
  <p:hf sldNum="0" hdr="0" ftr="0" dt="0"/>
  <p:txStyles>
    <p:titleStyle>
      <a:lvl1pPr algn="l" rtl="0" eaLnBrk="1" fontAlgn="base" hangingPunct="1">
        <a:lnSpc>
          <a:spcPct val="80000"/>
        </a:lnSpc>
        <a:spcBef>
          <a:spcPct val="0"/>
        </a:spcBef>
        <a:spcAft>
          <a:spcPct val="0"/>
        </a:spcAft>
        <a:defRPr sz="1852"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51" indent="-239151"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67" indent="-239967"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4069" indent="-239151"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302" indent="-239151" algn="l" rtl="0" eaLnBrk="1" fontAlgn="base" hangingPunct="1">
        <a:lnSpc>
          <a:spcPct val="90000"/>
        </a:lnSpc>
        <a:spcBef>
          <a:spcPct val="0"/>
        </a:spcBef>
        <a:spcAft>
          <a:spcPts val="794"/>
        </a:spcAft>
        <a:buSzPct val="90000"/>
        <a:buFont typeface="adineue PRO" pitchFamily="34" charset="0"/>
        <a:buAutoNum type="arabicPeriod"/>
        <a:tabLst>
          <a:tab pos="1310039"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9081" rtl="0" eaLnBrk="1" latinLnBrk="0" hangingPunct="1">
        <a:lnSpc>
          <a:spcPct val="70000"/>
        </a:lnSpc>
        <a:spcBef>
          <a:spcPts val="794"/>
        </a:spcBef>
        <a:spcAft>
          <a:spcPts val="794"/>
        </a:spcAft>
        <a:buClrTx/>
        <a:buSzPct val="90000"/>
        <a:buFont typeface="Wingdings" pitchFamily="2" charset="2"/>
        <a:buNone/>
        <a:tabLst>
          <a:tab pos="1310091" algn="l"/>
        </a:tabLst>
        <a:defRPr sz="3174"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9081" rtl="0" eaLnBrk="1" latinLnBrk="0" hangingPunct="1">
        <a:lnSpc>
          <a:spcPct val="70000"/>
        </a:lnSpc>
        <a:spcBef>
          <a:spcPts val="794"/>
        </a:spcBef>
        <a:spcAft>
          <a:spcPts val="794"/>
        </a:spcAft>
        <a:buClrTx/>
        <a:buSzPct val="90000"/>
        <a:buFont typeface="Wingdings" pitchFamily="2" charset="2"/>
        <a:buNone/>
        <a:tabLst>
          <a:tab pos="1310091" algn="l"/>
        </a:tabLst>
        <a:defRPr sz="3174"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9081" rtl="0" eaLnBrk="1" latinLnBrk="0" hangingPunct="1">
        <a:lnSpc>
          <a:spcPct val="90000"/>
        </a:lnSpc>
        <a:spcBef>
          <a:spcPts val="800"/>
        </a:spcBef>
        <a:buClrTx/>
        <a:buSzPct val="90000"/>
        <a:buFont typeface="Wingdings" pitchFamily="2" charset="2"/>
        <a:buNone/>
        <a:tabLst>
          <a:tab pos="1310091"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9081" rtl="0" eaLnBrk="1" latinLnBrk="0" hangingPunct="1">
        <a:lnSpc>
          <a:spcPct val="90000"/>
        </a:lnSpc>
        <a:spcBef>
          <a:spcPts val="800"/>
        </a:spcBef>
        <a:buClrTx/>
        <a:buSzPct val="90000"/>
        <a:buFont typeface="Wingdings" pitchFamily="2" charset="2"/>
        <a:buNone/>
        <a:tabLst>
          <a:tab pos="1310091"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9081" rtl="0" eaLnBrk="1" latinLnBrk="0" hangingPunct="1">
        <a:defRPr sz="2418" kern="1200">
          <a:solidFill>
            <a:schemeClr val="tx1"/>
          </a:solidFill>
          <a:latin typeface="+mn-lt"/>
          <a:ea typeface="+mn-ea"/>
          <a:cs typeface="+mn-cs"/>
        </a:defRPr>
      </a:lvl1pPr>
      <a:lvl2pPr marL="609542" algn="l" defTabSz="1219081" rtl="0" eaLnBrk="1" latinLnBrk="0" hangingPunct="1">
        <a:defRPr sz="2418" kern="1200">
          <a:solidFill>
            <a:schemeClr val="tx1"/>
          </a:solidFill>
          <a:latin typeface="+mn-lt"/>
          <a:ea typeface="+mn-ea"/>
          <a:cs typeface="+mn-cs"/>
        </a:defRPr>
      </a:lvl2pPr>
      <a:lvl3pPr marL="1219081" algn="l" defTabSz="1219081" rtl="0" eaLnBrk="1" latinLnBrk="0" hangingPunct="1">
        <a:defRPr sz="2418" kern="1200">
          <a:solidFill>
            <a:schemeClr val="tx1"/>
          </a:solidFill>
          <a:latin typeface="+mn-lt"/>
          <a:ea typeface="+mn-ea"/>
          <a:cs typeface="+mn-cs"/>
        </a:defRPr>
      </a:lvl3pPr>
      <a:lvl4pPr marL="1828623" algn="l" defTabSz="1219081" rtl="0" eaLnBrk="1" latinLnBrk="0" hangingPunct="1">
        <a:defRPr sz="2418" kern="1200">
          <a:solidFill>
            <a:schemeClr val="tx1"/>
          </a:solidFill>
          <a:latin typeface="+mn-lt"/>
          <a:ea typeface="+mn-ea"/>
          <a:cs typeface="+mn-cs"/>
        </a:defRPr>
      </a:lvl4pPr>
      <a:lvl5pPr marL="2438165" algn="l" defTabSz="1219081" rtl="0" eaLnBrk="1" latinLnBrk="0" hangingPunct="1">
        <a:defRPr sz="2418" kern="1200">
          <a:solidFill>
            <a:schemeClr val="tx1"/>
          </a:solidFill>
          <a:latin typeface="+mn-lt"/>
          <a:ea typeface="+mn-ea"/>
          <a:cs typeface="+mn-cs"/>
        </a:defRPr>
      </a:lvl5pPr>
      <a:lvl6pPr marL="3047707" algn="l" defTabSz="1219081" rtl="0" eaLnBrk="1" latinLnBrk="0" hangingPunct="1">
        <a:defRPr sz="2418" kern="1200">
          <a:solidFill>
            <a:schemeClr val="tx1"/>
          </a:solidFill>
          <a:latin typeface="+mn-lt"/>
          <a:ea typeface="+mn-ea"/>
          <a:cs typeface="+mn-cs"/>
        </a:defRPr>
      </a:lvl6pPr>
      <a:lvl7pPr marL="3657246" algn="l" defTabSz="1219081" rtl="0" eaLnBrk="1" latinLnBrk="0" hangingPunct="1">
        <a:defRPr sz="2418" kern="1200">
          <a:solidFill>
            <a:schemeClr val="tx1"/>
          </a:solidFill>
          <a:latin typeface="+mn-lt"/>
          <a:ea typeface="+mn-ea"/>
          <a:cs typeface="+mn-cs"/>
        </a:defRPr>
      </a:lvl7pPr>
      <a:lvl8pPr marL="4266788" algn="l" defTabSz="1219081" rtl="0" eaLnBrk="1" latinLnBrk="0" hangingPunct="1">
        <a:defRPr sz="2418" kern="1200">
          <a:solidFill>
            <a:schemeClr val="tx1"/>
          </a:solidFill>
          <a:latin typeface="+mn-lt"/>
          <a:ea typeface="+mn-ea"/>
          <a:cs typeface="+mn-cs"/>
        </a:defRPr>
      </a:lvl8pPr>
      <a:lvl9pPr marL="4876329" algn="l" defTabSz="1219081" rtl="0" eaLnBrk="1" latinLnBrk="0" hangingPunct="1">
        <a:defRPr sz="241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80672" y="382168"/>
            <a:ext cx="10286541" cy="761182"/>
          </a:xfrm>
          <a:prstGeom prst="rect">
            <a:avLst/>
          </a:prstGeom>
        </p:spPr>
        <p:txBody>
          <a:bodyPr vert="horz" lIns="0" tIns="0" rIns="0" bIns="0" rtlCol="0" anchor="t" anchorCtr="0">
            <a:noAutofit/>
          </a:bodyPr>
          <a:lstStyle/>
          <a:p>
            <a:pPr lvl="0"/>
            <a:endParaRPr lang="en-US" noProof="0"/>
          </a:p>
        </p:txBody>
      </p:sp>
      <p:sp>
        <p:nvSpPr>
          <p:cNvPr id="3" name="Text Placeholder 2"/>
          <p:cNvSpPr>
            <a:spLocks noGrp="1"/>
          </p:cNvSpPr>
          <p:nvPr>
            <p:ph type="body" idx="1"/>
          </p:nvPr>
        </p:nvSpPr>
        <p:spPr bwMode="gray">
          <a:xfrm>
            <a:off x="760293" y="1524469"/>
            <a:ext cx="9906919" cy="4191232"/>
          </a:xfrm>
          <a:prstGeom prst="rect">
            <a:avLst/>
          </a:prstGeom>
        </p:spPr>
        <p:txBody>
          <a:bodyPr vert="horz" lIns="0" tIns="0" rIns="0" bIns="0" rtlCol="0">
            <a:noAutofit/>
          </a:bodyPr>
          <a:lstStyle/>
          <a:p>
            <a:pPr lvl="0"/>
            <a:r>
              <a:rPr lang="en-US" noProof="0"/>
              <a:t>Click to edit Master text styles </a:t>
            </a:r>
          </a:p>
          <a:p>
            <a:pPr lvl="1"/>
            <a:r>
              <a:rPr lang="en-US" noProof="0"/>
              <a:t>Second level </a:t>
            </a:r>
          </a:p>
          <a:p>
            <a:pPr lvl="2"/>
            <a:r>
              <a:rPr lang="en-US" noProof="0"/>
              <a:t>Third level </a:t>
            </a:r>
          </a:p>
          <a:p>
            <a:pPr lvl="3"/>
            <a:r>
              <a:rPr lang="en-US" noProof="0"/>
              <a:t>Fourth level </a:t>
            </a:r>
          </a:p>
          <a:p>
            <a:pPr lvl="4"/>
            <a:r>
              <a:rPr lang="en-US" noProof="0"/>
              <a:t>Fifth level </a:t>
            </a:r>
          </a:p>
          <a:p>
            <a:pPr lvl="5"/>
            <a:r>
              <a:rPr lang="en-US" noProof="0"/>
              <a:t>Sixth Level</a:t>
            </a:r>
          </a:p>
          <a:p>
            <a:pPr lvl="6"/>
            <a:r>
              <a:rPr lang="en-US" noProof="0"/>
              <a:t>Seventh Level</a:t>
            </a:r>
          </a:p>
          <a:p>
            <a:pPr lvl="7"/>
            <a:r>
              <a:rPr lang="de-DE" noProof="0" err="1"/>
              <a:t>Eighth</a:t>
            </a:r>
            <a:r>
              <a:rPr lang="de-DE" noProof="0"/>
              <a:t> Level</a:t>
            </a:r>
          </a:p>
          <a:p>
            <a:pPr lvl="8"/>
            <a:r>
              <a:rPr lang="de-DE" noProof="0" err="1"/>
              <a:t>Ninth</a:t>
            </a:r>
            <a:r>
              <a:rPr lang="de-DE" noProof="0"/>
              <a:t> Level</a:t>
            </a:r>
            <a:endParaRPr lang="en-US" noProof="0"/>
          </a:p>
        </p:txBody>
      </p:sp>
      <p:sp>
        <p:nvSpPr>
          <p:cNvPr id="4" name="Date Placeholder 3"/>
          <p:cNvSpPr>
            <a:spLocks noGrp="1"/>
          </p:cNvSpPr>
          <p:nvPr>
            <p:ph type="dt" sz="half" idx="2"/>
          </p:nvPr>
        </p:nvSpPr>
        <p:spPr bwMode="gray">
          <a:xfrm>
            <a:off x="10667212" y="6477934"/>
            <a:ext cx="763799" cy="379993"/>
          </a:xfrm>
          <a:prstGeom prst="rect">
            <a:avLst/>
          </a:prstGeom>
        </p:spPr>
        <p:txBody>
          <a:bodyPr vert="horz" wrap="none" lIns="0" tIns="0" rIns="0" bIns="0" rtlCol="0" anchor="t" anchorCtr="0"/>
          <a:lstStyle>
            <a:lvl1pPr algn="ctr" defTabSz="1218764"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516C7EED-7FFC-49D8-8405-232D8C83A085}" type="datetime5">
              <a:rPr lang="en-US" smtClean="0"/>
              <a:t>6-Oct-21</a:t>
            </a:fld>
            <a:endParaRPr lang="en-US"/>
          </a:p>
        </p:txBody>
      </p:sp>
      <p:sp>
        <p:nvSpPr>
          <p:cNvPr id="5" name="Footer Placeholder 4"/>
          <p:cNvSpPr>
            <a:spLocks noGrp="1"/>
          </p:cNvSpPr>
          <p:nvPr>
            <p:ph type="ftr" sz="quarter" idx="3"/>
          </p:nvPr>
        </p:nvSpPr>
        <p:spPr bwMode="gray">
          <a:xfrm>
            <a:off x="5334657" y="6477934"/>
            <a:ext cx="5332556" cy="379993"/>
          </a:xfrm>
          <a:prstGeom prst="rect">
            <a:avLst/>
          </a:prstGeom>
        </p:spPr>
        <p:txBody>
          <a:bodyPr vert="horz" lIns="0" tIns="0" rIns="0" bIns="0" rtlCol="0" anchor="t" anchorCtr="0"/>
          <a:lstStyle>
            <a:lvl1pPr algn="r" defTabSz="1218764" fontAlgn="auto">
              <a:spcBef>
                <a:spcPts val="0"/>
              </a:spcBef>
              <a:spcAft>
                <a:spcPts val="0"/>
              </a:spcAft>
              <a:buClrTx/>
              <a:defRPr sz="794" b="0"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r>
              <a:rPr lang="en-US"/>
              <a:t>FOOTER / PRESENTATION NAME</a:t>
            </a:r>
          </a:p>
        </p:txBody>
      </p:sp>
      <p:sp>
        <p:nvSpPr>
          <p:cNvPr id="6" name="Slide Number Placeholder 5"/>
          <p:cNvSpPr>
            <a:spLocks noGrp="1"/>
          </p:cNvSpPr>
          <p:nvPr>
            <p:ph type="sldNum" sz="quarter" idx="4"/>
          </p:nvPr>
        </p:nvSpPr>
        <p:spPr bwMode="gray">
          <a:xfrm>
            <a:off x="11429607" y="6476936"/>
            <a:ext cx="762393" cy="381063"/>
          </a:xfrm>
          <a:prstGeom prst="rect">
            <a:avLst/>
          </a:prstGeom>
        </p:spPr>
        <p:txBody>
          <a:bodyPr vert="horz" wrap="none" lIns="0" tIns="0" rIns="0" bIns="0" rtlCol="0" anchor="t" anchorCtr="0"/>
          <a:lstStyle>
            <a:lvl1pPr algn="l" defTabSz="1218764" fontAlgn="auto">
              <a:spcBef>
                <a:spcPts val="0"/>
              </a:spcBef>
              <a:spcAft>
                <a:spcPts val="0"/>
              </a:spcAft>
              <a:buClrTx/>
              <a:defRPr sz="794" b="1" i="0" cap="all" baseline="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392510456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 id="2147483864" r:id="rId30"/>
    <p:sldLayoutId id="2147483865" r:id="rId31"/>
    <p:sldLayoutId id="2147483866" r:id="rId32"/>
    <p:sldLayoutId id="2147483867" r:id="rId33"/>
    <p:sldLayoutId id="2147483868" r:id="rId34"/>
    <p:sldLayoutId id="2147483869" r:id="rId35"/>
  </p:sldLayoutIdLst>
  <p:transition spd="med">
    <p:fade/>
  </p:transition>
  <p:hf sldNum="0" hdr="0" ftr="0" dt="0"/>
  <p:txStyles>
    <p:titleStyle>
      <a:lvl1pPr algn="l" rtl="0" eaLnBrk="1" fontAlgn="base" hangingPunct="1">
        <a:lnSpc>
          <a:spcPct val="80000"/>
        </a:lnSpc>
        <a:spcBef>
          <a:spcPct val="0"/>
        </a:spcBef>
        <a:spcAft>
          <a:spcPct val="0"/>
        </a:spcAft>
        <a:defRPr sz="1852"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adineue PRO" pitchFamily="34" charset="0"/>
        <a:buAutoNum type="arabicPeriod"/>
        <a:tabLst>
          <a:tab pos="1309777"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a:extLst>
              <a:ext uri="{FF2B5EF4-FFF2-40B4-BE49-F238E27FC236}">
                <a16:creationId xmlns:a16="http://schemas.microsoft.com/office/drawing/2014/main" id="{125DF0E5-D0BE-4DD4-8EEB-F00D493572EF}"/>
              </a:ext>
            </a:extLst>
          </p:cNvPr>
          <p:cNvGraphicFramePr>
            <a:graphicFrameLocks noChangeAspect="1"/>
          </p:cNvGraphicFramePr>
          <p:nvPr>
            <p:custDataLst>
              <p:tags r:id="rId9"/>
            </p:custDataLst>
          </p:nvPr>
        </p:nvGraphicFramePr>
        <p:xfrm>
          <a:off x="1589" y="1588"/>
          <a:ext cx="3175" cy="3175"/>
        </p:xfrm>
        <a:graphic>
          <a:graphicData uri="http://schemas.openxmlformats.org/presentationml/2006/ole">
            <mc:AlternateContent xmlns:mc="http://schemas.openxmlformats.org/markup-compatibility/2006">
              <mc:Choice xmlns:v="urn:schemas-microsoft-com:vml" Requires="v">
                <p:oleObj spid="_x0000_s14338" name="think-cell Slide" r:id="rId10" imgW="360" imgH="360" progId="TCLayout.ActiveDocument.1">
                  <p:embed/>
                </p:oleObj>
              </mc:Choice>
              <mc:Fallback>
                <p:oleObj name="think-cell Slide" r:id="rId10" imgW="360" imgH="360" progId="TCLayout.ActiveDocument.1">
                  <p:embed/>
                  <p:pic>
                    <p:nvPicPr>
                      <p:cNvPr id="1026" name="Object 3" hidden="1">
                        <a:extLst>
                          <a:ext uri="{FF2B5EF4-FFF2-40B4-BE49-F238E27FC236}">
                            <a16:creationId xmlns:a16="http://schemas.microsoft.com/office/drawing/2014/main" id="{125DF0E5-D0BE-4DD4-8EEB-F00D493572E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9"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a:extLst>
              <a:ext uri="{FF2B5EF4-FFF2-40B4-BE49-F238E27FC236}">
                <a16:creationId xmlns:a16="http://schemas.microsoft.com/office/drawing/2014/main" id="{79CBC640-EE93-408D-B078-E278701D2D53}"/>
              </a:ext>
            </a:extLst>
          </p:cNvPr>
          <p:cNvSpPr>
            <a:spLocks noGrp="1"/>
          </p:cNvSpPr>
          <p:nvPr>
            <p:ph type="title"/>
          </p:nvPr>
        </p:nvSpPr>
        <p:spPr bwMode="gray">
          <a:xfrm>
            <a:off x="381001" y="382587"/>
            <a:ext cx="11430000" cy="760413"/>
          </a:xfrm>
          <a:prstGeom prst="rect">
            <a:avLst/>
          </a:prstGeom>
        </p:spPr>
        <p:txBody>
          <a:bodyPr vert="horz" lIns="0" tIns="0" rIns="0" bIns="0" rtlCol="0" anchor="t" anchorCtr="0">
            <a:noAutofit/>
          </a:bodyPr>
          <a:lstStyle/>
          <a:p>
            <a:pPr lvl="0"/>
            <a:endParaRPr lang="en-US" noProof="0"/>
          </a:p>
        </p:txBody>
      </p:sp>
      <p:sp>
        <p:nvSpPr>
          <p:cNvPr id="3" name="Text Placeholder 2">
            <a:extLst>
              <a:ext uri="{FF2B5EF4-FFF2-40B4-BE49-F238E27FC236}">
                <a16:creationId xmlns:a16="http://schemas.microsoft.com/office/drawing/2014/main" id="{3D9C17E1-2E33-4DD5-8FE0-7D5CC3E3AB13}"/>
              </a:ext>
            </a:extLst>
          </p:cNvPr>
          <p:cNvSpPr>
            <a:spLocks noGrp="1"/>
          </p:cNvSpPr>
          <p:nvPr>
            <p:ph type="body" idx="1"/>
          </p:nvPr>
        </p:nvSpPr>
        <p:spPr bwMode="gray">
          <a:xfrm>
            <a:off x="760415" y="1523999"/>
            <a:ext cx="9907587" cy="4191001"/>
          </a:xfrm>
          <a:prstGeom prst="rect">
            <a:avLst/>
          </a:prstGeom>
        </p:spPr>
        <p:txBody>
          <a:bodyPr vert="horz" lIns="0" tIns="0" rIns="0" bIns="0" rtlCol="0">
            <a:noAutofit/>
          </a:bodyPr>
          <a:lstStyle/>
          <a:p>
            <a:pPr lvl="0"/>
            <a:r>
              <a:rPr lang="en-US" noProof="0"/>
              <a:t>Click to edit Master text styles </a:t>
            </a:r>
          </a:p>
          <a:p>
            <a:pPr lvl="1"/>
            <a:r>
              <a:rPr lang="en-US" noProof="0"/>
              <a:t>Second level </a:t>
            </a:r>
          </a:p>
          <a:p>
            <a:pPr lvl="2"/>
            <a:r>
              <a:rPr lang="en-US" noProof="0"/>
              <a:t>Third level </a:t>
            </a:r>
          </a:p>
          <a:p>
            <a:pPr lvl="3"/>
            <a:r>
              <a:rPr lang="en-US" noProof="0"/>
              <a:t>Fourth level </a:t>
            </a:r>
          </a:p>
          <a:p>
            <a:pPr lvl="4"/>
            <a:r>
              <a:rPr lang="en-US" noProof="0"/>
              <a:t>Fifth level </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6" name="Slide Number Placeholder 5">
            <a:extLst>
              <a:ext uri="{FF2B5EF4-FFF2-40B4-BE49-F238E27FC236}">
                <a16:creationId xmlns:a16="http://schemas.microsoft.com/office/drawing/2014/main" id="{8C251A4C-7399-44FA-9A4A-1BA7547FE6C3}"/>
              </a:ext>
            </a:extLst>
          </p:cNvPr>
          <p:cNvSpPr>
            <a:spLocks noGrp="1"/>
          </p:cNvSpPr>
          <p:nvPr>
            <p:ph type="sldNum" sz="quarter" idx="4"/>
          </p:nvPr>
        </p:nvSpPr>
        <p:spPr bwMode="gray">
          <a:xfrm>
            <a:off x="11811001" y="6477001"/>
            <a:ext cx="380999" cy="381000"/>
          </a:xfrm>
          <a:prstGeom prst="rect">
            <a:avLst/>
          </a:prstGeom>
        </p:spPr>
        <p:txBody>
          <a:bodyPr vert="horz" wrap="none" lIns="0" tIns="0" rIns="0" bIns="0" rtlCol="0" anchor="ctr" anchorCtr="0"/>
          <a:lstStyle>
            <a:lvl1pPr algn="ctr" defTabSz="1218556" eaLnBrk="1" fontAlgn="auto" hangingPunct="1">
              <a:spcBef>
                <a:spcPts val="0"/>
              </a:spcBef>
              <a:spcAft>
                <a:spcPts val="0"/>
              </a:spcAft>
              <a:buClrTx/>
              <a:defRPr sz="1058" b="0" i="0" cap="all" baseline="0" smtClean="0">
                <a:solidFill>
                  <a:schemeClr val="tx2"/>
                </a:solidFill>
                <a:latin typeface="AdihausDIN" panose="020B0504020101020102" pitchFamily="34" charset="0"/>
                <a:ea typeface="AdihausDIN" panose="020B0504020101020102" pitchFamily="34" charset="0"/>
                <a:cs typeface="AdihausDIN" panose="020B0504020101020102" pitchFamily="34" charset="0"/>
              </a:defRPr>
            </a:lvl1pPr>
          </a:lstStyle>
          <a:p>
            <a:pPr>
              <a:defRPr/>
            </a:pPr>
            <a:fld id="{0973C45E-4323-4AC9-9FBE-963C093EFCD9}" type="slidenum">
              <a:rPr lang="en-US"/>
              <a:pPr>
                <a:defRPr/>
              </a:pPr>
              <a:t>‹#›</a:t>
            </a:fld>
            <a:endParaRPr lang="en-US"/>
          </a:p>
        </p:txBody>
      </p:sp>
    </p:spTree>
    <p:extLst>
      <p:ext uri="{BB962C8B-B14F-4D97-AF65-F5344CB8AC3E}">
        <p14:creationId xmlns:p14="http://schemas.microsoft.com/office/powerpoint/2010/main" val="149200529"/>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Lst>
  <p:transition spd="med">
    <p:fade/>
  </p:transition>
  <p:hf sldNum="0" hdr="0" ftr="0" dt="0"/>
  <p:txStyles>
    <p:titleStyle>
      <a:lvl1pPr algn="l" rtl="0" eaLnBrk="1" fontAlgn="base" hangingPunct="1">
        <a:lnSpc>
          <a:spcPct val="80000"/>
        </a:lnSpc>
        <a:spcBef>
          <a:spcPct val="0"/>
        </a:spcBef>
        <a:spcAft>
          <a:spcPct val="0"/>
        </a:spcAft>
        <a:defRPr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TEXT Black" panose="020B0A03020201060004" pitchFamily="34" charset="0"/>
        </a:defRPr>
      </a:lvl2pPr>
      <a:lvl3pPr algn="l" rtl="0" eaLnBrk="1" fontAlgn="base" hangingPunct="1">
        <a:lnSpc>
          <a:spcPct val="80000"/>
        </a:lnSpc>
        <a:spcBef>
          <a:spcPct val="0"/>
        </a:spcBef>
        <a:spcAft>
          <a:spcPct val="0"/>
        </a:spcAft>
        <a:defRPr kern="1200" cap="all">
          <a:solidFill>
            <a:schemeClr val="tx1"/>
          </a:solidFill>
          <a:latin typeface="adineue TEXT Black" panose="020B0A03020201060004" pitchFamily="34" charset="0"/>
        </a:defRPr>
      </a:lvl3pPr>
      <a:lvl4pPr algn="l" rtl="0" eaLnBrk="1" fontAlgn="base" hangingPunct="1">
        <a:lnSpc>
          <a:spcPct val="80000"/>
        </a:lnSpc>
        <a:spcBef>
          <a:spcPct val="0"/>
        </a:spcBef>
        <a:spcAft>
          <a:spcPct val="0"/>
        </a:spcAft>
        <a:defRPr kern="1200" cap="all">
          <a:solidFill>
            <a:schemeClr val="tx1"/>
          </a:solidFill>
          <a:latin typeface="adineue TEXT Black" panose="020B0A03020201060004" pitchFamily="34" charset="0"/>
        </a:defRPr>
      </a:lvl4pPr>
      <a:lvl5pPr algn="l" rtl="0" eaLnBrk="1" fontAlgn="base" hangingPunct="1">
        <a:lnSpc>
          <a:spcPct val="80000"/>
        </a:lnSpc>
        <a:spcBef>
          <a:spcPct val="0"/>
        </a:spcBef>
        <a:spcAft>
          <a:spcPct val="0"/>
        </a:spcAft>
        <a:defRPr kern="1200" cap="all">
          <a:solidFill>
            <a:schemeClr val="tx1"/>
          </a:solidFill>
          <a:latin typeface="adineue TEXT Black" panose="020B0A03020201060004"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800"/>
        </a:spcAft>
        <a:buSzPct val="90000"/>
        <a:buFont typeface="AdihausDIN" panose="020B0504020101020102" pitchFamily="34" charset="0"/>
        <a:defRPr sz="1500" kern="1200">
          <a:solidFill>
            <a:schemeClr val="tx1"/>
          </a:solidFill>
          <a:latin typeface="AdihausDIN" panose="020B0504020101020102" pitchFamily="34" charset="0"/>
          <a:ea typeface="+mn-ea"/>
          <a:cs typeface="AdihausDIN" panose="020B0504020101020102" pitchFamily="34" charset="0"/>
        </a:defRPr>
      </a:lvl1pPr>
      <a:lvl2pPr marL="238085" indent="-238085" algn="l" rtl="0" eaLnBrk="1" fontAlgn="base" hangingPunct="1">
        <a:lnSpc>
          <a:spcPct val="90000"/>
        </a:lnSpc>
        <a:spcBef>
          <a:spcPct val="0"/>
        </a:spcBef>
        <a:spcAft>
          <a:spcPts val="800"/>
        </a:spcAft>
        <a:buSzPct val="90000"/>
        <a:buFont typeface="Wingdings" panose="05000000000000000000" pitchFamily="2" charset="2"/>
        <a:buChar char="§"/>
        <a:defRPr sz="1500" kern="1200">
          <a:solidFill>
            <a:schemeClr val="tx1"/>
          </a:solidFill>
          <a:latin typeface="AdihausDIN" panose="020B0504020101020102" pitchFamily="34" charset="0"/>
          <a:ea typeface="+mn-ea"/>
          <a:cs typeface="AdihausDIN" panose="020B0504020101020102" pitchFamily="34" charset="0"/>
        </a:defRPr>
      </a:lvl2pPr>
      <a:lvl3pPr marL="239672" indent="-239672" algn="l" rtl="0" eaLnBrk="1" fontAlgn="base" hangingPunct="1">
        <a:lnSpc>
          <a:spcPct val="90000"/>
        </a:lnSpc>
        <a:spcBef>
          <a:spcPct val="0"/>
        </a:spcBef>
        <a:spcAft>
          <a:spcPts val="800"/>
        </a:spcAft>
        <a:buSzPct val="90000"/>
        <a:buFont typeface="adineue TEXT Black" panose="020B0A03020201060004" pitchFamily="34" charset="0"/>
        <a:buAutoNum type="arabicPeriod"/>
        <a:defRPr sz="1500" kern="1200">
          <a:solidFill>
            <a:schemeClr val="tx1"/>
          </a:solidFill>
          <a:latin typeface="AdihausDIN" panose="020B0504020101020102" pitchFamily="34" charset="0"/>
          <a:ea typeface="+mn-ea"/>
          <a:cs typeface="AdihausDIN" panose="020B0504020101020102" pitchFamily="34" charset="0"/>
        </a:defRPr>
      </a:lvl3pPr>
      <a:lvl4pPr marL="472994" indent="-238085" algn="l" rtl="0" eaLnBrk="1" fontAlgn="base" hangingPunct="1">
        <a:lnSpc>
          <a:spcPct val="90000"/>
        </a:lnSpc>
        <a:spcBef>
          <a:spcPct val="0"/>
        </a:spcBef>
        <a:spcAft>
          <a:spcPts val="800"/>
        </a:spcAft>
        <a:buSzPct val="90000"/>
        <a:buFont typeface="AdihausDIN" panose="020B0504020101020102" pitchFamily="34" charset="0"/>
        <a:buChar char="–"/>
        <a:defRPr sz="1500" kern="1200">
          <a:solidFill>
            <a:schemeClr val="tx1"/>
          </a:solidFill>
          <a:latin typeface="AdihausDIN" panose="020B0504020101020102" pitchFamily="34" charset="0"/>
          <a:ea typeface="+mn-ea"/>
          <a:cs typeface="AdihausDIN" panose="020B0504020101020102" pitchFamily="34" charset="0"/>
        </a:defRPr>
      </a:lvl4pPr>
      <a:lvl5pPr marL="477757" indent="-238085" algn="l" rtl="0" eaLnBrk="1" fontAlgn="base" hangingPunct="1">
        <a:lnSpc>
          <a:spcPct val="90000"/>
        </a:lnSpc>
        <a:spcBef>
          <a:spcPct val="0"/>
        </a:spcBef>
        <a:spcAft>
          <a:spcPts val="800"/>
        </a:spcAft>
        <a:buSzPct val="90000"/>
        <a:buFont typeface="adineue PRO" panose="020B0503020201060004" pitchFamily="34" charset="0"/>
        <a:buAutoNum type="arabicPeriod"/>
        <a:tabLst>
          <a:tab pos="1309464" algn="l"/>
        </a:tabLst>
        <a:defRPr sz="1500" kern="1200">
          <a:solidFill>
            <a:schemeClr val="tx1"/>
          </a:solidFill>
          <a:latin typeface="AdihausDIN" panose="020B0504020101020102" pitchFamily="34" charset="0"/>
          <a:ea typeface="+mn-ea"/>
          <a:cs typeface="AdihausDIN" panose="020B0504020101020102" pitchFamily="34" charset="0"/>
        </a:defRPr>
      </a:lvl5pPr>
      <a:lvl6pPr marL="0" indent="0" algn="l" defTabSz="1218630" rtl="0" eaLnBrk="1" latinLnBrk="0" hangingPunct="1">
        <a:lnSpc>
          <a:spcPct val="70000"/>
        </a:lnSpc>
        <a:spcBef>
          <a:spcPts val="794"/>
        </a:spcBef>
        <a:spcAft>
          <a:spcPts val="794"/>
        </a:spcAft>
        <a:buClrTx/>
        <a:buSzPct val="90000"/>
        <a:buFont typeface="Wingdings" pitchFamily="2" charset="2"/>
        <a:buNone/>
        <a:tabLst>
          <a:tab pos="1309605" algn="l"/>
        </a:tabLst>
        <a:defRPr sz="3173"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8630" rtl="0" eaLnBrk="1" latinLnBrk="0" hangingPunct="1">
        <a:lnSpc>
          <a:spcPct val="70000"/>
        </a:lnSpc>
        <a:spcBef>
          <a:spcPts val="794"/>
        </a:spcBef>
        <a:spcAft>
          <a:spcPts val="794"/>
        </a:spcAft>
        <a:buClrTx/>
        <a:buSzPct val="90000"/>
        <a:buFont typeface="Wingdings" pitchFamily="2" charset="2"/>
        <a:buNone/>
        <a:tabLst>
          <a:tab pos="1309605" algn="l"/>
        </a:tabLst>
        <a:defRPr sz="3173"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8630" rtl="0" eaLnBrk="1" latinLnBrk="0" hangingPunct="1">
        <a:lnSpc>
          <a:spcPct val="90000"/>
        </a:lnSpc>
        <a:spcBef>
          <a:spcPts val="800"/>
        </a:spcBef>
        <a:buClrTx/>
        <a:buSzPct val="90000"/>
        <a:buFont typeface="Wingdings" pitchFamily="2" charset="2"/>
        <a:buNone/>
        <a:tabLst>
          <a:tab pos="1309605"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8630" rtl="0" eaLnBrk="1" latinLnBrk="0" hangingPunct="1">
        <a:lnSpc>
          <a:spcPct val="90000"/>
        </a:lnSpc>
        <a:spcBef>
          <a:spcPts val="800"/>
        </a:spcBef>
        <a:buClrTx/>
        <a:buSzPct val="90000"/>
        <a:buFont typeface="Wingdings" pitchFamily="2" charset="2"/>
        <a:buNone/>
        <a:tabLst>
          <a:tab pos="1309605"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630" rtl="0" eaLnBrk="1" latinLnBrk="0" hangingPunct="1">
        <a:defRPr sz="2418" kern="1200">
          <a:solidFill>
            <a:schemeClr val="tx1"/>
          </a:solidFill>
          <a:latin typeface="+mn-lt"/>
          <a:ea typeface="+mn-ea"/>
          <a:cs typeface="+mn-cs"/>
        </a:defRPr>
      </a:lvl1pPr>
      <a:lvl2pPr marL="609316" algn="l" defTabSz="1218630" rtl="0" eaLnBrk="1" latinLnBrk="0" hangingPunct="1">
        <a:defRPr sz="2418" kern="1200">
          <a:solidFill>
            <a:schemeClr val="tx1"/>
          </a:solidFill>
          <a:latin typeface="+mn-lt"/>
          <a:ea typeface="+mn-ea"/>
          <a:cs typeface="+mn-cs"/>
        </a:defRPr>
      </a:lvl2pPr>
      <a:lvl3pPr marL="1218630" algn="l" defTabSz="1218630" rtl="0" eaLnBrk="1" latinLnBrk="0" hangingPunct="1">
        <a:defRPr sz="2418" kern="1200">
          <a:solidFill>
            <a:schemeClr val="tx1"/>
          </a:solidFill>
          <a:latin typeface="+mn-lt"/>
          <a:ea typeface="+mn-ea"/>
          <a:cs typeface="+mn-cs"/>
        </a:defRPr>
      </a:lvl3pPr>
      <a:lvl4pPr marL="1827945" algn="l" defTabSz="1218630" rtl="0" eaLnBrk="1" latinLnBrk="0" hangingPunct="1">
        <a:defRPr sz="2418" kern="1200">
          <a:solidFill>
            <a:schemeClr val="tx1"/>
          </a:solidFill>
          <a:latin typeface="+mn-lt"/>
          <a:ea typeface="+mn-ea"/>
          <a:cs typeface="+mn-cs"/>
        </a:defRPr>
      </a:lvl4pPr>
      <a:lvl5pPr marL="2437260" algn="l" defTabSz="1218630" rtl="0" eaLnBrk="1" latinLnBrk="0" hangingPunct="1">
        <a:defRPr sz="2418" kern="1200">
          <a:solidFill>
            <a:schemeClr val="tx1"/>
          </a:solidFill>
          <a:latin typeface="+mn-lt"/>
          <a:ea typeface="+mn-ea"/>
          <a:cs typeface="+mn-cs"/>
        </a:defRPr>
      </a:lvl5pPr>
      <a:lvl6pPr marL="3046576" algn="l" defTabSz="1218630" rtl="0" eaLnBrk="1" latinLnBrk="0" hangingPunct="1">
        <a:defRPr sz="2418" kern="1200">
          <a:solidFill>
            <a:schemeClr val="tx1"/>
          </a:solidFill>
          <a:latin typeface="+mn-lt"/>
          <a:ea typeface="+mn-ea"/>
          <a:cs typeface="+mn-cs"/>
        </a:defRPr>
      </a:lvl6pPr>
      <a:lvl7pPr marL="3655889" algn="l" defTabSz="1218630" rtl="0" eaLnBrk="1" latinLnBrk="0" hangingPunct="1">
        <a:defRPr sz="2418" kern="1200">
          <a:solidFill>
            <a:schemeClr val="tx1"/>
          </a:solidFill>
          <a:latin typeface="+mn-lt"/>
          <a:ea typeface="+mn-ea"/>
          <a:cs typeface="+mn-cs"/>
        </a:defRPr>
      </a:lvl7pPr>
      <a:lvl8pPr marL="4265205" algn="l" defTabSz="1218630" rtl="0" eaLnBrk="1" latinLnBrk="0" hangingPunct="1">
        <a:defRPr sz="2418" kern="1200">
          <a:solidFill>
            <a:schemeClr val="tx1"/>
          </a:solidFill>
          <a:latin typeface="+mn-lt"/>
          <a:ea typeface="+mn-ea"/>
          <a:cs typeface="+mn-cs"/>
        </a:defRPr>
      </a:lvl8pPr>
      <a:lvl9pPr marL="4874520" algn="l" defTabSz="1218630" rtl="0" eaLnBrk="1" latinLnBrk="0" hangingPunct="1">
        <a:defRPr sz="241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80672" y="382168"/>
            <a:ext cx="10286541" cy="761182"/>
          </a:xfrm>
          <a:prstGeom prst="rect">
            <a:avLst/>
          </a:prstGeom>
        </p:spPr>
        <p:txBody>
          <a:bodyPr vert="horz" lIns="0" tIns="0" rIns="0" bIns="0" rtlCol="0" anchor="t" anchorCtr="0">
            <a:noAutofit/>
          </a:bodyPr>
          <a:lstStyle/>
          <a:p>
            <a:pPr lvl="0"/>
            <a:endParaRPr lang="en-US" noProof="0"/>
          </a:p>
        </p:txBody>
      </p:sp>
      <p:sp>
        <p:nvSpPr>
          <p:cNvPr id="3" name="Text Placeholder 2"/>
          <p:cNvSpPr>
            <a:spLocks noGrp="1"/>
          </p:cNvSpPr>
          <p:nvPr>
            <p:ph type="body" idx="1"/>
          </p:nvPr>
        </p:nvSpPr>
        <p:spPr bwMode="gray">
          <a:xfrm>
            <a:off x="760293" y="1524469"/>
            <a:ext cx="9906919" cy="4191232"/>
          </a:xfrm>
          <a:prstGeom prst="rect">
            <a:avLst/>
          </a:prstGeom>
        </p:spPr>
        <p:txBody>
          <a:bodyPr vert="horz" lIns="0" tIns="0" rIns="0" bIns="0" rtlCol="0">
            <a:noAutofit/>
          </a:bodyPr>
          <a:lstStyle/>
          <a:p>
            <a:pPr lvl="0"/>
            <a:r>
              <a:rPr lang="en-US" noProof="0"/>
              <a:t>Click to edit Master text styles </a:t>
            </a:r>
            <a:endParaRPr lang="en-US"/>
          </a:p>
          <a:p>
            <a:pPr lvl="1"/>
            <a:r>
              <a:rPr lang="en-US" noProof="0"/>
              <a:t>Second level </a:t>
            </a:r>
            <a:endParaRPr lang="en-US"/>
          </a:p>
          <a:p>
            <a:pPr lvl="2"/>
            <a:r>
              <a:rPr lang="en-US" noProof="0"/>
              <a:t>Third level </a:t>
            </a:r>
            <a:endParaRPr lang="en-US"/>
          </a:p>
          <a:p>
            <a:pPr lvl="3"/>
            <a:r>
              <a:rPr lang="en-US" noProof="0"/>
              <a:t>Fourth level </a:t>
            </a:r>
            <a:endParaRPr lang="en-US"/>
          </a:p>
          <a:p>
            <a:pPr lvl="4"/>
            <a:r>
              <a:rPr lang="en-US" noProof="0"/>
              <a:t>Fifth level </a:t>
            </a:r>
            <a:endParaRPr lang="en-US"/>
          </a:p>
          <a:p>
            <a:pPr lvl="5"/>
            <a:r>
              <a:rPr lang="en-US" noProof="0"/>
              <a:t>Sixth Level</a:t>
            </a:r>
            <a:endParaRPr lang="en-US"/>
          </a:p>
          <a:p>
            <a:pPr lvl="6"/>
            <a:r>
              <a:rPr lang="en-US" noProof="0"/>
              <a:t>Seventh Level</a:t>
            </a:r>
            <a:endParaRPr lang="en-US"/>
          </a:p>
          <a:p>
            <a:pPr lvl="7"/>
            <a:r>
              <a:rPr lang="en-US" noProof="0" err="1"/>
              <a:t>Eighth</a:t>
            </a:r>
            <a:r>
              <a:rPr lang="en-US" noProof="0"/>
              <a:t> Level</a:t>
            </a:r>
            <a:endParaRPr lang="en-US"/>
          </a:p>
          <a:p>
            <a:pPr lvl="8"/>
            <a:r>
              <a:rPr lang="en-US" noProof="0" err="1"/>
              <a:t>Ninth</a:t>
            </a:r>
            <a:r>
              <a:rPr lang="en-US" noProof="0"/>
              <a:t> Level</a:t>
            </a:r>
          </a:p>
        </p:txBody>
      </p:sp>
      <p:sp>
        <p:nvSpPr>
          <p:cNvPr id="5" name="Slide Number Placeholder 11">
            <a:extLst>
              <a:ext uri="{FF2B5EF4-FFF2-40B4-BE49-F238E27FC236}">
                <a16:creationId xmlns:a16="http://schemas.microsoft.com/office/drawing/2014/main" id="{1D2799E3-5A7D-4A01-8450-454B418BFBE8}"/>
              </a:ext>
            </a:extLst>
          </p:cNvPr>
          <p:cNvSpPr>
            <a:spLocks noGrp="1"/>
          </p:cNvSpPr>
          <p:nvPr>
            <p:ph type="sldNum" sz="quarter" idx="4"/>
          </p:nvPr>
        </p:nvSpPr>
        <p:spPr>
          <a:xfrm>
            <a:off x="11432127" y="6572372"/>
            <a:ext cx="762393" cy="381063"/>
          </a:xfrm>
          <a:prstGeom prst="rect">
            <a:avLst/>
          </a:prstGeom>
        </p:spPr>
        <p:txBody>
          <a:bodyPr/>
          <a:lstStyle>
            <a:lvl1pPr>
              <a:defRPr sz="661"/>
            </a:lvl1pPr>
          </a:lstStyle>
          <a:p>
            <a:pPr>
              <a:defRPr/>
            </a:pPr>
            <a:fld id="{66C8B3C2-955F-42B1-8DED-EE47D723596C}" type="slidenum">
              <a:rPr lang="en-US" smtClean="0"/>
              <a:pPr>
                <a:defRPr/>
              </a:pPr>
              <a:t>‹#›</a:t>
            </a:fld>
            <a:endParaRPr lang="en-US"/>
          </a:p>
        </p:txBody>
      </p:sp>
    </p:spTree>
    <p:extLst>
      <p:ext uri="{BB962C8B-B14F-4D97-AF65-F5344CB8AC3E}">
        <p14:creationId xmlns:p14="http://schemas.microsoft.com/office/powerpoint/2010/main" val="60036680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1" r:id="rId33"/>
    <p:sldLayoutId id="2147483912" r:id="rId34"/>
    <p:sldLayoutId id="2147483913" r:id="rId35"/>
    <p:sldLayoutId id="2147483914" r:id="rId36"/>
    <p:sldLayoutId id="2147483915" r:id="rId37"/>
  </p:sldLayoutIdLst>
  <p:transition spd="med">
    <p:fade/>
  </p:transition>
  <p:hf sldNum="0" hdr="0" ftr="0" dt="0"/>
  <p:txStyles>
    <p:titleStyle>
      <a:lvl1pPr algn="l" rtl="0" eaLnBrk="1" fontAlgn="base" hangingPunct="1">
        <a:lnSpc>
          <a:spcPct val="80000"/>
        </a:lnSpc>
        <a:spcBef>
          <a:spcPct val="0"/>
        </a:spcBef>
        <a:spcAft>
          <a:spcPct val="0"/>
        </a:spcAft>
        <a:defRPr sz="1852"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AdihausDIN" panose="020B0504020101020102" pitchFamily="34" charset="0"/>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AdihausDIN" panose="020B0504020101020102" pitchFamily="34" charset="0"/>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AdihausDIN" panose="020B0504020101020102" pitchFamily="34" charset="0"/>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AdihausDIN" panose="020B0504020101020102" pitchFamily="34" charset="0"/>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adineue PRO" pitchFamily="34" charset="0"/>
        <a:buAutoNum type="arabicPeriod"/>
        <a:tabLst>
          <a:tab pos="1309777" algn="l"/>
        </a:tabLst>
        <a:defRPr sz="1587" kern="1200">
          <a:solidFill>
            <a:schemeClr val="tx1"/>
          </a:solidFill>
          <a:latin typeface="AdihausDIN" panose="020B0504020101020102" pitchFamily="34" charset="0"/>
          <a:ea typeface="+mn-ea"/>
          <a:cs typeface="AdihausDIN" panose="020B0504020101020102" pitchFamily="34" charset="0"/>
        </a:defRPr>
      </a:lvl5pPr>
      <a:lvl6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Black" panose="020B0A03020201060004" pitchFamily="34" charset="0"/>
          <a:ea typeface="+mn-ea"/>
          <a:cs typeface="AdihausDIN" panose="020B0504020101020102" pitchFamily="34" charset="0"/>
        </a:defRPr>
      </a:lvl6pPr>
      <a:lvl7pPr marL="0" indent="0" algn="l" defTabSz="1218838" rtl="0" eaLnBrk="1" latinLnBrk="0" hangingPunct="1">
        <a:lnSpc>
          <a:spcPct val="70000"/>
        </a:lnSpc>
        <a:spcBef>
          <a:spcPts val="794"/>
        </a:spcBef>
        <a:spcAft>
          <a:spcPts val="794"/>
        </a:spcAft>
        <a:buClrTx/>
        <a:buSzPct val="90000"/>
        <a:buFont typeface="Wingdings" pitchFamily="2" charset="2"/>
        <a:buNone/>
        <a:tabLst>
          <a:tab pos="1309829" algn="l"/>
        </a:tabLst>
        <a:defRPr sz="3174" b="0" i="0" kern="1200" cap="all" baseline="0">
          <a:solidFill>
            <a:schemeClr val="tx1"/>
          </a:solidFill>
          <a:latin typeface="adineue TEXT Light" panose="020B0303020201060004" pitchFamily="34" charset="0"/>
          <a:ea typeface="+mn-ea"/>
          <a:cs typeface="AdihausDIN" panose="020B0504020101020102" pitchFamily="34" charset="0"/>
        </a:defRPr>
      </a:lvl7pPr>
      <a:lvl8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800"/>
        </a:spcBef>
        <a:buClrTx/>
        <a:buSzPct val="90000"/>
        <a:buFont typeface="Wingdings" pitchFamily="2" charset="2"/>
        <a:buNone/>
        <a:tabLst>
          <a:tab pos="1309829" algn="l"/>
        </a:tabLst>
        <a:defRPr sz="1323" b="0" kern="1200">
          <a:solidFill>
            <a:schemeClr val="tx2"/>
          </a:solidFill>
          <a:latin typeface="AdihausDIN" panose="020B0504020101020102" pitchFamily="34" charset="0"/>
          <a:ea typeface="+mn-ea"/>
          <a:cs typeface="AdihausDIN" panose="020B0504020101020102" pitchFamily="34" charset="0"/>
        </a:defRPr>
      </a:lvl9pPr>
    </p:bodyStyle>
    <p:otherStyle>
      <a:defPPr>
        <a:defRPr lang="en-US"/>
      </a:defPPr>
      <a:lvl1pPr marL="0" algn="l" defTabSz="1218838" rtl="0" eaLnBrk="1" latinLnBrk="0" hangingPunct="1">
        <a:defRPr sz="2418" kern="1200">
          <a:solidFill>
            <a:schemeClr val="tx1"/>
          </a:solidFill>
          <a:latin typeface="+mn-lt"/>
          <a:ea typeface="+mn-ea"/>
          <a:cs typeface="+mn-cs"/>
        </a:defRPr>
      </a:lvl1pPr>
      <a:lvl2pPr marL="609421" algn="l" defTabSz="1218838" rtl="0" eaLnBrk="1" latinLnBrk="0" hangingPunct="1">
        <a:defRPr sz="2418" kern="1200">
          <a:solidFill>
            <a:schemeClr val="tx1"/>
          </a:solidFill>
          <a:latin typeface="+mn-lt"/>
          <a:ea typeface="+mn-ea"/>
          <a:cs typeface="+mn-cs"/>
        </a:defRPr>
      </a:lvl2pPr>
      <a:lvl3pPr marL="1218838" algn="l" defTabSz="1218838" rtl="0" eaLnBrk="1" latinLnBrk="0" hangingPunct="1">
        <a:defRPr sz="2418" kern="1200">
          <a:solidFill>
            <a:schemeClr val="tx1"/>
          </a:solidFill>
          <a:latin typeface="+mn-lt"/>
          <a:ea typeface="+mn-ea"/>
          <a:cs typeface="+mn-cs"/>
        </a:defRPr>
      </a:lvl3pPr>
      <a:lvl4pPr marL="1828258" algn="l" defTabSz="1218838" rtl="0" eaLnBrk="1" latinLnBrk="0" hangingPunct="1">
        <a:defRPr sz="2418" kern="1200">
          <a:solidFill>
            <a:schemeClr val="tx1"/>
          </a:solidFill>
          <a:latin typeface="+mn-lt"/>
          <a:ea typeface="+mn-ea"/>
          <a:cs typeface="+mn-cs"/>
        </a:defRPr>
      </a:lvl4pPr>
      <a:lvl5pPr marL="2437677" algn="l" defTabSz="1218838" rtl="0" eaLnBrk="1" latinLnBrk="0" hangingPunct="1">
        <a:defRPr sz="2418" kern="1200">
          <a:solidFill>
            <a:schemeClr val="tx1"/>
          </a:solidFill>
          <a:latin typeface="+mn-lt"/>
          <a:ea typeface="+mn-ea"/>
          <a:cs typeface="+mn-cs"/>
        </a:defRPr>
      </a:lvl5pPr>
      <a:lvl6pPr marL="3047097" algn="l" defTabSz="1218838" rtl="0" eaLnBrk="1" latinLnBrk="0" hangingPunct="1">
        <a:defRPr sz="2418" kern="1200">
          <a:solidFill>
            <a:schemeClr val="tx1"/>
          </a:solidFill>
          <a:latin typeface="+mn-lt"/>
          <a:ea typeface="+mn-ea"/>
          <a:cs typeface="+mn-cs"/>
        </a:defRPr>
      </a:lvl6pPr>
      <a:lvl7pPr marL="3656514" algn="l" defTabSz="1218838" rtl="0" eaLnBrk="1" latinLnBrk="0" hangingPunct="1">
        <a:defRPr sz="2418" kern="1200">
          <a:solidFill>
            <a:schemeClr val="tx1"/>
          </a:solidFill>
          <a:latin typeface="+mn-lt"/>
          <a:ea typeface="+mn-ea"/>
          <a:cs typeface="+mn-cs"/>
        </a:defRPr>
      </a:lvl7pPr>
      <a:lvl8pPr marL="4265935" algn="l" defTabSz="1218838" rtl="0" eaLnBrk="1" latinLnBrk="0" hangingPunct="1">
        <a:defRPr sz="2418" kern="1200">
          <a:solidFill>
            <a:schemeClr val="tx1"/>
          </a:solidFill>
          <a:latin typeface="+mn-lt"/>
          <a:ea typeface="+mn-ea"/>
          <a:cs typeface="+mn-cs"/>
        </a:defRPr>
      </a:lvl8pPr>
      <a:lvl9pPr marL="4875354" algn="l" defTabSz="1218838" rtl="0" eaLnBrk="1" latinLnBrk="0" hangingPunct="1">
        <a:defRPr sz="241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76.xml"/><Relationship Id="rId6" Type="http://schemas.openxmlformats.org/officeDocument/2006/relationships/image" Target="../media/image11.jpeg"/><Relationship Id="rId5" Type="http://schemas.openxmlformats.org/officeDocument/2006/relationships/image" Target="../media/image10.jpe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261.xml"/><Relationship Id="rId5" Type="http://schemas.openxmlformats.org/officeDocument/2006/relationships/image" Target="../media/image37.jpe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Layout" Target="../slideLayouts/slideLayout309.xml"/><Relationship Id="rId1" Type="http://schemas.openxmlformats.org/officeDocument/2006/relationships/tags" Target="../tags/tag35.xml"/></Relationships>
</file>

<file path=ppt/slides/_rels/slide15.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38.xml"/><Relationship Id="rId7" Type="http://schemas.openxmlformats.org/officeDocument/2006/relationships/image" Target="../media/image41.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0.jpeg"/><Relationship Id="rId5" Type="http://schemas.openxmlformats.org/officeDocument/2006/relationships/slideLayout" Target="../slideLayouts/slideLayout320.xml"/><Relationship Id="rId4" Type="http://schemas.openxmlformats.org/officeDocument/2006/relationships/tags" Target="../tags/tag39.xml"/><Relationship Id="rId9" Type="http://schemas.openxmlformats.org/officeDocument/2006/relationships/image" Target="../media/image43.jpeg"/></Relationships>
</file>

<file path=ppt/slides/_rels/slide16.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jpe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image" Target="../media/image44.jpeg"/><Relationship Id="rId1" Type="http://schemas.openxmlformats.org/officeDocument/2006/relationships/slideLayout" Target="../slideLayouts/slideLayout296.xml"/><Relationship Id="rId6" Type="http://schemas.openxmlformats.org/officeDocument/2006/relationships/image" Target="../media/image48.sv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1.png"/><Relationship Id="rId3" Type="http://schemas.openxmlformats.org/officeDocument/2006/relationships/slideLayout" Target="../slideLayouts/slideLayout14.xml"/><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tags" Target="../tags/tag34.xml"/><Relationship Id="rId1" Type="http://schemas.openxmlformats.org/officeDocument/2006/relationships/vmlDrawing" Target="../drawings/vmlDrawing22.vml"/><Relationship Id="rId6" Type="http://schemas.openxmlformats.org/officeDocument/2006/relationships/image" Target="../media/image14.emf"/><Relationship Id="rId11" Type="http://schemas.openxmlformats.org/officeDocument/2006/relationships/image" Target="../media/image19.png"/><Relationship Id="rId5" Type="http://schemas.openxmlformats.org/officeDocument/2006/relationships/oleObject" Target="../embeddings/oleObject22.bin"/><Relationship Id="rId10" Type="http://schemas.openxmlformats.org/officeDocument/2006/relationships/image" Target="../media/image18.svg"/><Relationship Id="rId4" Type="http://schemas.openxmlformats.org/officeDocument/2006/relationships/notesSlide" Target="../notesSlides/notesSlide3.xml"/><Relationship Id="rId9" Type="http://schemas.openxmlformats.org/officeDocument/2006/relationships/image" Target="../media/image17.png"/><Relationship Id="rId14" Type="http://schemas.openxmlformats.org/officeDocument/2006/relationships/image" Target="../media/image22.svg"/></Relationships>
</file>

<file path=ppt/slides/_rels/slide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224.xml"/><Relationship Id="rId4"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61.xml"/><Relationship Id="rId5" Type="http://schemas.openxmlformats.org/officeDocument/2006/relationships/image" Target="../media/image29.emf"/><Relationship Id="rId4" Type="http://schemas.openxmlformats.org/officeDocument/2006/relationships/image" Target="../media/image28.sv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grayscl/>
            <a:extLst>
              <a:ext uri="{BEBA8EAE-BF5A-486C-A8C5-ECC9F3942E4B}">
                <a14:imgProps xmlns:a14="http://schemas.microsoft.com/office/drawing/2010/main">
                  <a14:imgLayer r:embed="rId4">
                    <a14:imgEffect>
                      <a14:colorTemperature colorTemp="7035"/>
                    </a14:imgEffect>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DAFF0F8-6873-B94B-8C80-ED1CE916E087}"/>
              </a:ext>
            </a:extLst>
          </p:cNvPr>
          <p:cNvSpPr/>
          <p:nvPr/>
        </p:nvSpPr>
        <p:spPr bwMode="gray">
          <a:xfrm>
            <a:off x="1283" y="1"/>
            <a:ext cx="12189434" cy="6858000"/>
          </a:xfrm>
          <a:prstGeom prst="rect">
            <a:avLst/>
          </a:prstGeom>
          <a:solidFill>
            <a:srgbClr val="FFFFFF">
              <a:alpha val="20000"/>
            </a:srgb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90000"/>
              </a:lnSpc>
              <a:spcBef>
                <a:spcPct val="0"/>
              </a:spcBef>
              <a:spcAft>
                <a:spcPts val="794"/>
              </a:spcAft>
              <a:buClrTx/>
              <a:buSzTx/>
              <a:buFontTx/>
              <a:buNone/>
              <a:tabLst/>
              <a:defRPr/>
            </a:pPr>
            <a:endParaRPr kumimoji="0" lang="de-DE" sz="1587"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6" name="Picture 15" descr="A person standing posing for the camera&#10;&#10;Description automatically generated">
            <a:extLst>
              <a:ext uri="{FF2B5EF4-FFF2-40B4-BE49-F238E27FC236}">
                <a16:creationId xmlns:a16="http://schemas.microsoft.com/office/drawing/2014/main" id="{E1D1C01D-1920-A644-83B7-C548B362C17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95404" y="1463070"/>
            <a:ext cx="3301452" cy="3301452"/>
          </a:xfrm>
          <a:prstGeom prst="ellipse">
            <a:avLst/>
          </a:prstGeom>
          <a:noFill/>
          <a:ln w="25400" cap="flat" cmpd="sng" algn="ctr">
            <a:solidFill>
              <a:schemeClr val="accent1">
                <a:lumMod val="60000"/>
                <a:lumOff val="40000"/>
              </a:schemeClr>
            </a:solidFill>
            <a:prstDash val="solid"/>
          </a:ln>
          <a:effectLst/>
        </p:spPr>
      </p:pic>
      <p:sp>
        <p:nvSpPr>
          <p:cNvPr id="12" name="Rectangle 11">
            <a:extLst>
              <a:ext uri="{FF2B5EF4-FFF2-40B4-BE49-F238E27FC236}">
                <a16:creationId xmlns:a16="http://schemas.microsoft.com/office/drawing/2014/main" id="{5F9CF0C3-3F2A-234B-994F-A479917AEFE6}"/>
              </a:ext>
            </a:extLst>
          </p:cNvPr>
          <p:cNvSpPr/>
          <p:nvPr/>
        </p:nvSpPr>
        <p:spPr bwMode="gray">
          <a:xfrm>
            <a:off x="395404" y="4425837"/>
            <a:ext cx="3462222" cy="1160575"/>
          </a:xfrm>
          <a:prstGeom prst="rect">
            <a:avLst/>
          </a:prstGeom>
          <a:solidFill>
            <a:schemeClr val="accent3">
              <a:alpha val="8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dineue TEXT Black"/>
              <a:ea typeface="+mn-ea"/>
              <a:cs typeface="AdihausDIN Cn" panose="020B0506020101010102" pitchFamily="34" charset="0"/>
            </a:endParaRPr>
          </a:p>
        </p:txBody>
      </p:sp>
      <p:sp>
        <p:nvSpPr>
          <p:cNvPr id="13" name="Textplatzhalter 4">
            <a:extLst>
              <a:ext uri="{FF2B5EF4-FFF2-40B4-BE49-F238E27FC236}">
                <a16:creationId xmlns:a16="http://schemas.microsoft.com/office/drawing/2014/main" id="{65CBC432-6048-7F43-9555-E689354B8E0D}"/>
              </a:ext>
            </a:extLst>
          </p:cNvPr>
          <p:cNvSpPr txBox="1">
            <a:spLocks/>
          </p:cNvSpPr>
          <p:nvPr/>
        </p:nvSpPr>
        <p:spPr bwMode="gray">
          <a:xfrm>
            <a:off x="-165185" y="4592588"/>
            <a:ext cx="4761715" cy="1318932"/>
          </a:xfrm>
          <a:prstGeom prst="rect">
            <a:avLst/>
          </a:prstGeom>
        </p:spPr>
        <p:txBody>
          <a:bodyPr vert="horz" lIns="0" tIns="0" rIns="188489" bIns="0" rtlCol="0" anchor="t">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0" marR="0" lvl="0" indent="0" algn="ctr" defTabSz="1200164" rtl="0" eaLnBrk="1" fontAlgn="auto" latinLnBrk="0" hangingPunct="1">
              <a:lnSpc>
                <a:spcPct val="100000"/>
              </a:lnSpc>
              <a:spcBef>
                <a:spcPts val="0"/>
              </a:spcBef>
              <a:spcAft>
                <a:spcPts val="1312"/>
              </a:spcAft>
              <a:buClrTx/>
              <a:buSzPct val="90000"/>
              <a:buFont typeface="AdihausDIN" pitchFamily="34" charset="0"/>
              <a:buNone/>
              <a:tabLst/>
              <a:defRPr/>
            </a:pPr>
            <a:r>
              <a:rPr kumimoji="0" lang="en-US" sz="2000" b="0" i="0" u="none" strike="noStrike" kern="1200" cap="none" spc="0" normalizeH="0" baseline="0" noProof="0" dirty="0">
                <a:ln>
                  <a:noFill/>
                </a:ln>
                <a:solidFill>
                  <a:prstClr val="white"/>
                </a:solidFill>
                <a:effectLst/>
                <a:uLnTx/>
                <a:uFillTx/>
                <a:latin typeface="adineue TEXT Black"/>
                <a:ea typeface="+mn-ea"/>
                <a:cs typeface="AdihausDIN"/>
              </a:rPr>
              <a:t>FERNANDO CORNAGO</a:t>
            </a:r>
          </a:p>
          <a:p>
            <a:pPr marL="0" marR="0" lvl="0" indent="0" algn="ctr" defTabSz="1200164" rtl="0" eaLnBrk="1" fontAlgn="auto" latinLnBrk="0" hangingPunct="1">
              <a:lnSpc>
                <a:spcPct val="100000"/>
              </a:lnSpc>
              <a:spcBef>
                <a:spcPts val="0"/>
              </a:spcBef>
              <a:spcAft>
                <a:spcPts val="1312"/>
              </a:spcAft>
              <a:buClrTx/>
              <a:buSzPct val="90000"/>
              <a:buFont typeface="AdihausDIN" pitchFamily="34" charset="0"/>
              <a:buNone/>
              <a:tabLst/>
              <a:defRPr/>
            </a:pPr>
            <a:r>
              <a:rPr kumimoji="0" lang="en-US" sz="1200" b="0" i="0" u="none" strike="noStrike" kern="1200" cap="none" spc="0" normalizeH="0" baseline="0" noProof="0" dirty="0">
                <a:ln>
                  <a:noFill/>
                </a:ln>
                <a:solidFill>
                  <a:prstClr val="white"/>
                </a:solidFill>
                <a:effectLst/>
                <a:uLnTx/>
                <a:uFillTx/>
                <a:latin typeface="adineue TEXT Black"/>
                <a:ea typeface="+mn-ea"/>
                <a:cs typeface="AdihausDIN"/>
              </a:rPr>
              <a:t>VP DIGITAL TECH</a:t>
            </a:r>
          </a:p>
        </p:txBody>
      </p:sp>
      <p:pic>
        <p:nvPicPr>
          <p:cNvPr id="11" name="Picture 10">
            <a:extLst>
              <a:ext uri="{FF2B5EF4-FFF2-40B4-BE49-F238E27FC236}">
                <a16:creationId xmlns:a16="http://schemas.microsoft.com/office/drawing/2014/main" id="{4DD15064-8A11-AE49-B08A-030F7114AA1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1209"/>
          <a:stretch/>
        </p:blipFill>
        <p:spPr>
          <a:xfrm>
            <a:off x="4418215" y="1468768"/>
            <a:ext cx="3295754" cy="3295754"/>
          </a:xfrm>
          <a:prstGeom prst="ellipse">
            <a:avLst/>
          </a:prstGeom>
          <a:noFill/>
          <a:ln w="25400" cap="flat" cmpd="sng" algn="ctr">
            <a:solidFill>
              <a:schemeClr val="accent1">
                <a:lumMod val="60000"/>
                <a:lumOff val="40000"/>
              </a:schemeClr>
            </a:solidFill>
            <a:prstDash val="solid"/>
          </a:ln>
          <a:effectLst/>
        </p:spPr>
      </p:pic>
      <p:sp>
        <p:nvSpPr>
          <p:cNvPr id="15" name="Rectangle 14">
            <a:extLst>
              <a:ext uri="{FF2B5EF4-FFF2-40B4-BE49-F238E27FC236}">
                <a16:creationId xmlns:a16="http://schemas.microsoft.com/office/drawing/2014/main" id="{B247E750-9DEF-2A43-BA2A-E643BABEB786}"/>
              </a:ext>
            </a:extLst>
          </p:cNvPr>
          <p:cNvSpPr/>
          <p:nvPr/>
        </p:nvSpPr>
        <p:spPr bwMode="gray">
          <a:xfrm>
            <a:off x="4418215" y="4425837"/>
            <a:ext cx="3462222" cy="1160575"/>
          </a:xfrm>
          <a:prstGeom prst="rect">
            <a:avLst/>
          </a:prstGeom>
          <a:solidFill>
            <a:schemeClr val="accent3">
              <a:alpha val="8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dineue TEXT Black"/>
              <a:ea typeface="+mn-ea"/>
              <a:cs typeface="AdihausDIN Cn" panose="020B0506020101010102" pitchFamily="34" charset="0"/>
            </a:endParaRPr>
          </a:p>
        </p:txBody>
      </p:sp>
      <p:sp>
        <p:nvSpPr>
          <p:cNvPr id="19" name="Textplatzhalter 4">
            <a:extLst>
              <a:ext uri="{FF2B5EF4-FFF2-40B4-BE49-F238E27FC236}">
                <a16:creationId xmlns:a16="http://schemas.microsoft.com/office/drawing/2014/main" id="{A036EA75-6C4E-5743-BB23-25AAB6ABB730}"/>
              </a:ext>
            </a:extLst>
          </p:cNvPr>
          <p:cNvSpPr txBox="1">
            <a:spLocks/>
          </p:cNvSpPr>
          <p:nvPr/>
        </p:nvSpPr>
        <p:spPr bwMode="gray">
          <a:xfrm>
            <a:off x="3857626" y="4592588"/>
            <a:ext cx="4761715" cy="1318932"/>
          </a:xfrm>
          <a:prstGeom prst="rect">
            <a:avLst/>
          </a:prstGeom>
        </p:spPr>
        <p:txBody>
          <a:bodyPr vert="horz" lIns="0" tIns="0" rIns="188489" bIns="0" rtlCol="0" anchor="t">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0" marR="0" lvl="0" indent="0" algn="ctr" defTabSz="1200164" rtl="0" eaLnBrk="1" fontAlgn="auto" latinLnBrk="0" hangingPunct="1">
              <a:lnSpc>
                <a:spcPct val="100000"/>
              </a:lnSpc>
              <a:spcBef>
                <a:spcPts val="0"/>
              </a:spcBef>
              <a:spcAft>
                <a:spcPts val="1312"/>
              </a:spcAft>
              <a:buClrTx/>
              <a:buSzPct val="90000"/>
              <a:buFont typeface="AdihausDIN" pitchFamily="34" charset="0"/>
              <a:buNone/>
              <a:tabLst/>
              <a:defRPr/>
            </a:pPr>
            <a:r>
              <a:rPr kumimoji="0" lang="en-US" sz="2000" b="0" i="0" u="none" strike="noStrike" kern="1200" cap="none" spc="0" normalizeH="0" baseline="0" noProof="0" dirty="0">
                <a:ln>
                  <a:noFill/>
                </a:ln>
                <a:solidFill>
                  <a:prstClr val="white"/>
                </a:solidFill>
                <a:effectLst/>
                <a:uLnTx/>
                <a:uFillTx/>
                <a:latin typeface="adineue TEXT Black"/>
                <a:ea typeface="+mn-ea"/>
                <a:cs typeface="AdihausDIN"/>
              </a:rPr>
              <a:t>VIKALP YADAV</a:t>
            </a:r>
          </a:p>
          <a:p>
            <a:pPr marL="0" marR="0" lvl="0" indent="0" algn="ctr" defTabSz="1200164" rtl="0" eaLnBrk="1" fontAlgn="auto" latinLnBrk="0" hangingPunct="1">
              <a:lnSpc>
                <a:spcPct val="100000"/>
              </a:lnSpc>
              <a:spcBef>
                <a:spcPts val="0"/>
              </a:spcBef>
              <a:spcAft>
                <a:spcPts val="1312"/>
              </a:spcAft>
              <a:buClrTx/>
              <a:buSzPct val="90000"/>
              <a:buFont typeface="AdihausDIN" pitchFamily="34" charset="0"/>
              <a:buNone/>
              <a:tabLst/>
              <a:defRPr/>
            </a:pPr>
            <a:r>
              <a:rPr kumimoji="0" lang="en-US" sz="1200" b="0" i="0" u="none" strike="noStrike" kern="1200" cap="none" spc="0" normalizeH="0" baseline="0" noProof="0" dirty="0">
                <a:ln>
                  <a:noFill/>
                </a:ln>
                <a:solidFill>
                  <a:prstClr val="white"/>
                </a:solidFill>
                <a:effectLst/>
                <a:uLnTx/>
                <a:uFillTx/>
                <a:latin typeface="adineue TEXT Black"/>
                <a:ea typeface="+mn-ea"/>
                <a:cs typeface="AdihausDIN"/>
              </a:rPr>
              <a:t>SR.DIRECTOR DIGITAL SRE OPERATIONS</a:t>
            </a:r>
          </a:p>
        </p:txBody>
      </p:sp>
      <p:pic>
        <p:nvPicPr>
          <p:cNvPr id="20" name="Picture 19">
            <a:extLst>
              <a:ext uri="{FF2B5EF4-FFF2-40B4-BE49-F238E27FC236}">
                <a16:creationId xmlns:a16="http://schemas.microsoft.com/office/drawing/2014/main" id="{BEA39222-4325-7545-BE04-184D82E42AFE}"/>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436796" y="1463070"/>
            <a:ext cx="3301452" cy="3301452"/>
          </a:xfrm>
          <a:prstGeom prst="ellipse">
            <a:avLst/>
          </a:prstGeom>
          <a:noFill/>
          <a:ln w="25400" cap="flat" cmpd="sng" algn="ctr">
            <a:solidFill>
              <a:schemeClr val="accent1">
                <a:lumMod val="60000"/>
                <a:lumOff val="40000"/>
              </a:schemeClr>
            </a:solidFill>
            <a:prstDash val="solid"/>
          </a:ln>
          <a:effectLst/>
        </p:spPr>
      </p:pic>
      <p:sp>
        <p:nvSpPr>
          <p:cNvPr id="21" name="Rectangle 20">
            <a:extLst>
              <a:ext uri="{FF2B5EF4-FFF2-40B4-BE49-F238E27FC236}">
                <a16:creationId xmlns:a16="http://schemas.microsoft.com/office/drawing/2014/main" id="{1A7526A5-F616-884D-A6FF-DE36811CA7A9}"/>
              </a:ext>
            </a:extLst>
          </p:cNvPr>
          <p:cNvSpPr/>
          <p:nvPr/>
        </p:nvSpPr>
        <p:spPr bwMode="gray">
          <a:xfrm>
            <a:off x="8436796" y="4425837"/>
            <a:ext cx="3462222" cy="1160575"/>
          </a:xfrm>
          <a:prstGeom prst="rect">
            <a:avLst/>
          </a:prstGeom>
          <a:solidFill>
            <a:schemeClr val="accent3">
              <a:alpha val="8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dineue TEXT Black"/>
              <a:ea typeface="+mn-ea"/>
              <a:cs typeface="AdihausDIN Cn" panose="020B0506020101010102" pitchFamily="34" charset="0"/>
            </a:endParaRPr>
          </a:p>
        </p:txBody>
      </p:sp>
      <p:sp>
        <p:nvSpPr>
          <p:cNvPr id="22" name="Textplatzhalter 4">
            <a:extLst>
              <a:ext uri="{FF2B5EF4-FFF2-40B4-BE49-F238E27FC236}">
                <a16:creationId xmlns:a16="http://schemas.microsoft.com/office/drawing/2014/main" id="{E35F2CCD-C932-2B43-8461-C0789333C74A}"/>
              </a:ext>
            </a:extLst>
          </p:cNvPr>
          <p:cNvSpPr txBox="1">
            <a:spLocks/>
          </p:cNvSpPr>
          <p:nvPr/>
        </p:nvSpPr>
        <p:spPr bwMode="gray">
          <a:xfrm>
            <a:off x="7876207" y="4592588"/>
            <a:ext cx="4761715" cy="1318932"/>
          </a:xfrm>
          <a:prstGeom prst="rect">
            <a:avLst/>
          </a:prstGeom>
        </p:spPr>
        <p:txBody>
          <a:bodyPr vert="horz" lIns="0" tIns="0" rIns="188489" bIns="0" rtlCol="0" anchor="t">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0" marR="0" lvl="0" indent="0" algn="ctr" defTabSz="1200164" rtl="0" eaLnBrk="1" fontAlgn="auto" latinLnBrk="0" hangingPunct="1">
              <a:lnSpc>
                <a:spcPct val="100000"/>
              </a:lnSpc>
              <a:spcBef>
                <a:spcPts val="0"/>
              </a:spcBef>
              <a:spcAft>
                <a:spcPts val="1312"/>
              </a:spcAft>
              <a:buClrTx/>
              <a:buSzPct val="90000"/>
              <a:buFont typeface="AdihausDIN" pitchFamily="34" charset="0"/>
              <a:buNone/>
              <a:tabLst/>
              <a:defRPr/>
            </a:pPr>
            <a:r>
              <a:rPr kumimoji="0" lang="en-US" sz="2000" b="0" i="0" u="none" strike="noStrike" kern="1200" cap="none" spc="0" normalizeH="0" baseline="0" noProof="0" dirty="0">
                <a:ln>
                  <a:noFill/>
                </a:ln>
                <a:solidFill>
                  <a:prstClr val="white"/>
                </a:solidFill>
                <a:effectLst/>
                <a:uLnTx/>
                <a:uFillTx/>
                <a:latin typeface="adineue TEXT Black"/>
                <a:ea typeface="+mn-ea"/>
                <a:cs typeface="AdihausDIN"/>
              </a:rPr>
              <a:t>ANDREIA OTTO</a:t>
            </a:r>
          </a:p>
          <a:p>
            <a:pPr marL="0" marR="0" lvl="0" indent="0" algn="ctr" defTabSz="1200164" rtl="0" eaLnBrk="1" fontAlgn="auto" latinLnBrk="0" hangingPunct="1">
              <a:lnSpc>
                <a:spcPct val="100000"/>
              </a:lnSpc>
              <a:spcBef>
                <a:spcPts val="0"/>
              </a:spcBef>
              <a:spcAft>
                <a:spcPts val="1312"/>
              </a:spcAft>
              <a:buClrTx/>
              <a:buSzPct val="90000"/>
              <a:buFont typeface="AdihausDIN" pitchFamily="34" charset="0"/>
              <a:buNone/>
              <a:tabLst/>
              <a:defRPr/>
            </a:pPr>
            <a:r>
              <a:rPr kumimoji="0" lang="en-US" sz="1200" b="0" i="0" u="none" strike="noStrike" kern="1200" cap="none" spc="0" normalizeH="0" baseline="0" noProof="0" dirty="0">
                <a:ln>
                  <a:noFill/>
                </a:ln>
                <a:solidFill>
                  <a:prstClr val="white"/>
                </a:solidFill>
                <a:effectLst/>
                <a:uLnTx/>
                <a:uFillTx/>
                <a:latin typeface="adineue TEXT Black"/>
                <a:ea typeface="+mn-ea"/>
                <a:cs typeface="AdihausDIN"/>
              </a:rPr>
              <a:t>SRE CHAMPION </a:t>
            </a:r>
            <a:r>
              <a:rPr kumimoji="0" lang="en-US" sz="1200" b="0" i="0" u="none" strike="noStrike" kern="1200" cap="none" spc="0" normalizeH="0" baseline="0" noProof="0" dirty="0" err="1">
                <a:ln>
                  <a:noFill/>
                </a:ln>
                <a:solidFill>
                  <a:prstClr val="white"/>
                </a:solidFill>
                <a:effectLst/>
                <a:uLnTx/>
                <a:uFillTx/>
                <a:latin typeface="adineue TEXT Black"/>
                <a:ea typeface="+mn-ea"/>
                <a:cs typeface="AdihausDIN"/>
              </a:rPr>
              <a:t>WnM</a:t>
            </a:r>
            <a:r>
              <a:rPr kumimoji="0" lang="en-US" sz="1200" b="0" i="0" u="none" strike="noStrike" kern="1200" cap="none" spc="0" normalizeH="0" baseline="0" noProof="0" dirty="0">
                <a:ln>
                  <a:noFill/>
                </a:ln>
                <a:solidFill>
                  <a:prstClr val="white"/>
                </a:solidFill>
                <a:effectLst/>
                <a:uLnTx/>
                <a:uFillTx/>
                <a:latin typeface="adineue TEXT Black"/>
                <a:ea typeface="+mn-ea"/>
                <a:cs typeface="AdihausDIN"/>
              </a:rPr>
              <a:t> SERVICES</a:t>
            </a:r>
          </a:p>
        </p:txBody>
      </p:sp>
    </p:spTree>
    <p:extLst>
      <p:ext uri="{BB962C8B-B14F-4D97-AF65-F5344CB8AC3E}">
        <p14:creationId xmlns:p14="http://schemas.microsoft.com/office/powerpoint/2010/main" val="4294279443"/>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43010" name="Picture 2" descr="10 of the greatest athletics moments of triumph over adversity| News">
            <a:extLst>
              <a:ext uri="{FF2B5EF4-FFF2-40B4-BE49-F238E27FC236}">
                <a16:creationId xmlns:a16="http://schemas.microsoft.com/office/drawing/2014/main" id="{979E73CA-22A8-EC44-A903-06A5ABCE1F5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1"/>
          <a:stretch/>
        </p:blipFill>
        <p:spPr bwMode="auto">
          <a:xfrm>
            <a:off x="321733" y="321733"/>
            <a:ext cx="11548534" cy="6214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2164168"/>
      </p:ext>
    </p:extLst>
  </p:cSld>
  <p:clrMapOvr>
    <a:overrideClrMapping bg1="dk1" tx1="lt1" bg2="dk2" tx2="lt2" accent1="accent1" accent2="accent2" accent3="accent3" accent4="accent4" accent5="accent5" accent6="accent6" hlink="hlink" folHlink="folHlink"/>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40962" name="Picture 2" descr="New York City Marathon | City marathon, Nyc marathon, New york marathon">
            <a:extLst>
              <a:ext uri="{FF2B5EF4-FFF2-40B4-BE49-F238E27FC236}">
                <a16:creationId xmlns:a16="http://schemas.microsoft.com/office/drawing/2014/main" id="{3080FD8D-207A-064A-A310-9E8DBB365274}"/>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r="-1" b="-2"/>
          <a:stretch/>
        </p:blipFill>
        <p:spPr bwMode="auto">
          <a:xfrm>
            <a:off x="321733" y="321733"/>
            <a:ext cx="11548534" cy="6214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278536"/>
      </p:ext>
    </p:extLst>
  </p:cSld>
  <p:clrMapOvr>
    <a:overrideClrMapping bg1="dk1" tx1="lt1" bg2="dk2" tx2="lt2" accent1="accent1" accent2="accent2" accent3="accent3" accent4="accent4" accent5="accent5" accent6="accent6" hlink="hlink" folHlink="folHlink"/>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Title 31">
            <a:extLst>
              <a:ext uri="{FF2B5EF4-FFF2-40B4-BE49-F238E27FC236}">
                <a16:creationId xmlns:a16="http://schemas.microsoft.com/office/drawing/2014/main" id="{3A6AA1CC-DDC4-9F46-B0AB-DD9A02F4B216}"/>
              </a:ext>
            </a:extLst>
          </p:cNvPr>
          <p:cNvSpPr>
            <a:spLocks noGrp="1"/>
          </p:cNvSpPr>
          <p:nvPr>
            <p:ph type="title"/>
          </p:nvPr>
        </p:nvSpPr>
        <p:spPr>
          <a:xfrm>
            <a:off x="381875" y="381456"/>
            <a:ext cx="10284376" cy="380943"/>
          </a:xfrm>
        </p:spPr>
        <p:txBody>
          <a:bodyPr/>
          <a:lstStyle/>
          <a:p>
            <a:r>
              <a:rPr lang="en-US" sz="4000" spc="0" dirty="0">
                <a:solidFill>
                  <a:srgbClr val="C00000"/>
                </a:solidFill>
                <a:latin typeface="adineue PRO Cond"/>
                <a:ea typeface="+mn-ea"/>
                <a:cs typeface="AdihausDIN" panose="020B0504020101020102" pitchFamily="34" charset="0"/>
              </a:rPr>
              <a:t>10X </a:t>
            </a:r>
            <a:r>
              <a:rPr lang="en-US" dirty="0"/>
              <a:t>| GROWTH MINDSET</a:t>
            </a:r>
            <a:endParaRPr lang="en-US" dirty="0">
              <a:solidFill>
                <a:srgbClr val="C00000"/>
              </a:solidFill>
            </a:endParaRPr>
          </a:p>
        </p:txBody>
      </p:sp>
      <p:sp>
        <p:nvSpPr>
          <p:cNvPr id="195" name="Text Placeholder 2">
            <a:extLst>
              <a:ext uri="{FF2B5EF4-FFF2-40B4-BE49-F238E27FC236}">
                <a16:creationId xmlns:a16="http://schemas.microsoft.com/office/drawing/2014/main" id="{AE9FD4BC-0843-FB48-B67A-6685393983F0}"/>
              </a:ext>
            </a:extLst>
          </p:cNvPr>
          <p:cNvSpPr txBox="1">
            <a:spLocks/>
          </p:cNvSpPr>
          <p:nvPr/>
        </p:nvSpPr>
        <p:spPr bwMode="gray">
          <a:xfrm>
            <a:off x="381872" y="784273"/>
            <a:ext cx="10733431" cy="358028"/>
          </a:xfrm>
          <a:prstGeom prst="rect">
            <a:avLst/>
          </a:prstGeom>
        </p:spPr>
        <p:txBody>
          <a:bodyPr vert="horz" lIns="0" tIns="0" rIns="0" bIns="0" rtlCol="0">
            <a:noAutofit/>
          </a:bodyPr>
          <a:lstStyle>
            <a:lvl1pPr algn="l" rtl="0" eaLnBrk="1" fontAlgn="base" hangingPunct="1">
              <a:lnSpc>
                <a:spcPct val="75000"/>
              </a:lnSpc>
              <a:spcBef>
                <a:spcPct val="0"/>
              </a:spcBef>
              <a:spcAft>
                <a:spcPts val="600"/>
              </a:spcAft>
              <a:buSzPct val="90000"/>
              <a:buFont typeface="AdihausDIN" pitchFamily="34" charset="0"/>
              <a:defRPr sz="1800" b="0" kern="1200" cap="all" baseline="0">
                <a:solidFill>
                  <a:schemeClr val="tx1"/>
                </a:solidFill>
                <a:latin typeface="+mj-lt"/>
                <a:ea typeface="+mn-ea"/>
                <a:cs typeface="AdihausDIN" panose="020B0504020101020102" pitchFamily="34" charset="0"/>
              </a:defRPr>
            </a:lvl1pPr>
            <a:lvl2pPr marL="180769" indent="-180769" algn="l" rtl="0" eaLnBrk="1" fontAlgn="base" hangingPunct="1">
              <a:lnSpc>
                <a:spcPct val="90000"/>
              </a:lnSpc>
              <a:spcBef>
                <a:spcPct val="0"/>
              </a:spcBef>
              <a:spcAft>
                <a:spcPts val="600"/>
              </a:spcAft>
              <a:buSzPct val="90000"/>
              <a:buFont typeface="Wingdings" pitchFamily="2" charset="2"/>
              <a:buChar char="§"/>
              <a:defRPr sz="1200" kern="1200" cap="none" baseline="0">
                <a:solidFill>
                  <a:schemeClr val="tx1"/>
                </a:solidFill>
                <a:latin typeface="+mn-lt"/>
                <a:ea typeface="+mn-ea"/>
                <a:cs typeface="AdihausDIN" panose="020B0504020101020102" pitchFamily="34" charset="0"/>
              </a:defRPr>
            </a:lvl2pPr>
            <a:lvl3pPr marL="181386" indent="-181386" algn="l" rtl="0" eaLnBrk="1" fontAlgn="base" hangingPunct="1">
              <a:lnSpc>
                <a:spcPct val="90000"/>
              </a:lnSpc>
              <a:spcBef>
                <a:spcPct val="0"/>
              </a:spcBef>
              <a:spcAft>
                <a:spcPts val="600"/>
              </a:spcAft>
              <a:buSzPct val="90000"/>
              <a:buFont typeface="+mj-lt"/>
              <a:buAutoNum type="arabicPeriod"/>
              <a:defRPr sz="1200" kern="1200">
                <a:solidFill>
                  <a:schemeClr val="tx1"/>
                </a:solidFill>
                <a:latin typeface="+mn-lt"/>
                <a:ea typeface="+mn-ea"/>
                <a:cs typeface="AdihausDIN" panose="020B0504020101020102" pitchFamily="34" charset="0"/>
              </a:defRPr>
            </a:lvl3pPr>
            <a:lvl4pPr marL="358338" indent="-180769" algn="l" rtl="0" eaLnBrk="1" fontAlgn="base" hangingPunct="1">
              <a:lnSpc>
                <a:spcPct val="90000"/>
              </a:lnSpc>
              <a:spcBef>
                <a:spcPct val="0"/>
              </a:spcBef>
              <a:spcAft>
                <a:spcPts val="600"/>
              </a:spcAft>
              <a:buSzPct val="90000"/>
              <a:buFont typeface="AdihausDIN" panose="020B0504020101020102" pitchFamily="34" charset="0"/>
              <a:buChar char="–"/>
              <a:defRPr sz="1200" kern="1200" cap="none" baseline="0">
                <a:solidFill>
                  <a:schemeClr val="tx1"/>
                </a:solidFill>
                <a:latin typeface="+mn-lt"/>
                <a:ea typeface="+mn-ea"/>
                <a:cs typeface="AdihausDIN" panose="020B0504020101020102" pitchFamily="34" charset="0"/>
              </a:defRPr>
            </a:lvl4pPr>
            <a:lvl5pPr marL="361538" indent="-180769" algn="l" rtl="0" eaLnBrk="1" fontAlgn="base" hangingPunct="1">
              <a:lnSpc>
                <a:spcPct val="90000"/>
              </a:lnSpc>
              <a:spcBef>
                <a:spcPct val="0"/>
              </a:spcBef>
              <a:spcAft>
                <a:spcPts val="600"/>
              </a:spcAft>
              <a:buSzPct val="90000"/>
              <a:buFont typeface="+mj-lt"/>
              <a:buAutoNum type="alphaLcPeriod"/>
              <a:tabLst>
                <a:tab pos="990230" algn="l"/>
              </a:tabLst>
              <a:defRPr sz="1200" kern="1200">
                <a:solidFill>
                  <a:schemeClr val="tx1"/>
                </a:solidFill>
                <a:latin typeface="+mn-lt"/>
                <a:ea typeface="+mn-ea"/>
                <a:cs typeface="AdihausDIN" panose="020B0504020101020102" pitchFamily="34" charset="0"/>
              </a:defRPr>
            </a:lvl5pPr>
            <a:lvl6pPr marL="0" indent="0" algn="l" defTabSz="921477" rtl="0" eaLnBrk="1" latinLnBrk="0" hangingPunct="1">
              <a:lnSpc>
                <a:spcPct val="75000"/>
              </a:lnSpc>
              <a:spcBef>
                <a:spcPts val="1200"/>
              </a:spcBef>
              <a:spcAft>
                <a:spcPts val="600"/>
              </a:spcAft>
              <a:buClrTx/>
              <a:buSzPct val="90000"/>
              <a:buFont typeface="Wingdings" pitchFamily="2" charset="2"/>
              <a:buNone/>
              <a:tabLst>
                <a:tab pos="990269" algn="l"/>
              </a:tabLst>
              <a:defRPr lang="en-US" sz="1800" b="1" i="0" kern="1200" cap="all" spc="20" baseline="0" noProof="0" dirty="0">
                <a:solidFill>
                  <a:schemeClr val="tx1"/>
                </a:solidFill>
                <a:latin typeface="+mj-lt"/>
                <a:ea typeface="+mn-ea"/>
                <a:cs typeface="AdihausDIN" panose="020B0504020101020102" pitchFamily="34" charset="0"/>
              </a:defRPr>
            </a:lvl6pPr>
            <a:lvl7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i="0" kern="1200" cap="none" baseline="0">
                <a:solidFill>
                  <a:schemeClr val="tx2"/>
                </a:solidFill>
                <a:latin typeface="+mn-lt"/>
                <a:ea typeface="+mn-ea"/>
                <a:cs typeface="AdihausDIN" panose="020B0504020101020102" pitchFamily="34" charset="0"/>
              </a:defRPr>
            </a:lvl7pPr>
            <a:lvl8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8pPr>
            <a:lvl9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9pPr>
          </a:lstStyle>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srgbClr val="C00000"/>
                </a:solidFill>
                <a:effectLst/>
                <a:uLnTx/>
                <a:uFillTx/>
                <a:latin typeface="adineue PRO Cond"/>
                <a:ea typeface="+mn-ea"/>
                <a:cs typeface="AdihausDIN" panose="020B0504020101020102" pitchFamily="34" charset="0"/>
              </a:rPr>
              <a:t>TECHNICAL, PROCESS AND TEAM DEPENDENCIES </a:t>
            </a: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NEED TO BE TREATED AS LIVING COMPONENTS OF YOUR ECOSYSTEM</a:t>
            </a:r>
          </a:p>
        </p:txBody>
      </p:sp>
      <p:pic>
        <p:nvPicPr>
          <p:cNvPr id="56" name="Picture 55">
            <a:extLst>
              <a:ext uri="{FF2B5EF4-FFF2-40B4-BE49-F238E27FC236}">
                <a16:creationId xmlns:a16="http://schemas.microsoft.com/office/drawing/2014/main" id="{41AC8FE4-813E-844F-884A-A0D2F94DC4E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0619" y="1395918"/>
            <a:ext cx="4486726" cy="2584824"/>
          </a:xfrm>
          <a:prstGeom prst="rect">
            <a:avLst/>
          </a:prstGeom>
        </p:spPr>
      </p:pic>
      <p:pic>
        <p:nvPicPr>
          <p:cNvPr id="57" name="Picture 56">
            <a:extLst>
              <a:ext uri="{FF2B5EF4-FFF2-40B4-BE49-F238E27FC236}">
                <a16:creationId xmlns:a16="http://schemas.microsoft.com/office/drawing/2014/main" id="{E1E15822-CC78-6E4B-AD9D-FCECF4A54CC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24064" y="1275561"/>
            <a:ext cx="5591240" cy="2691028"/>
          </a:xfrm>
          <a:prstGeom prst="rect">
            <a:avLst/>
          </a:prstGeom>
        </p:spPr>
      </p:pic>
      <p:sp>
        <p:nvSpPr>
          <p:cNvPr id="58" name="Text Placeholder 2">
            <a:extLst>
              <a:ext uri="{FF2B5EF4-FFF2-40B4-BE49-F238E27FC236}">
                <a16:creationId xmlns:a16="http://schemas.microsoft.com/office/drawing/2014/main" id="{BFDB1412-9721-BE48-B0F8-3B881E8B86EC}"/>
              </a:ext>
            </a:extLst>
          </p:cNvPr>
          <p:cNvSpPr txBox="1">
            <a:spLocks/>
          </p:cNvSpPr>
          <p:nvPr/>
        </p:nvSpPr>
        <p:spPr bwMode="gray">
          <a:xfrm>
            <a:off x="1825355" y="4512495"/>
            <a:ext cx="10733431" cy="358028"/>
          </a:xfrm>
          <a:prstGeom prst="rect">
            <a:avLst/>
          </a:prstGeom>
        </p:spPr>
        <p:txBody>
          <a:bodyPr vert="horz" lIns="0" tIns="0" rIns="0" bIns="0" rtlCol="0">
            <a:noAutofit/>
          </a:bodyPr>
          <a:lstStyle>
            <a:lvl1pPr algn="l" rtl="0" eaLnBrk="1" fontAlgn="base" hangingPunct="1">
              <a:lnSpc>
                <a:spcPct val="75000"/>
              </a:lnSpc>
              <a:spcBef>
                <a:spcPct val="0"/>
              </a:spcBef>
              <a:spcAft>
                <a:spcPts val="600"/>
              </a:spcAft>
              <a:buSzPct val="90000"/>
              <a:buFont typeface="AdihausDIN" pitchFamily="34" charset="0"/>
              <a:defRPr sz="1800" b="0" kern="1200" cap="all" baseline="0">
                <a:solidFill>
                  <a:schemeClr val="tx1"/>
                </a:solidFill>
                <a:latin typeface="+mj-lt"/>
                <a:ea typeface="+mn-ea"/>
                <a:cs typeface="AdihausDIN" panose="020B0504020101020102" pitchFamily="34" charset="0"/>
              </a:defRPr>
            </a:lvl1pPr>
            <a:lvl2pPr marL="180769" indent="-180769" algn="l" rtl="0" eaLnBrk="1" fontAlgn="base" hangingPunct="1">
              <a:lnSpc>
                <a:spcPct val="90000"/>
              </a:lnSpc>
              <a:spcBef>
                <a:spcPct val="0"/>
              </a:spcBef>
              <a:spcAft>
                <a:spcPts val="600"/>
              </a:spcAft>
              <a:buSzPct val="90000"/>
              <a:buFont typeface="Wingdings" pitchFamily="2" charset="2"/>
              <a:buChar char="§"/>
              <a:defRPr sz="1200" kern="1200" cap="none" baseline="0">
                <a:solidFill>
                  <a:schemeClr val="tx1"/>
                </a:solidFill>
                <a:latin typeface="+mn-lt"/>
                <a:ea typeface="+mn-ea"/>
                <a:cs typeface="AdihausDIN" panose="020B0504020101020102" pitchFamily="34" charset="0"/>
              </a:defRPr>
            </a:lvl2pPr>
            <a:lvl3pPr marL="181386" indent="-181386" algn="l" rtl="0" eaLnBrk="1" fontAlgn="base" hangingPunct="1">
              <a:lnSpc>
                <a:spcPct val="90000"/>
              </a:lnSpc>
              <a:spcBef>
                <a:spcPct val="0"/>
              </a:spcBef>
              <a:spcAft>
                <a:spcPts val="600"/>
              </a:spcAft>
              <a:buSzPct val="90000"/>
              <a:buFont typeface="+mj-lt"/>
              <a:buAutoNum type="arabicPeriod"/>
              <a:defRPr sz="1200" kern="1200">
                <a:solidFill>
                  <a:schemeClr val="tx1"/>
                </a:solidFill>
                <a:latin typeface="+mn-lt"/>
                <a:ea typeface="+mn-ea"/>
                <a:cs typeface="AdihausDIN" panose="020B0504020101020102" pitchFamily="34" charset="0"/>
              </a:defRPr>
            </a:lvl3pPr>
            <a:lvl4pPr marL="358338" indent="-180769" algn="l" rtl="0" eaLnBrk="1" fontAlgn="base" hangingPunct="1">
              <a:lnSpc>
                <a:spcPct val="90000"/>
              </a:lnSpc>
              <a:spcBef>
                <a:spcPct val="0"/>
              </a:spcBef>
              <a:spcAft>
                <a:spcPts val="600"/>
              </a:spcAft>
              <a:buSzPct val="90000"/>
              <a:buFont typeface="AdihausDIN" panose="020B0504020101020102" pitchFamily="34" charset="0"/>
              <a:buChar char="–"/>
              <a:defRPr sz="1200" kern="1200" cap="none" baseline="0">
                <a:solidFill>
                  <a:schemeClr val="tx1"/>
                </a:solidFill>
                <a:latin typeface="+mn-lt"/>
                <a:ea typeface="+mn-ea"/>
                <a:cs typeface="AdihausDIN" panose="020B0504020101020102" pitchFamily="34" charset="0"/>
              </a:defRPr>
            </a:lvl4pPr>
            <a:lvl5pPr marL="361538" indent="-180769" algn="l" rtl="0" eaLnBrk="1" fontAlgn="base" hangingPunct="1">
              <a:lnSpc>
                <a:spcPct val="90000"/>
              </a:lnSpc>
              <a:spcBef>
                <a:spcPct val="0"/>
              </a:spcBef>
              <a:spcAft>
                <a:spcPts val="600"/>
              </a:spcAft>
              <a:buSzPct val="90000"/>
              <a:buFont typeface="+mj-lt"/>
              <a:buAutoNum type="alphaLcPeriod"/>
              <a:tabLst>
                <a:tab pos="990230" algn="l"/>
              </a:tabLst>
              <a:defRPr sz="1200" kern="1200">
                <a:solidFill>
                  <a:schemeClr val="tx1"/>
                </a:solidFill>
                <a:latin typeface="+mn-lt"/>
                <a:ea typeface="+mn-ea"/>
                <a:cs typeface="AdihausDIN" panose="020B0504020101020102" pitchFamily="34" charset="0"/>
              </a:defRPr>
            </a:lvl5pPr>
            <a:lvl6pPr marL="0" indent="0" algn="l" defTabSz="921477" rtl="0" eaLnBrk="1" latinLnBrk="0" hangingPunct="1">
              <a:lnSpc>
                <a:spcPct val="75000"/>
              </a:lnSpc>
              <a:spcBef>
                <a:spcPts val="1200"/>
              </a:spcBef>
              <a:spcAft>
                <a:spcPts val="600"/>
              </a:spcAft>
              <a:buClrTx/>
              <a:buSzPct val="90000"/>
              <a:buFont typeface="Wingdings" pitchFamily="2" charset="2"/>
              <a:buNone/>
              <a:tabLst>
                <a:tab pos="990269" algn="l"/>
              </a:tabLst>
              <a:defRPr lang="en-US" sz="1800" b="1" i="0" kern="1200" cap="all" spc="20" baseline="0" noProof="0" dirty="0">
                <a:solidFill>
                  <a:schemeClr val="tx1"/>
                </a:solidFill>
                <a:latin typeface="+mj-lt"/>
                <a:ea typeface="+mn-ea"/>
                <a:cs typeface="AdihausDIN" panose="020B0504020101020102" pitchFamily="34" charset="0"/>
              </a:defRPr>
            </a:lvl6pPr>
            <a:lvl7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i="0" kern="1200" cap="none" baseline="0">
                <a:solidFill>
                  <a:schemeClr val="tx2"/>
                </a:solidFill>
                <a:latin typeface="+mn-lt"/>
                <a:ea typeface="+mn-ea"/>
                <a:cs typeface="AdihausDIN" panose="020B0504020101020102" pitchFamily="34" charset="0"/>
              </a:defRPr>
            </a:lvl7pPr>
            <a:lvl8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8pPr>
            <a:lvl9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9pPr>
          </a:lstStyle>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22000 K8s SERVICES</a:t>
            </a:r>
          </a:p>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450 MILLION LOC</a:t>
            </a:r>
          </a:p>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1.5 MILLION </a:t>
            </a:r>
            <a:r>
              <a:rPr kumimoji="0" lang="en-US" sz="2381" b="1" i="0" u="none" strike="noStrike" kern="1200" cap="all" spc="0" normalizeH="0" baseline="0" noProof="0" dirty="0" err="1">
                <a:ln>
                  <a:noFill/>
                </a:ln>
                <a:solidFill>
                  <a:prstClr val="black"/>
                </a:solidFill>
                <a:effectLst/>
                <a:uLnTx/>
                <a:uFillTx/>
                <a:latin typeface="adineue PRO Cond"/>
                <a:ea typeface="+mn-ea"/>
                <a:cs typeface="AdihausDIN" panose="020B0504020101020102" pitchFamily="34" charset="0"/>
              </a:rPr>
              <a:t>ReQUESTS</a:t>
            </a: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 PER SECOND</a:t>
            </a:r>
          </a:p>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3 BILLION LOGS PER DAY</a:t>
            </a:r>
          </a:p>
        </p:txBody>
      </p:sp>
      <p:sp>
        <p:nvSpPr>
          <p:cNvPr id="59" name="Text Placeholder 2">
            <a:extLst>
              <a:ext uri="{FF2B5EF4-FFF2-40B4-BE49-F238E27FC236}">
                <a16:creationId xmlns:a16="http://schemas.microsoft.com/office/drawing/2014/main" id="{A4638964-94C1-5540-9C41-C39A1719BCAD}"/>
              </a:ext>
            </a:extLst>
          </p:cNvPr>
          <p:cNvSpPr txBox="1">
            <a:spLocks/>
          </p:cNvSpPr>
          <p:nvPr/>
        </p:nvSpPr>
        <p:spPr bwMode="gray">
          <a:xfrm>
            <a:off x="7459624" y="4103595"/>
            <a:ext cx="10733431" cy="358028"/>
          </a:xfrm>
          <a:prstGeom prst="rect">
            <a:avLst/>
          </a:prstGeom>
        </p:spPr>
        <p:txBody>
          <a:bodyPr vert="horz" lIns="0" tIns="0" rIns="0" bIns="0" rtlCol="0">
            <a:noAutofit/>
          </a:bodyPr>
          <a:lstStyle>
            <a:lvl1pPr algn="l" rtl="0" eaLnBrk="1" fontAlgn="base" hangingPunct="1">
              <a:lnSpc>
                <a:spcPct val="75000"/>
              </a:lnSpc>
              <a:spcBef>
                <a:spcPct val="0"/>
              </a:spcBef>
              <a:spcAft>
                <a:spcPts val="600"/>
              </a:spcAft>
              <a:buSzPct val="90000"/>
              <a:buFont typeface="AdihausDIN" pitchFamily="34" charset="0"/>
              <a:defRPr sz="1800" b="0" kern="1200" cap="all" baseline="0">
                <a:solidFill>
                  <a:schemeClr val="tx1"/>
                </a:solidFill>
                <a:latin typeface="+mj-lt"/>
                <a:ea typeface="+mn-ea"/>
                <a:cs typeface="AdihausDIN" panose="020B0504020101020102" pitchFamily="34" charset="0"/>
              </a:defRPr>
            </a:lvl1pPr>
            <a:lvl2pPr marL="180769" indent="-180769" algn="l" rtl="0" eaLnBrk="1" fontAlgn="base" hangingPunct="1">
              <a:lnSpc>
                <a:spcPct val="90000"/>
              </a:lnSpc>
              <a:spcBef>
                <a:spcPct val="0"/>
              </a:spcBef>
              <a:spcAft>
                <a:spcPts val="600"/>
              </a:spcAft>
              <a:buSzPct val="90000"/>
              <a:buFont typeface="Wingdings" pitchFamily="2" charset="2"/>
              <a:buChar char="§"/>
              <a:defRPr sz="1200" kern="1200" cap="none" baseline="0">
                <a:solidFill>
                  <a:schemeClr val="tx1"/>
                </a:solidFill>
                <a:latin typeface="+mn-lt"/>
                <a:ea typeface="+mn-ea"/>
                <a:cs typeface="AdihausDIN" panose="020B0504020101020102" pitchFamily="34" charset="0"/>
              </a:defRPr>
            </a:lvl2pPr>
            <a:lvl3pPr marL="181386" indent="-181386" algn="l" rtl="0" eaLnBrk="1" fontAlgn="base" hangingPunct="1">
              <a:lnSpc>
                <a:spcPct val="90000"/>
              </a:lnSpc>
              <a:spcBef>
                <a:spcPct val="0"/>
              </a:spcBef>
              <a:spcAft>
                <a:spcPts val="600"/>
              </a:spcAft>
              <a:buSzPct val="90000"/>
              <a:buFont typeface="+mj-lt"/>
              <a:buAutoNum type="arabicPeriod"/>
              <a:defRPr sz="1200" kern="1200">
                <a:solidFill>
                  <a:schemeClr val="tx1"/>
                </a:solidFill>
                <a:latin typeface="+mn-lt"/>
                <a:ea typeface="+mn-ea"/>
                <a:cs typeface="AdihausDIN" panose="020B0504020101020102" pitchFamily="34" charset="0"/>
              </a:defRPr>
            </a:lvl3pPr>
            <a:lvl4pPr marL="358338" indent="-180769" algn="l" rtl="0" eaLnBrk="1" fontAlgn="base" hangingPunct="1">
              <a:lnSpc>
                <a:spcPct val="90000"/>
              </a:lnSpc>
              <a:spcBef>
                <a:spcPct val="0"/>
              </a:spcBef>
              <a:spcAft>
                <a:spcPts val="600"/>
              </a:spcAft>
              <a:buSzPct val="90000"/>
              <a:buFont typeface="AdihausDIN" panose="020B0504020101020102" pitchFamily="34" charset="0"/>
              <a:buChar char="–"/>
              <a:defRPr sz="1200" kern="1200" cap="none" baseline="0">
                <a:solidFill>
                  <a:schemeClr val="tx1"/>
                </a:solidFill>
                <a:latin typeface="+mn-lt"/>
                <a:ea typeface="+mn-ea"/>
                <a:cs typeface="AdihausDIN" panose="020B0504020101020102" pitchFamily="34" charset="0"/>
              </a:defRPr>
            </a:lvl4pPr>
            <a:lvl5pPr marL="361538" indent="-180769" algn="l" rtl="0" eaLnBrk="1" fontAlgn="base" hangingPunct="1">
              <a:lnSpc>
                <a:spcPct val="90000"/>
              </a:lnSpc>
              <a:spcBef>
                <a:spcPct val="0"/>
              </a:spcBef>
              <a:spcAft>
                <a:spcPts val="600"/>
              </a:spcAft>
              <a:buSzPct val="90000"/>
              <a:buFont typeface="+mj-lt"/>
              <a:buAutoNum type="alphaLcPeriod"/>
              <a:tabLst>
                <a:tab pos="990230" algn="l"/>
              </a:tabLst>
              <a:defRPr sz="1200" kern="1200">
                <a:solidFill>
                  <a:schemeClr val="tx1"/>
                </a:solidFill>
                <a:latin typeface="+mn-lt"/>
                <a:ea typeface="+mn-ea"/>
                <a:cs typeface="AdihausDIN" panose="020B0504020101020102" pitchFamily="34" charset="0"/>
              </a:defRPr>
            </a:lvl5pPr>
            <a:lvl6pPr marL="0" indent="0" algn="l" defTabSz="921477" rtl="0" eaLnBrk="1" latinLnBrk="0" hangingPunct="1">
              <a:lnSpc>
                <a:spcPct val="75000"/>
              </a:lnSpc>
              <a:spcBef>
                <a:spcPts val="1200"/>
              </a:spcBef>
              <a:spcAft>
                <a:spcPts val="600"/>
              </a:spcAft>
              <a:buClrTx/>
              <a:buSzPct val="90000"/>
              <a:buFont typeface="Wingdings" pitchFamily="2" charset="2"/>
              <a:buNone/>
              <a:tabLst>
                <a:tab pos="990269" algn="l"/>
              </a:tabLst>
              <a:defRPr lang="en-US" sz="1800" b="1" i="0" kern="1200" cap="all" spc="20" baseline="0" noProof="0" dirty="0">
                <a:solidFill>
                  <a:schemeClr val="tx1"/>
                </a:solidFill>
                <a:latin typeface="+mj-lt"/>
                <a:ea typeface="+mn-ea"/>
                <a:cs typeface="AdihausDIN" panose="020B0504020101020102" pitchFamily="34" charset="0"/>
              </a:defRPr>
            </a:lvl6pPr>
            <a:lvl7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i="0" kern="1200" cap="none" baseline="0">
                <a:solidFill>
                  <a:schemeClr val="tx2"/>
                </a:solidFill>
                <a:latin typeface="+mn-lt"/>
                <a:ea typeface="+mn-ea"/>
                <a:cs typeface="AdihausDIN" panose="020B0504020101020102" pitchFamily="34" charset="0"/>
              </a:defRPr>
            </a:lvl7pPr>
            <a:lvl8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8pPr>
            <a:lvl9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9pPr>
          </a:lstStyle>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59 DIGITAL PRODUCTS</a:t>
            </a:r>
          </a:p>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150-200 FEATURE TEAMS</a:t>
            </a:r>
          </a:p>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dirty="0">
                <a:ln>
                  <a:noFill/>
                </a:ln>
                <a:solidFill>
                  <a:prstClr val="black"/>
                </a:solidFill>
                <a:effectLst/>
                <a:uLnTx/>
                <a:uFillTx/>
                <a:latin typeface="adineue PRO Cond"/>
                <a:ea typeface="+mn-ea"/>
                <a:cs typeface="AdihausDIN" panose="020B0504020101020102" pitchFamily="34" charset="0"/>
              </a:rPr>
              <a:t>1500 ENGINEERS</a:t>
            </a:r>
          </a:p>
        </p:txBody>
      </p:sp>
      <p:pic>
        <p:nvPicPr>
          <p:cNvPr id="60" name="Picture 2">
            <a:extLst>
              <a:ext uri="{FF2B5EF4-FFF2-40B4-BE49-F238E27FC236}">
                <a16:creationId xmlns:a16="http://schemas.microsoft.com/office/drawing/2014/main" id="{3E4EF77E-55F6-C545-AC19-4CFCD687FAA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192070" y="4993376"/>
            <a:ext cx="2340503" cy="1224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7851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7914F7-F970-954E-B469-3B2289725500}"/>
              </a:ext>
            </a:extLst>
          </p:cNvPr>
          <p:cNvSpPr/>
          <p:nvPr/>
        </p:nvSpPr>
        <p:spPr>
          <a:xfrm>
            <a:off x="7464614" y="1783959"/>
            <a:ext cx="4219386" cy="2889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b">
            <a:normAutofit fontScale="92500" lnSpcReduction="20000"/>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200" b="0" i="0" u="none" strike="noStrike" kern="1200" cap="none" spc="0" normalizeH="0" baseline="0" noProof="0" dirty="0">
                <a:ln>
                  <a:noFill/>
                </a:ln>
                <a:solidFill>
                  <a:prstClr val="white"/>
                </a:solidFill>
                <a:effectLst/>
                <a:uLnTx/>
                <a:uFillTx/>
                <a:latin typeface="adineue PRO" panose="020B0503020201060004" pitchFamily="34" charset="77"/>
                <a:ea typeface="+mn-ea"/>
                <a:cs typeface="+mn-cs"/>
              </a:rPr>
              <a:t>NOVEMBER 2020</a:t>
            </a:r>
          </a:p>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4200" b="0" i="0" u="none" strike="noStrike" kern="1200" cap="none" spc="0" normalizeH="0" baseline="0" noProof="0" dirty="0">
              <a:ln>
                <a:noFill/>
              </a:ln>
              <a:solidFill>
                <a:prstClr val="white"/>
              </a:solidFill>
              <a:effectLst/>
              <a:uLnTx/>
              <a:uFillTx/>
              <a:latin typeface="adineue PRO" panose="020B0503020201060004" pitchFamily="34" charset="77"/>
              <a:ea typeface="+mn-ea"/>
              <a:cs typeface="+mn-cs"/>
            </a:endParaRPr>
          </a:p>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4200" b="0" i="0" u="none" strike="noStrike" kern="1200" cap="none" spc="0" normalizeH="0" baseline="0" noProof="0" dirty="0">
              <a:ln>
                <a:noFill/>
              </a:ln>
              <a:solidFill>
                <a:prstClr val="white"/>
              </a:solidFill>
              <a:effectLst/>
              <a:uLnTx/>
              <a:uFillTx/>
              <a:latin typeface="adineue PRO" panose="020B0503020201060004" pitchFamily="34" charset="77"/>
              <a:ea typeface="+mn-ea"/>
              <a:cs typeface="+mn-cs"/>
            </a:endParaRP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200" b="0" i="0" u="none" strike="noStrike" kern="1200" cap="none" spc="0" normalizeH="0" baseline="0" noProof="0" dirty="0">
                <a:ln>
                  <a:noFill/>
                </a:ln>
                <a:solidFill>
                  <a:prstClr val="white"/>
                </a:solidFill>
                <a:effectLst/>
                <a:uLnTx/>
                <a:uFillTx/>
                <a:latin typeface="adineue PRO" panose="020B0503020201060004" pitchFamily="34" charset="77"/>
                <a:ea typeface="+mn-ea"/>
                <a:cs typeface="+mn-cs"/>
              </a:rPr>
              <a:t>A VERY EXPENSIVE 6-EYE PRINCIPLE</a:t>
            </a:r>
          </a:p>
        </p:txBody>
      </p:sp>
      <p:sp>
        <p:nvSpPr>
          <p:cNvPr id="46086" name="Freeform: Shape 70">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082" name="Picture 2" descr="Cuándo Necesitas un Manager Musical">
            <a:extLst>
              <a:ext uri="{FF2B5EF4-FFF2-40B4-BE49-F238E27FC236}">
                <a16:creationId xmlns:a16="http://schemas.microsoft.com/office/drawing/2014/main" id="{4F9348AA-EDCE-FA4D-8531-6310E03E7EF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5707DBC-E3D1-7647-8272-EC0D67CF11E9}"/>
              </a:ext>
            </a:extLst>
          </p:cNvPr>
          <p:cNvSpPr txBox="1"/>
          <p:nvPr/>
        </p:nvSpPr>
        <p:spPr>
          <a:xfrm>
            <a:off x="304800" y="609600"/>
            <a:ext cx="77296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2800" b="1" i="0" u="none" strike="noStrike" kern="1200" cap="none" spc="0" normalizeH="0" baseline="0" noProof="0" dirty="0">
                <a:ln>
                  <a:noFill/>
                </a:ln>
                <a:solidFill>
                  <a:prstClr val="black"/>
                </a:solidFill>
                <a:effectLst/>
                <a:uLnTx/>
                <a:uFillTx/>
                <a:latin typeface="Calibri" panose="020F0502020204030204"/>
                <a:ea typeface="+mn-ea"/>
                <a:cs typeface="+mn-cs"/>
              </a:rPr>
              <a:t>GO!</a:t>
            </a:r>
          </a:p>
        </p:txBody>
      </p:sp>
      <p:sp>
        <p:nvSpPr>
          <p:cNvPr id="12" name="TextBox 11">
            <a:extLst>
              <a:ext uri="{FF2B5EF4-FFF2-40B4-BE49-F238E27FC236}">
                <a16:creationId xmlns:a16="http://schemas.microsoft.com/office/drawing/2014/main" id="{049C17A5-EF14-6646-8583-1043B35177D6}"/>
              </a:ext>
            </a:extLst>
          </p:cNvPr>
          <p:cNvSpPr txBox="1"/>
          <p:nvPr/>
        </p:nvSpPr>
        <p:spPr>
          <a:xfrm>
            <a:off x="2260006" y="86380"/>
            <a:ext cx="133402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2800" b="1" i="0" u="none" strike="noStrike" kern="1200" cap="none" spc="0" normalizeH="0" baseline="0" noProof="0" dirty="0">
                <a:ln>
                  <a:noFill/>
                </a:ln>
                <a:solidFill>
                  <a:prstClr val="black"/>
                </a:solidFill>
                <a:effectLst/>
                <a:uLnTx/>
                <a:uFillTx/>
                <a:latin typeface="Calibri" panose="020F0502020204030204"/>
                <a:ea typeface="+mn-ea"/>
                <a:cs typeface="+mn-cs"/>
              </a:rPr>
              <a:t>NO GO!</a:t>
            </a:r>
          </a:p>
        </p:txBody>
      </p:sp>
      <p:sp>
        <p:nvSpPr>
          <p:cNvPr id="13" name="TextBox 12">
            <a:extLst>
              <a:ext uri="{FF2B5EF4-FFF2-40B4-BE49-F238E27FC236}">
                <a16:creationId xmlns:a16="http://schemas.microsoft.com/office/drawing/2014/main" id="{6CD86A72-9825-6B4F-ACEE-4C05862B128D}"/>
              </a:ext>
            </a:extLst>
          </p:cNvPr>
          <p:cNvSpPr txBox="1"/>
          <p:nvPr/>
        </p:nvSpPr>
        <p:spPr>
          <a:xfrm>
            <a:off x="2790348" y="1522349"/>
            <a:ext cx="77296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2800" b="1" i="0" u="none" strike="noStrike" kern="1200" cap="none" spc="0" normalizeH="0" baseline="0" noProof="0" dirty="0">
                <a:ln>
                  <a:noFill/>
                </a:ln>
                <a:solidFill>
                  <a:prstClr val="black"/>
                </a:solidFill>
                <a:effectLst/>
                <a:uLnTx/>
                <a:uFillTx/>
                <a:latin typeface="Calibri" panose="020F0502020204030204"/>
                <a:ea typeface="+mn-ea"/>
                <a:cs typeface="+mn-cs"/>
              </a:rPr>
              <a:t>GO!</a:t>
            </a:r>
          </a:p>
        </p:txBody>
      </p:sp>
      <p:sp>
        <p:nvSpPr>
          <p:cNvPr id="14" name="TextBox 13">
            <a:extLst>
              <a:ext uri="{FF2B5EF4-FFF2-40B4-BE49-F238E27FC236}">
                <a16:creationId xmlns:a16="http://schemas.microsoft.com/office/drawing/2014/main" id="{9ED67C43-838C-0149-94EA-864551E3DD30}"/>
              </a:ext>
            </a:extLst>
          </p:cNvPr>
          <p:cNvSpPr txBox="1"/>
          <p:nvPr/>
        </p:nvSpPr>
        <p:spPr>
          <a:xfrm>
            <a:off x="235721" y="2045569"/>
            <a:ext cx="77296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2800" b="1" i="0" u="none" strike="noStrike" kern="1200" cap="none" spc="0" normalizeH="0" baseline="0" noProof="0" dirty="0">
                <a:ln>
                  <a:noFill/>
                </a:ln>
                <a:solidFill>
                  <a:prstClr val="black"/>
                </a:solidFill>
                <a:effectLst/>
                <a:uLnTx/>
                <a:uFillTx/>
                <a:latin typeface="Calibri" panose="020F0502020204030204"/>
                <a:ea typeface="+mn-ea"/>
                <a:cs typeface="+mn-cs"/>
              </a:rPr>
              <a:t>GO!</a:t>
            </a:r>
          </a:p>
        </p:txBody>
      </p:sp>
      <p:sp>
        <p:nvSpPr>
          <p:cNvPr id="15" name="TextBox 14">
            <a:extLst>
              <a:ext uri="{FF2B5EF4-FFF2-40B4-BE49-F238E27FC236}">
                <a16:creationId xmlns:a16="http://schemas.microsoft.com/office/drawing/2014/main" id="{A472B3D9-94CE-3444-8894-92AA97088616}"/>
              </a:ext>
            </a:extLst>
          </p:cNvPr>
          <p:cNvSpPr txBox="1"/>
          <p:nvPr/>
        </p:nvSpPr>
        <p:spPr>
          <a:xfrm>
            <a:off x="1327481" y="334470"/>
            <a:ext cx="77296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2800" b="1" i="0" u="none" strike="noStrike" kern="1200" cap="none" spc="0" normalizeH="0" baseline="0" noProof="0" dirty="0">
                <a:ln>
                  <a:noFill/>
                </a:ln>
                <a:solidFill>
                  <a:prstClr val="black"/>
                </a:solidFill>
                <a:effectLst/>
                <a:uLnTx/>
                <a:uFillTx/>
                <a:latin typeface="Calibri" panose="020F0502020204030204"/>
                <a:ea typeface="+mn-ea"/>
                <a:cs typeface="+mn-cs"/>
              </a:rPr>
              <a:t>GO!</a:t>
            </a:r>
          </a:p>
        </p:txBody>
      </p:sp>
      <p:sp>
        <p:nvSpPr>
          <p:cNvPr id="16" name="TextBox 15">
            <a:extLst>
              <a:ext uri="{FF2B5EF4-FFF2-40B4-BE49-F238E27FC236}">
                <a16:creationId xmlns:a16="http://schemas.microsoft.com/office/drawing/2014/main" id="{1557C8FD-E62C-7F48-B57F-BE72B2D62D04}"/>
              </a:ext>
            </a:extLst>
          </p:cNvPr>
          <p:cNvSpPr txBox="1"/>
          <p:nvPr/>
        </p:nvSpPr>
        <p:spPr>
          <a:xfrm>
            <a:off x="5428990" y="334470"/>
            <a:ext cx="133402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2800" b="1" i="0" u="none" strike="noStrike" kern="1200" cap="none" spc="0" normalizeH="0" baseline="0" noProof="0" dirty="0">
                <a:ln>
                  <a:noFill/>
                </a:ln>
                <a:solidFill>
                  <a:prstClr val="black"/>
                </a:solidFill>
                <a:effectLst/>
                <a:uLnTx/>
                <a:uFillTx/>
                <a:latin typeface="Calibri" panose="020F0502020204030204"/>
                <a:ea typeface="+mn-ea"/>
                <a:cs typeface="+mn-cs"/>
              </a:rPr>
              <a:t>NO GO!</a:t>
            </a:r>
          </a:p>
        </p:txBody>
      </p:sp>
    </p:spTree>
    <p:extLst>
      <p:ext uri="{BB962C8B-B14F-4D97-AF65-F5344CB8AC3E}">
        <p14:creationId xmlns:p14="http://schemas.microsoft.com/office/powerpoint/2010/main" val="1745481433"/>
      </p:ext>
    </p:extLst>
  </p:cSld>
  <p:clrMapOvr>
    <a:overrideClrMapping bg1="dk1" tx1="lt1" bg2="dk2" tx2="lt2" accent1="accent1" accent2="accent2" accent3="accent3" accent4="accent4" accent5="accent5" accent6="accent6" hlink="hlink" folHlink="folHlink"/>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16">
            <a:extLst>
              <a:ext uri="{FF2B5EF4-FFF2-40B4-BE49-F238E27FC236}">
                <a16:creationId xmlns:a16="http://schemas.microsoft.com/office/drawing/2014/main" id="{A3D1C087-8950-4ABF-8E50-A2ADDF9B77B1}"/>
              </a:ext>
            </a:extLst>
          </p:cNvPr>
          <p:cNvPicPr>
            <a:picLocks noGrp="1" noChangeAspect="1"/>
          </p:cNvPicPr>
          <p:nvPr>
            <p:ph type="pic" sz="quarter" idx="14"/>
            <p:custDataLst>
              <p:tags r:id="rId1"/>
            </p:custDataLst>
          </p:nvPr>
        </p:nvPicPr>
        <p:blipFill rotWithShape="1">
          <a:blip r:embed="rId3" cstate="screen">
            <a:extLst>
              <a:ext uri="{28A0092B-C50C-407E-A947-70E740481C1C}">
                <a14:useLocalDpi xmlns:a14="http://schemas.microsoft.com/office/drawing/2010/main"/>
              </a:ext>
            </a:extLst>
          </a:blip>
          <a:srcRect/>
          <a:stretch/>
        </p:blipFill>
        <p:spPr/>
      </p:pic>
      <p:sp>
        <p:nvSpPr>
          <p:cNvPr id="22" name="Title 21">
            <a:extLst>
              <a:ext uri="{FF2B5EF4-FFF2-40B4-BE49-F238E27FC236}">
                <a16:creationId xmlns:a16="http://schemas.microsoft.com/office/drawing/2014/main" id="{428B7B16-A357-4EB9-BB90-D28B676AB966}"/>
              </a:ext>
            </a:extLst>
          </p:cNvPr>
          <p:cNvSpPr>
            <a:spLocks noGrp="1"/>
          </p:cNvSpPr>
          <p:nvPr>
            <p:ph type="title"/>
          </p:nvPr>
        </p:nvSpPr>
        <p:spPr>
          <a:xfrm>
            <a:off x="1108672" y="2190797"/>
            <a:ext cx="4571823" cy="3427612"/>
          </a:xfrm>
        </p:spPr>
        <p:txBody>
          <a:bodyPr/>
          <a:lstStyle/>
          <a:p>
            <a:pPr algn="ctr"/>
            <a:r>
              <a:rPr lang="de-DE"/>
              <a:t>Consumer experience on our </a:t>
            </a:r>
            <a:r>
              <a:rPr lang="de-DE" err="1"/>
              <a:t>biggest</a:t>
            </a:r>
            <a:r>
              <a:rPr lang="de-DE"/>
              <a:t> </a:t>
            </a:r>
            <a:r>
              <a:rPr lang="de-DE" err="1"/>
              <a:t>shop</a:t>
            </a:r>
            <a:r>
              <a:rPr lang="de-DE"/>
              <a:t> </a:t>
            </a:r>
            <a:r>
              <a:rPr lang="de-DE" err="1"/>
              <a:t>has</a:t>
            </a:r>
            <a:r>
              <a:rPr lang="de-DE"/>
              <a:t> to </a:t>
            </a:r>
            <a:r>
              <a:rPr lang="de-DE" err="1"/>
              <a:t>be</a:t>
            </a:r>
            <a:r>
              <a:rPr lang="de-DE"/>
              <a:t> as </a:t>
            </a:r>
            <a:r>
              <a:rPr lang="de-DE">
                <a:solidFill>
                  <a:schemeClr val="accent3"/>
                </a:solidFill>
              </a:rPr>
              <a:t>reliable</a:t>
            </a:r>
            <a:r>
              <a:rPr lang="de-DE"/>
              <a:t> as our </a:t>
            </a:r>
            <a:r>
              <a:rPr lang="de-DE" err="1"/>
              <a:t>products</a:t>
            </a:r>
            <a:endParaRPr lang="de-DE"/>
          </a:p>
        </p:txBody>
      </p:sp>
    </p:spTree>
    <p:extLst>
      <p:ext uri="{BB962C8B-B14F-4D97-AF65-F5344CB8AC3E}">
        <p14:creationId xmlns:p14="http://schemas.microsoft.com/office/powerpoint/2010/main" val="19665727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6">
            <a:extLst>
              <a:ext uri="{FF2B5EF4-FFF2-40B4-BE49-F238E27FC236}">
                <a16:creationId xmlns:a16="http://schemas.microsoft.com/office/drawing/2014/main" id="{8AB803F5-B257-4EBD-8094-5F473CF80D36}"/>
              </a:ext>
            </a:extLst>
          </p:cNvPr>
          <p:cNvPicPr>
            <a:picLocks noGrp="1" noChangeAspect="1"/>
          </p:cNvPicPr>
          <p:nvPr>
            <p:ph type="pic" sz="quarter" idx="18"/>
            <p:custDataLst>
              <p:tags r:id="rId1"/>
            </p:custDataLst>
          </p:nvPr>
        </p:nvPicPr>
        <p:blipFill rotWithShape="1">
          <a:blip r:embed="rId6" cstate="screen">
            <a:extLst>
              <a:ext uri="{28A0092B-C50C-407E-A947-70E740481C1C}">
                <a14:useLocalDpi xmlns:a14="http://schemas.microsoft.com/office/drawing/2010/main"/>
              </a:ext>
            </a:extLst>
          </a:blip>
          <a:srcRect/>
          <a:stretch/>
        </p:blipFill>
        <p:spPr/>
      </p:pic>
      <p:pic>
        <p:nvPicPr>
          <p:cNvPr id="32" name="Picture Placeholder 12">
            <a:extLst>
              <a:ext uri="{FF2B5EF4-FFF2-40B4-BE49-F238E27FC236}">
                <a16:creationId xmlns:a16="http://schemas.microsoft.com/office/drawing/2014/main" id="{F75D8AFF-A037-46B3-8D95-A7CB4C7DFCE3}"/>
              </a:ext>
            </a:extLst>
          </p:cNvPr>
          <p:cNvPicPr>
            <a:picLocks noGrp="1" noChangeAspect="1"/>
          </p:cNvPicPr>
          <p:nvPr>
            <p:ph type="pic" sz="quarter" idx="23"/>
            <p:custDataLst>
              <p:tags r:id="rId2"/>
            </p:custDataLst>
          </p:nvPr>
        </p:nvPicPr>
        <p:blipFill rotWithShape="1">
          <a:blip r:embed="rId7" cstate="screen">
            <a:extLst>
              <a:ext uri="{28A0092B-C50C-407E-A947-70E740481C1C}">
                <a14:useLocalDpi xmlns:a14="http://schemas.microsoft.com/office/drawing/2010/main"/>
              </a:ext>
            </a:extLst>
          </a:blip>
          <a:srcRect/>
          <a:stretch/>
        </p:blipFill>
        <p:spPr>
          <a:xfrm>
            <a:off x="5524288" y="381117"/>
            <a:ext cx="2095187" cy="3809854"/>
          </a:xfrm>
        </p:spPr>
      </p:pic>
      <p:pic>
        <p:nvPicPr>
          <p:cNvPr id="25" name="Picture Placeholder 17">
            <a:extLst>
              <a:ext uri="{FF2B5EF4-FFF2-40B4-BE49-F238E27FC236}">
                <a16:creationId xmlns:a16="http://schemas.microsoft.com/office/drawing/2014/main" id="{4F3E1F26-4E7A-4C9F-A39C-F690504EEA78}"/>
              </a:ext>
            </a:extLst>
          </p:cNvPr>
          <p:cNvPicPr>
            <a:picLocks noGrp="1" noChangeAspect="1"/>
          </p:cNvPicPr>
          <p:nvPr>
            <p:ph type="pic" sz="quarter" idx="24"/>
            <p:custDataLst>
              <p:tags r:id="rId3"/>
            </p:custDataLst>
          </p:nvPr>
        </p:nvPicPr>
        <p:blipFill rotWithShape="1">
          <a:blip r:embed="rId8" cstate="screen">
            <a:extLst>
              <a:ext uri="{28A0092B-C50C-407E-A947-70E740481C1C}">
                <a14:useLocalDpi xmlns:a14="http://schemas.microsoft.com/office/drawing/2010/main"/>
              </a:ext>
            </a:extLst>
          </a:blip>
          <a:srcRect/>
          <a:stretch/>
        </p:blipFill>
        <p:spPr>
          <a:xfrm>
            <a:off x="7619474" y="381117"/>
            <a:ext cx="2095187" cy="3809854"/>
          </a:xfrm>
        </p:spPr>
      </p:pic>
      <p:sp>
        <p:nvSpPr>
          <p:cNvPr id="23" name="Text Placeholder 22">
            <a:extLst>
              <a:ext uri="{FF2B5EF4-FFF2-40B4-BE49-F238E27FC236}">
                <a16:creationId xmlns:a16="http://schemas.microsoft.com/office/drawing/2014/main" id="{01C0DE7A-3A4A-4D77-B81E-ECB11C9F650E}"/>
              </a:ext>
            </a:extLst>
          </p:cNvPr>
          <p:cNvSpPr>
            <a:spLocks noGrp="1"/>
          </p:cNvSpPr>
          <p:nvPr>
            <p:ph type="body" sz="quarter" idx="37"/>
          </p:nvPr>
        </p:nvSpPr>
        <p:spPr>
          <a:xfrm>
            <a:off x="9714661" y="4381463"/>
            <a:ext cx="1714434" cy="1523942"/>
          </a:xfrm>
        </p:spPr>
        <p:txBody>
          <a:bodyPr/>
          <a:lstStyle/>
          <a:p>
            <a:pPr algn="ctr"/>
            <a:r>
              <a:rPr lang="de-DE">
                <a:solidFill>
                  <a:schemeClr val="accent5"/>
                </a:solidFill>
              </a:rPr>
              <a:t>Production </a:t>
            </a:r>
            <a:r>
              <a:rPr lang="de-DE" err="1">
                <a:solidFill>
                  <a:schemeClr val="accent5"/>
                </a:solidFill>
              </a:rPr>
              <a:t>deployments</a:t>
            </a:r>
            <a:endParaRPr lang="de-DE">
              <a:solidFill>
                <a:schemeClr val="accent5"/>
              </a:solidFill>
            </a:endParaRPr>
          </a:p>
          <a:p>
            <a:pPr algn="ctr"/>
            <a:endParaRPr lang="de-DE"/>
          </a:p>
          <a:p>
            <a:pPr algn="ctr"/>
            <a:r>
              <a:rPr lang="de-DE" sz="2645"/>
              <a:t>Multiple </a:t>
            </a:r>
            <a:r>
              <a:rPr lang="de-DE" sz="2645" err="1"/>
              <a:t>deployments</a:t>
            </a:r>
            <a:r>
              <a:rPr lang="de-DE" sz="2645"/>
              <a:t> per day</a:t>
            </a:r>
          </a:p>
        </p:txBody>
      </p:sp>
      <p:sp>
        <p:nvSpPr>
          <p:cNvPr id="3" name="Title 2">
            <a:extLst>
              <a:ext uri="{FF2B5EF4-FFF2-40B4-BE49-F238E27FC236}">
                <a16:creationId xmlns:a16="http://schemas.microsoft.com/office/drawing/2014/main" id="{479B7A05-1898-4451-99B8-C11A6454C966}"/>
              </a:ext>
            </a:extLst>
          </p:cNvPr>
          <p:cNvSpPr>
            <a:spLocks noGrp="1"/>
          </p:cNvSpPr>
          <p:nvPr>
            <p:ph type="title"/>
          </p:nvPr>
        </p:nvSpPr>
        <p:spPr>
          <a:xfrm>
            <a:off x="289680" y="2095890"/>
            <a:ext cx="3138991" cy="3047544"/>
          </a:xfrm>
        </p:spPr>
        <p:txBody>
          <a:bodyPr/>
          <a:lstStyle/>
          <a:p>
            <a:r>
              <a:rPr lang="de-DE" sz="7936" dirty="0">
                <a:solidFill>
                  <a:schemeClr val="accent3"/>
                </a:solidFill>
              </a:rPr>
              <a:t>10x</a:t>
            </a:r>
            <a:r>
              <a:rPr lang="de-DE" sz="5820" dirty="0"/>
              <a:t> </a:t>
            </a:r>
            <a:r>
              <a:rPr lang="de-DE" dirty="0" err="1"/>
              <a:t>mindset</a:t>
            </a:r>
            <a:br>
              <a:rPr lang="de-DE" dirty="0"/>
            </a:br>
            <a:r>
              <a:rPr lang="de-DE" dirty="0"/>
              <a:t> </a:t>
            </a:r>
            <a:r>
              <a:rPr lang="de-DE" dirty="0" err="1"/>
              <a:t>is</a:t>
            </a:r>
            <a:r>
              <a:rPr lang="de-DE" dirty="0"/>
              <a:t> </a:t>
            </a:r>
            <a:r>
              <a:rPr lang="de-DE" dirty="0" err="1"/>
              <a:t>needed</a:t>
            </a:r>
            <a:r>
              <a:rPr lang="de-DE" dirty="0"/>
              <a:t> </a:t>
            </a:r>
            <a:r>
              <a:rPr lang="de-DE" dirty="0" err="1"/>
              <a:t>to</a:t>
            </a:r>
            <a:r>
              <a:rPr lang="de-DE" dirty="0"/>
              <a:t> </a:t>
            </a:r>
            <a:r>
              <a:rPr lang="de-DE" dirty="0" err="1"/>
              <a:t>run</a:t>
            </a:r>
            <a:r>
              <a:rPr lang="de-DE" dirty="0"/>
              <a:t> </a:t>
            </a:r>
            <a:br>
              <a:rPr lang="de-DE" dirty="0"/>
            </a:br>
            <a:r>
              <a:rPr lang="de-DE" dirty="0"/>
              <a:t>a 9 </a:t>
            </a:r>
            <a:r>
              <a:rPr lang="de-DE" dirty="0" err="1"/>
              <a:t>billion</a:t>
            </a:r>
            <a:r>
              <a:rPr lang="de-DE" dirty="0"/>
              <a:t> </a:t>
            </a:r>
            <a:r>
              <a:rPr lang="de-DE" dirty="0" err="1"/>
              <a:t>shop</a:t>
            </a:r>
            <a:r>
              <a:rPr lang="de-DE" dirty="0"/>
              <a:t> at </a:t>
            </a:r>
            <a:r>
              <a:rPr lang="de-DE" dirty="0" err="1"/>
              <a:t>this</a:t>
            </a:r>
            <a:r>
              <a:rPr lang="de-DE" dirty="0"/>
              <a:t>  </a:t>
            </a:r>
            <a:r>
              <a:rPr lang="de-DE" dirty="0" err="1"/>
              <a:t>mind</a:t>
            </a:r>
            <a:r>
              <a:rPr lang="de-DE" dirty="0"/>
              <a:t> </a:t>
            </a:r>
            <a:r>
              <a:rPr lang="de-DE" dirty="0" err="1"/>
              <a:t>boggling</a:t>
            </a:r>
            <a:r>
              <a:rPr lang="de-DE" dirty="0"/>
              <a:t> </a:t>
            </a:r>
            <a:r>
              <a:rPr lang="de-DE" dirty="0" err="1"/>
              <a:t>scale</a:t>
            </a:r>
            <a:endParaRPr lang="de-DE" dirty="0"/>
          </a:p>
        </p:txBody>
      </p:sp>
      <p:pic>
        <p:nvPicPr>
          <p:cNvPr id="28" name="Picture Placeholder 25">
            <a:extLst>
              <a:ext uri="{FF2B5EF4-FFF2-40B4-BE49-F238E27FC236}">
                <a16:creationId xmlns:a16="http://schemas.microsoft.com/office/drawing/2014/main" id="{E4EBAEE7-68EC-4EDF-8D36-D8C7D9EA4FF0}"/>
              </a:ext>
            </a:extLst>
          </p:cNvPr>
          <p:cNvPicPr>
            <a:picLocks noGrp="1" noChangeAspect="1"/>
          </p:cNvPicPr>
          <p:nvPr>
            <p:ph type="pic" sz="quarter" idx="28"/>
            <p:custDataLst>
              <p:tags r:id="rId4"/>
            </p:custDataLst>
          </p:nvPr>
        </p:nvPicPr>
        <p:blipFill rotWithShape="1">
          <a:blip r:embed="rId9" cstate="screen">
            <a:extLst>
              <a:ext uri="{28A0092B-C50C-407E-A947-70E740481C1C}">
                <a14:useLocalDpi xmlns:a14="http://schemas.microsoft.com/office/drawing/2010/main"/>
              </a:ext>
            </a:extLst>
          </a:blip>
          <a:srcRect/>
          <a:stretch/>
        </p:blipFill>
        <p:spPr>
          <a:xfrm>
            <a:off x="9714662" y="381117"/>
            <a:ext cx="2095617" cy="3811166"/>
          </a:xfrm>
        </p:spPr>
      </p:pic>
      <p:sp>
        <p:nvSpPr>
          <p:cNvPr id="20" name="Text Placeholder 19">
            <a:extLst>
              <a:ext uri="{FF2B5EF4-FFF2-40B4-BE49-F238E27FC236}">
                <a16:creationId xmlns:a16="http://schemas.microsoft.com/office/drawing/2014/main" id="{7C1D719E-AC56-4216-BCCC-DD36ADACCCB3}"/>
              </a:ext>
            </a:extLst>
          </p:cNvPr>
          <p:cNvSpPr>
            <a:spLocks noGrp="1"/>
          </p:cNvSpPr>
          <p:nvPr>
            <p:ph type="body" sz="quarter" idx="31"/>
          </p:nvPr>
        </p:nvSpPr>
        <p:spPr/>
        <p:txBody>
          <a:bodyPr/>
          <a:lstStyle/>
          <a:p>
            <a:pPr algn="ctr"/>
            <a:r>
              <a:rPr lang="de-DE">
                <a:solidFill>
                  <a:schemeClr val="accent5"/>
                </a:solidFill>
              </a:rPr>
              <a:t>Peak order rate</a:t>
            </a:r>
          </a:p>
          <a:p>
            <a:pPr algn="ctr"/>
            <a:endParaRPr lang="de-DE"/>
          </a:p>
          <a:p>
            <a:pPr algn="ctr"/>
            <a:r>
              <a:rPr lang="de-DE" sz="2645"/>
              <a:t>3000 </a:t>
            </a:r>
            <a:r>
              <a:rPr lang="de-DE" sz="2645" err="1"/>
              <a:t>orders</a:t>
            </a:r>
            <a:r>
              <a:rPr lang="de-DE" sz="2645"/>
              <a:t>/Min</a:t>
            </a:r>
          </a:p>
        </p:txBody>
      </p:sp>
      <p:sp>
        <p:nvSpPr>
          <p:cNvPr id="21" name="Text Placeholder 20">
            <a:extLst>
              <a:ext uri="{FF2B5EF4-FFF2-40B4-BE49-F238E27FC236}">
                <a16:creationId xmlns:a16="http://schemas.microsoft.com/office/drawing/2014/main" id="{8DFA67C1-E0FF-4D78-8430-E5D27DE9823E}"/>
              </a:ext>
            </a:extLst>
          </p:cNvPr>
          <p:cNvSpPr>
            <a:spLocks noGrp="1"/>
          </p:cNvSpPr>
          <p:nvPr>
            <p:ph type="body" sz="quarter" idx="35"/>
          </p:nvPr>
        </p:nvSpPr>
        <p:spPr>
          <a:xfrm>
            <a:off x="5524287" y="4571956"/>
            <a:ext cx="1809915" cy="1523942"/>
          </a:xfrm>
        </p:spPr>
        <p:txBody>
          <a:bodyPr/>
          <a:lstStyle/>
          <a:p>
            <a:pPr algn="ctr"/>
            <a:r>
              <a:rPr lang="de-DE">
                <a:solidFill>
                  <a:schemeClr val="accent5"/>
                </a:solidFill>
              </a:rPr>
              <a:t>Consumer </a:t>
            </a:r>
            <a:r>
              <a:rPr lang="de-DE" err="1">
                <a:solidFill>
                  <a:schemeClr val="accent5"/>
                </a:solidFill>
              </a:rPr>
              <a:t>comms</a:t>
            </a:r>
            <a:endParaRPr lang="de-DE">
              <a:solidFill>
                <a:schemeClr val="accent5"/>
              </a:solidFill>
            </a:endParaRPr>
          </a:p>
          <a:p>
            <a:pPr algn="ctr"/>
            <a:endParaRPr lang="de-DE"/>
          </a:p>
          <a:p>
            <a:pPr algn="ctr"/>
            <a:r>
              <a:rPr lang="de-DE" sz="2645"/>
              <a:t>11 B</a:t>
            </a:r>
          </a:p>
          <a:p>
            <a:pPr algn="ctr"/>
            <a:endParaRPr lang="de-DE" sz="2645"/>
          </a:p>
          <a:p>
            <a:pPr algn="ctr"/>
            <a:r>
              <a:rPr lang="de-DE"/>
              <a:t>168 m </a:t>
            </a:r>
            <a:r>
              <a:rPr lang="de-DE" sz="1587" err="1"/>
              <a:t>members</a:t>
            </a:r>
            <a:endParaRPr lang="de-DE" sz="1587"/>
          </a:p>
        </p:txBody>
      </p:sp>
      <p:sp>
        <p:nvSpPr>
          <p:cNvPr id="22" name="Text Placeholder 21">
            <a:extLst>
              <a:ext uri="{FF2B5EF4-FFF2-40B4-BE49-F238E27FC236}">
                <a16:creationId xmlns:a16="http://schemas.microsoft.com/office/drawing/2014/main" id="{149563C3-F141-415C-AF88-9F7E0E2C9401}"/>
              </a:ext>
            </a:extLst>
          </p:cNvPr>
          <p:cNvSpPr>
            <a:spLocks noGrp="1"/>
          </p:cNvSpPr>
          <p:nvPr>
            <p:ph type="body" sz="quarter" idx="36"/>
          </p:nvPr>
        </p:nvSpPr>
        <p:spPr/>
        <p:txBody>
          <a:bodyPr/>
          <a:lstStyle/>
          <a:p>
            <a:pPr algn="ctr"/>
            <a:r>
              <a:rPr lang="de-DE">
                <a:solidFill>
                  <a:schemeClr val="accent5"/>
                </a:solidFill>
              </a:rPr>
              <a:t>Hype drop </a:t>
            </a:r>
            <a:r>
              <a:rPr lang="de-DE" err="1">
                <a:solidFill>
                  <a:schemeClr val="accent5"/>
                </a:solidFill>
              </a:rPr>
              <a:t>visits</a:t>
            </a:r>
            <a:endParaRPr lang="de-DE">
              <a:solidFill>
                <a:schemeClr val="accent5"/>
              </a:solidFill>
            </a:endParaRPr>
          </a:p>
          <a:p>
            <a:pPr algn="ctr"/>
            <a:endParaRPr lang="de-DE">
              <a:solidFill>
                <a:schemeClr val="accent5"/>
              </a:solidFill>
            </a:endParaRPr>
          </a:p>
          <a:p>
            <a:pPr algn="ctr"/>
            <a:r>
              <a:rPr lang="de-DE" sz="2645"/>
              <a:t>1.5 m/sec</a:t>
            </a:r>
          </a:p>
          <a:p>
            <a:pPr algn="ctr"/>
            <a:endParaRPr lang="de-DE" sz="2645"/>
          </a:p>
          <a:p>
            <a:pPr algn="ctr"/>
            <a:r>
              <a:rPr lang="de-DE" sz="1587"/>
              <a:t>Over </a:t>
            </a:r>
            <a:r>
              <a:rPr lang="de-DE"/>
              <a:t>200</a:t>
            </a:r>
            <a:r>
              <a:rPr lang="de-DE" sz="1587"/>
              <a:t> hype </a:t>
            </a:r>
            <a:r>
              <a:rPr lang="de-DE" sz="1587" err="1"/>
              <a:t>drops</a:t>
            </a:r>
            <a:r>
              <a:rPr lang="de-DE" sz="1587"/>
              <a:t> in 2020</a:t>
            </a:r>
          </a:p>
        </p:txBody>
      </p:sp>
    </p:spTree>
    <p:extLst>
      <p:ext uri="{BB962C8B-B14F-4D97-AF65-F5344CB8AC3E}">
        <p14:creationId xmlns:p14="http://schemas.microsoft.com/office/powerpoint/2010/main" val="5272814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Arrow: Right 26">
            <a:extLst>
              <a:ext uri="{FF2B5EF4-FFF2-40B4-BE49-F238E27FC236}">
                <a16:creationId xmlns:a16="http://schemas.microsoft.com/office/drawing/2014/main" id="{F8EBD3EC-97C9-4187-A7D7-4FECB8D71C9C}"/>
              </a:ext>
            </a:extLst>
          </p:cNvPr>
          <p:cNvSpPr/>
          <p:nvPr/>
        </p:nvSpPr>
        <p:spPr bwMode="gray">
          <a:xfrm>
            <a:off x="495190" y="5692841"/>
            <a:ext cx="10833450" cy="607233"/>
          </a:xfrm>
          <a:prstGeom prst="rightArrow">
            <a:avLst/>
          </a:prstGeom>
          <a:solidFill>
            <a:srgbClr val="00CCFF">
              <a:alpha val="23137"/>
            </a:srgb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166663" rIns="95236" bIns="95236" numCol="1" spcCol="0" rtlCol="0" fromWordArt="0" anchor="ctr" anchorCtr="0" forceAA="0" compatLnSpc="1">
            <a:prstTxWarp prst="textNoShape">
              <a:avLst/>
            </a:prstTxWarp>
            <a:noAutofit/>
          </a:bodyPr>
          <a:lstStyle/>
          <a:p>
            <a:pPr algn="ctr" defTabSz="1216675" fontAlgn="base">
              <a:lnSpc>
                <a:spcPct val="75000"/>
              </a:lnSpc>
              <a:spcBef>
                <a:spcPct val="0"/>
              </a:spcBef>
            </a:pPr>
            <a:endParaRPr lang="de-DE" sz="2381" b="1" cap="all" spc="26" err="1">
              <a:solidFill>
                <a:prstClr val="white"/>
              </a:solidFill>
              <a:latin typeface="adineue PRO Cond"/>
              <a:cs typeface="AdihausDIN Cn" panose="020B0506020101010102" pitchFamily="34" charset="0"/>
            </a:endParaRPr>
          </a:p>
        </p:txBody>
      </p:sp>
      <p:sp>
        <p:nvSpPr>
          <p:cNvPr id="14" name="Title 13">
            <a:extLst>
              <a:ext uri="{FF2B5EF4-FFF2-40B4-BE49-F238E27FC236}">
                <a16:creationId xmlns:a16="http://schemas.microsoft.com/office/drawing/2014/main" id="{97E53053-0E90-4EA7-A375-2D4CB120079E}"/>
              </a:ext>
            </a:extLst>
          </p:cNvPr>
          <p:cNvSpPr>
            <a:spLocks noGrp="1"/>
          </p:cNvSpPr>
          <p:nvPr>
            <p:ph type="title"/>
          </p:nvPr>
        </p:nvSpPr>
        <p:spPr>
          <a:xfrm>
            <a:off x="238677" y="314594"/>
            <a:ext cx="11905138" cy="380943"/>
          </a:xfrm>
        </p:spPr>
        <p:txBody>
          <a:bodyPr/>
          <a:lstStyle/>
          <a:p>
            <a:r>
              <a:rPr lang="de-DE" dirty="0" err="1"/>
              <a:t>Our</a:t>
            </a:r>
            <a:r>
              <a:rPr lang="de-DE" dirty="0"/>
              <a:t> </a:t>
            </a:r>
            <a:r>
              <a:rPr lang="de-DE" dirty="0" err="1"/>
              <a:t>journey</a:t>
            </a:r>
            <a:r>
              <a:rPr lang="de-DE" dirty="0"/>
              <a:t> </a:t>
            </a:r>
            <a:r>
              <a:rPr lang="de-DE" dirty="0" err="1"/>
              <a:t>from</a:t>
            </a:r>
            <a:r>
              <a:rPr lang="de-DE" dirty="0"/>
              <a:t> a </a:t>
            </a:r>
            <a:r>
              <a:rPr lang="de-DE" dirty="0" err="1"/>
              <a:t>reliable</a:t>
            </a:r>
            <a:r>
              <a:rPr lang="de-DE" dirty="0"/>
              <a:t> </a:t>
            </a:r>
            <a:r>
              <a:rPr lang="de-DE" dirty="0" err="1"/>
              <a:t>to</a:t>
            </a:r>
            <a:r>
              <a:rPr lang="de-DE" dirty="0"/>
              <a:t> a </a:t>
            </a:r>
            <a:r>
              <a:rPr lang="de-DE" dirty="0" err="1"/>
              <a:t>stable</a:t>
            </a:r>
            <a:r>
              <a:rPr lang="de-DE" dirty="0"/>
              <a:t> </a:t>
            </a:r>
            <a:r>
              <a:rPr lang="de-DE" dirty="0" err="1"/>
              <a:t>and</a:t>
            </a:r>
            <a:r>
              <a:rPr lang="de-DE" dirty="0"/>
              <a:t> </a:t>
            </a:r>
            <a:r>
              <a:rPr lang="de-DE" dirty="0" err="1"/>
              <a:t>resilient</a:t>
            </a:r>
            <a:r>
              <a:rPr lang="de-DE" dirty="0"/>
              <a:t> </a:t>
            </a:r>
            <a:r>
              <a:rPr lang="de-DE" dirty="0" err="1"/>
              <a:t>consumer</a:t>
            </a:r>
            <a:r>
              <a:rPr lang="de-DE" dirty="0"/>
              <a:t> </a:t>
            </a:r>
            <a:r>
              <a:rPr lang="de-DE" dirty="0" err="1"/>
              <a:t>experience</a:t>
            </a:r>
            <a:endParaRPr lang="de-DE" dirty="0"/>
          </a:p>
        </p:txBody>
      </p:sp>
      <p:sp>
        <p:nvSpPr>
          <p:cNvPr id="15" name="Text Placeholder 14">
            <a:extLst>
              <a:ext uri="{FF2B5EF4-FFF2-40B4-BE49-F238E27FC236}">
                <a16:creationId xmlns:a16="http://schemas.microsoft.com/office/drawing/2014/main" id="{AB1B19D9-E2B6-4B39-A733-86368FB43D28}"/>
              </a:ext>
            </a:extLst>
          </p:cNvPr>
          <p:cNvSpPr>
            <a:spLocks noGrp="1"/>
          </p:cNvSpPr>
          <p:nvPr>
            <p:ph type="body" sz="quarter" idx="29"/>
          </p:nvPr>
        </p:nvSpPr>
        <p:spPr/>
        <p:txBody>
          <a:bodyPr/>
          <a:lstStyle/>
          <a:p>
            <a:r>
              <a:rPr lang="de-DE" sz="2116">
                <a:latin typeface="+mn-lt"/>
              </a:rPr>
              <a:t>Evolution of stability and resilience KPIS to </a:t>
            </a:r>
            <a:r>
              <a:rPr lang="de-DE" sz="2116" err="1">
                <a:latin typeface="+mn-lt"/>
              </a:rPr>
              <a:t>more</a:t>
            </a:r>
            <a:r>
              <a:rPr lang="de-DE" sz="2116">
                <a:latin typeface="+mn-lt"/>
              </a:rPr>
              <a:t> </a:t>
            </a:r>
            <a:r>
              <a:rPr lang="de-DE" sz="2116" err="1">
                <a:latin typeface="+mn-lt"/>
              </a:rPr>
              <a:t>business</a:t>
            </a:r>
            <a:r>
              <a:rPr lang="de-DE" sz="2116">
                <a:latin typeface="+mn-lt"/>
              </a:rPr>
              <a:t> </a:t>
            </a:r>
            <a:r>
              <a:rPr lang="de-DE" sz="2116" err="1">
                <a:latin typeface="+mn-lt"/>
              </a:rPr>
              <a:t>focused</a:t>
            </a:r>
            <a:endParaRPr lang="de-DE" sz="2116">
              <a:latin typeface="+mn-lt"/>
            </a:endParaRPr>
          </a:p>
          <a:p>
            <a:endParaRPr lang="de-DE" sz="2116"/>
          </a:p>
        </p:txBody>
      </p:sp>
      <p:grpSp>
        <p:nvGrpSpPr>
          <p:cNvPr id="49" name="Group 48">
            <a:extLst>
              <a:ext uri="{FF2B5EF4-FFF2-40B4-BE49-F238E27FC236}">
                <a16:creationId xmlns:a16="http://schemas.microsoft.com/office/drawing/2014/main" id="{251D27B3-5F79-4348-8C9E-D0B397C5E440}"/>
              </a:ext>
            </a:extLst>
          </p:cNvPr>
          <p:cNvGrpSpPr/>
          <p:nvPr/>
        </p:nvGrpSpPr>
        <p:grpSpPr>
          <a:xfrm>
            <a:off x="238676" y="1153749"/>
            <a:ext cx="11703256" cy="4367715"/>
            <a:chOff x="-78632" y="1128850"/>
            <a:chExt cx="9258611" cy="3607839"/>
          </a:xfrm>
        </p:grpSpPr>
        <p:pic>
          <p:nvPicPr>
            <p:cNvPr id="82" name="Picture 2" descr="Learning over Delivery. SCRUM &amp; LEAN UX | Episode 6 | by Sjoerd Nijland |  Serious Scrum | Medium">
              <a:extLst>
                <a:ext uri="{FF2B5EF4-FFF2-40B4-BE49-F238E27FC236}">
                  <a16:creationId xmlns:a16="http://schemas.microsoft.com/office/drawing/2014/main" id="{5C746AD0-9A2B-41E2-8792-C0C6BA04097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936430" y="1639848"/>
              <a:ext cx="2615700" cy="218417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earning over Delivery. SCRUM &amp; LEAN UX | Episode 6 | by Sjoerd Nijland |  Serious Scrum | Medium">
              <a:extLst>
                <a:ext uri="{FF2B5EF4-FFF2-40B4-BE49-F238E27FC236}">
                  <a16:creationId xmlns:a16="http://schemas.microsoft.com/office/drawing/2014/main" id="{BCE35AFA-92B2-4DD1-B826-8A594166161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30023" y="1627230"/>
              <a:ext cx="2615700" cy="2184179"/>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2" descr="Learning over Delivery. SCRUM &amp; LEAN UX | Episode 6 | by Sjoerd Nijland |  Serious Scrum | Medium">
              <a:extLst>
                <a:ext uri="{FF2B5EF4-FFF2-40B4-BE49-F238E27FC236}">
                  <a16:creationId xmlns:a16="http://schemas.microsoft.com/office/drawing/2014/main" id="{0906CEEB-1138-44C9-A6F9-8DF1864E5C83}"/>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16298" y="1640396"/>
              <a:ext cx="2615700" cy="2184179"/>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4FCDCC1B-8D7A-4955-9E18-C57646260761}"/>
                </a:ext>
              </a:extLst>
            </p:cNvPr>
            <p:cNvSpPr txBox="1"/>
            <p:nvPr/>
          </p:nvSpPr>
          <p:spPr bwMode="gray">
            <a:xfrm>
              <a:off x="1910635" y="3733401"/>
              <a:ext cx="1344295" cy="504056"/>
            </a:xfrm>
            <a:prstGeom prst="rect">
              <a:avLst/>
            </a:prstGeom>
            <a:noFill/>
          </p:spPr>
          <p:txBody>
            <a:bodyPr vert="horz" wrap="square" lIns="0" tIns="0" rIns="0" bIns="0" rtlCol="0" anchor="t" anchorCtr="0">
              <a:noAutofit/>
            </a:bodyPr>
            <a:lstStyle/>
            <a:p>
              <a:pPr algn="ctr" defTabSz="1216675" fontAlgn="base">
                <a:lnSpc>
                  <a:spcPct val="90000"/>
                </a:lnSpc>
                <a:spcBef>
                  <a:spcPct val="0"/>
                </a:spcBef>
                <a:spcAft>
                  <a:spcPts val="794"/>
                </a:spcAft>
                <a:buSzPct val="90000"/>
              </a:pPr>
              <a:r>
                <a:rPr lang="de-DE" sz="2381" b="1" cap="all" spc="26">
                  <a:solidFill>
                    <a:prstClr val="black"/>
                  </a:solidFill>
                  <a:latin typeface="adineue PRO Cond"/>
                  <a:cs typeface="AdihausDIN Cn" panose="020B0506020101010102" pitchFamily="34" charset="0"/>
                </a:rPr>
                <a:t>Traditional Operational KPI</a:t>
              </a:r>
            </a:p>
            <a:p>
              <a:pPr algn="ctr" defTabSz="1216675" fontAlgn="base">
                <a:lnSpc>
                  <a:spcPct val="90000"/>
                </a:lnSpc>
                <a:spcBef>
                  <a:spcPct val="0"/>
                </a:spcBef>
                <a:spcAft>
                  <a:spcPts val="794"/>
                </a:spcAft>
                <a:buSzPct val="90000"/>
              </a:pPr>
              <a:r>
                <a:rPr lang="de-DE" sz="1323">
                  <a:solidFill>
                    <a:prstClr val="black"/>
                  </a:solidFill>
                  <a:latin typeface="AdihausDIN"/>
                  <a:cs typeface="Arial" charset="0"/>
                </a:rPr>
                <a:t>P1 SLA , P2 SLA…</a:t>
              </a:r>
            </a:p>
          </p:txBody>
        </p:sp>
        <p:sp>
          <p:nvSpPr>
            <p:cNvPr id="29" name="TextBox 28">
              <a:extLst>
                <a:ext uri="{FF2B5EF4-FFF2-40B4-BE49-F238E27FC236}">
                  <a16:creationId xmlns:a16="http://schemas.microsoft.com/office/drawing/2014/main" id="{E45C46FC-D628-4DD4-A757-1E49A3BAC11E}"/>
                </a:ext>
              </a:extLst>
            </p:cNvPr>
            <p:cNvSpPr txBox="1"/>
            <p:nvPr/>
          </p:nvSpPr>
          <p:spPr bwMode="gray">
            <a:xfrm>
              <a:off x="7857322" y="3406530"/>
              <a:ext cx="1322657" cy="504056"/>
            </a:xfrm>
            <a:prstGeom prst="rect">
              <a:avLst/>
            </a:prstGeom>
            <a:noFill/>
          </p:spPr>
          <p:txBody>
            <a:bodyPr vert="horz" wrap="square" lIns="0" tIns="0" rIns="0" bIns="0" rtlCol="0" anchor="t" anchorCtr="0">
              <a:noAutofit/>
            </a:bodyPr>
            <a:lstStyle/>
            <a:p>
              <a:pPr algn="ctr" defTabSz="1216675" fontAlgn="base">
                <a:lnSpc>
                  <a:spcPct val="75000"/>
                </a:lnSpc>
                <a:spcBef>
                  <a:spcPct val="0"/>
                </a:spcBef>
                <a:buSzPct val="90000"/>
              </a:pPr>
              <a:r>
                <a:rPr lang="de-DE" sz="2381" b="1" cap="all" spc="26" dirty="0">
                  <a:solidFill>
                    <a:prstClr val="black"/>
                  </a:solidFill>
                  <a:latin typeface="adineue PRO Cond"/>
                  <a:cs typeface="AdihausDIN Cn" panose="020B0506020101010102" pitchFamily="34" charset="0"/>
                </a:rPr>
                <a:t>A KPI that </a:t>
              </a:r>
              <a:r>
                <a:rPr lang="de-DE" sz="2381" b="1" cap="all" spc="26" dirty="0" err="1">
                  <a:solidFill>
                    <a:prstClr val="black"/>
                  </a:solidFill>
                  <a:latin typeface="adineue PRO Cond"/>
                  <a:cs typeface="AdihausDIN Cn" panose="020B0506020101010102" pitchFamily="34" charset="0"/>
                </a:rPr>
                <a:t>brought</a:t>
              </a:r>
              <a:r>
                <a:rPr lang="de-DE" sz="2381" b="1" cap="all" spc="26" dirty="0">
                  <a:solidFill>
                    <a:prstClr val="black"/>
                  </a:solidFill>
                  <a:latin typeface="adineue PRO Cond"/>
                  <a:cs typeface="AdihausDIN Cn" panose="020B0506020101010102" pitchFamily="34" charset="0"/>
                </a:rPr>
                <a:t> all of </a:t>
              </a:r>
              <a:r>
                <a:rPr lang="de-DE" sz="2381" b="1" cap="all" spc="26" dirty="0" err="1">
                  <a:solidFill>
                    <a:prstClr val="black"/>
                  </a:solidFill>
                  <a:latin typeface="adineue PRO Cond"/>
                  <a:cs typeface="AdihausDIN Cn" panose="020B0506020101010102" pitchFamily="34" charset="0"/>
                </a:rPr>
                <a:t>us</a:t>
              </a:r>
              <a:r>
                <a:rPr lang="de-DE" sz="2381" b="1" cap="all" spc="26" dirty="0">
                  <a:solidFill>
                    <a:prstClr val="black"/>
                  </a:solidFill>
                  <a:latin typeface="adineue PRO Cond"/>
                  <a:cs typeface="AdihausDIN Cn" panose="020B0506020101010102" pitchFamily="34" charset="0"/>
                </a:rPr>
                <a:t> together</a:t>
              </a:r>
            </a:p>
            <a:p>
              <a:pPr algn="ctr" defTabSz="1216675" fontAlgn="base">
                <a:lnSpc>
                  <a:spcPct val="90000"/>
                </a:lnSpc>
                <a:spcBef>
                  <a:spcPct val="0"/>
                </a:spcBef>
                <a:spcAft>
                  <a:spcPts val="794"/>
                </a:spcAft>
                <a:buSzPct val="90000"/>
              </a:pPr>
              <a:r>
                <a:rPr lang="de-DE" sz="1587" b="1" dirty="0">
                  <a:solidFill>
                    <a:srgbClr val="E8A200"/>
                  </a:solidFill>
                  <a:latin typeface="AdihausDIN"/>
                  <a:cs typeface="Arial" charset="0"/>
                </a:rPr>
                <a:t>%Revenue </a:t>
              </a:r>
              <a:r>
                <a:rPr lang="de-DE" sz="1587" b="1" dirty="0" err="1">
                  <a:solidFill>
                    <a:srgbClr val="E8A200"/>
                  </a:solidFill>
                  <a:latin typeface="AdihausDIN"/>
                  <a:cs typeface="Arial" charset="0"/>
                </a:rPr>
                <a:t>Bleed</a:t>
              </a:r>
              <a:r>
                <a:rPr lang="de-DE" sz="1587" b="1" dirty="0">
                  <a:solidFill>
                    <a:srgbClr val="E8A200"/>
                  </a:solidFill>
                  <a:latin typeface="AdihausDIN"/>
                  <a:cs typeface="Arial" charset="0"/>
                </a:rPr>
                <a:t> </a:t>
              </a:r>
              <a:r>
                <a:rPr lang="de-DE" sz="1587" b="1" dirty="0" err="1">
                  <a:solidFill>
                    <a:srgbClr val="E8A200"/>
                  </a:solidFill>
                  <a:latin typeface="AdihausDIN"/>
                  <a:cs typeface="Arial" charset="0"/>
                </a:rPr>
                <a:t>vs</a:t>
              </a:r>
              <a:r>
                <a:rPr lang="de-DE" sz="1587" b="1" dirty="0">
                  <a:solidFill>
                    <a:srgbClr val="E8A200"/>
                  </a:solidFill>
                  <a:latin typeface="AdihausDIN"/>
                  <a:cs typeface="Arial" charset="0"/>
                </a:rPr>
                <a:t> Net Sales</a:t>
              </a:r>
            </a:p>
          </p:txBody>
        </p:sp>
        <p:sp>
          <p:nvSpPr>
            <p:cNvPr id="68" name="TextBox 67">
              <a:extLst>
                <a:ext uri="{FF2B5EF4-FFF2-40B4-BE49-F238E27FC236}">
                  <a16:creationId xmlns:a16="http://schemas.microsoft.com/office/drawing/2014/main" id="{7AEF269A-96BB-4509-A587-04D5656C246C}"/>
                </a:ext>
              </a:extLst>
            </p:cNvPr>
            <p:cNvSpPr txBox="1"/>
            <p:nvPr/>
          </p:nvSpPr>
          <p:spPr bwMode="gray">
            <a:xfrm>
              <a:off x="4873181" y="3441347"/>
              <a:ext cx="1401579" cy="504056"/>
            </a:xfrm>
            <a:prstGeom prst="rect">
              <a:avLst/>
            </a:prstGeom>
            <a:noFill/>
          </p:spPr>
          <p:txBody>
            <a:bodyPr vert="horz" wrap="square" lIns="0" tIns="0" rIns="0" bIns="0" rtlCol="0" anchor="t" anchorCtr="0">
              <a:noAutofit/>
            </a:bodyPr>
            <a:lstStyle/>
            <a:p>
              <a:pPr algn="ctr" defTabSz="1216675" fontAlgn="base">
                <a:lnSpc>
                  <a:spcPct val="75000"/>
                </a:lnSpc>
                <a:spcBef>
                  <a:spcPct val="0"/>
                </a:spcBef>
                <a:buSzPct val="90000"/>
              </a:pPr>
              <a:r>
                <a:rPr lang="de-DE" sz="2381" b="1" cap="all" spc="26" err="1">
                  <a:solidFill>
                    <a:prstClr val="black"/>
                  </a:solidFill>
                  <a:latin typeface="adineue PRO Cond"/>
                  <a:cs typeface="AdihausDIN Cn" panose="020B0506020101010102" pitchFamily="34" charset="0"/>
                </a:rPr>
                <a:t>Semi</a:t>
              </a:r>
              <a:r>
                <a:rPr lang="de-DE" sz="2381" b="1" cap="all" spc="26">
                  <a:solidFill>
                    <a:prstClr val="black"/>
                  </a:solidFill>
                  <a:latin typeface="adineue PRO Cond"/>
                  <a:cs typeface="AdihausDIN Cn" panose="020B0506020101010102" pitchFamily="34" charset="0"/>
                </a:rPr>
                <a:t> - </a:t>
              </a:r>
              <a:r>
                <a:rPr lang="de-DE" sz="2381" b="1" cap="all" spc="26" err="1">
                  <a:solidFill>
                    <a:prstClr val="black"/>
                  </a:solidFill>
                  <a:latin typeface="adineue PRO Cond"/>
                  <a:cs typeface="AdihausDIN Cn" panose="020B0506020101010102" pitchFamily="34" charset="0"/>
                </a:rPr>
                <a:t>Autonomous</a:t>
              </a:r>
              <a:endParaRPr lang="de-DE" sz="2381" b="1" cap="all" spc="26">
                <a:solidFill>
                  <a:prstClr val="black"/>
                </a:solidFill>
                <a:latin typeface="adineue PRO Cond"/>
                <a:cs typeface="AdihausDIN Cn" panose="020B0506020101010102" pitchFamily="34" charset="0"/>
              </a:endParaRPr>
            </a:p>
            <a:p>
              <a:pPr algn="ctr" defTabSz="1216675" fontAlgn="base">
                <a:lnSpc>
                  <a:spcPct val="90000"/>
                </a:lnSpc>
                <a:spcBef>
                  <a:spcPct val="0"/>
                </a:spcBef>
                <a:spcAft>
                  <a:spcPts val="794"/>
                </a:spcAft>
                <a:buSzPct val="90000"/>
              </a:pPr>
              <a:r>
                <a:rPr lang="de-DE" sz="1323">
                  <a:solidFill>
                    <a:prstClr val="black"/>
                  </a:solidFill>
                  <a:latin typeface="AdihausDIN"/>
                  <a:cs typeface="Arial" charset="0"/>
                </a:rPr>
                <a:t># P1 , MTTR ,MTTD, MTBSI</a:t>
              </a:r>
            </a:p>
          </p:txBody>
        </p:sp>
        <p:sp>
          <p:nvSpPr>
            <p:cNvPr id="60" name="TextBox 59">
              <a:extLst>
                <a:ext uri="{FF2B5EF4-FFF2-40B4-BE49-F238E27FC236}">
                  <a16:creationId xmlns:a16="http://schemas.microsoft.com/office/drawing/2014/main" id="{193E0C5F-EE41-4B97-9D7C-E777122D5E0B}"/>
                </a:ext>
              </a:extLst>
            </p:cNvPr>
            <p:cNvSpPr txBox="1"/>
            <p:nvPr/>
          </p:nvSpPr>
          <p:spPr bwMode="gray">
            <a:xfrm>
              <a:off x="56337" y="3364027"/>
              <a:ext cx="1456274" cy="1219303"/>
            </a:xfrm>
            <a:prstGeom prst="rect">
              <a:avLst/>
            </a:prstGeom>
            <a:noFill/>
          </p:spPr>
          <p:txBody>
            <a:bodyPr wrap="square">
              <a:spAutoFit/>
            </a:bodyPr>
            <a:lstStyle/>
            <a:p>
              <a:pPr algn="ctr" defTabSz="1216675" fontAlgn="base">
                <a:lnSpc>
                  <a:spcPct val="75000"/>
                </a:lnSpc>
                <a:spcBef>
                  <a:spcPct val="0"/>
                </a:spcBef>
                <a:defRPr/>
              </a:pPr>
              <a:r>
                <a:rPr lang="en-US" sz="2381" b="1" cap="all" spc="26">
                  <a:solidFill>
                    <a:prstClr val="black"/>
                  </a:solidFill>
                  <a:latin typeface="adineue PRO Cond"/>
                  <a:cs typeface="AdihausDIN Cn" panose="020B0506020101010102" pitchFamily="34" charset="0"/>
                </a:rPr>
                <a:t>Reliability is the key to maintain competitive advantage</a:t>
              </a:r>
              <a:endParaRPr lang="de-DE" sz="2381" b="1" cap="all" spc="26">
                <a:solidFill>
                  <a:prstClr val="black"/>
                </a:solidFill>
                <a:latin typeface="adineue PRO Cond"/>
                <a:cs typeface="AdihausDIN Cn" panose="020B0506020101010102" pitchFamily="34" charset="0"/>
              </a:endParaRPr>
            </a:p>
          </p:txBody>
        </p:sp>
        <p:sp>
          <p:nvSpPr>
            <p:cNvPr id="66" name="TextBox 65">
              <a:extLst>
                <a:ext uri="{FF2B5EF4-FFF2-40B4-BE49-F238E27FC236}">
                  <a16:creationId xmlns:a16="http://schemas.microsoft.com/office/drawing/2014/main" id="{60D09786-8EFB-4A6D-BB3B-4B5A1EA4C35F}"/>
                </a:ext>
              </a:extLst>
            </p:cNvPr>
            <p:cNvSpPr txBox="1"/>
            <p:nvPr/>
          </p:nvSpPr>
          <p:spPr bwMode="gray">
            <a:xfrm>
              <a:off x="3341977" y="3803956"/>
              <a:ext cx="1456274" cy="538281"/>
            </a:xfrm>
            <a:prstGeom prst="rect">
              <a:avLst/>
            </a:prstGeom>
            <a:noFill/>
          </p:spPr>
          <p:txBody>
            <a:bodyPr wrap="square">
              <a:spAutoFit/>
            </a:bodyPr>
            <a:lstStyle/>
            <a:p>
              <a:pPr algn="ctr" defTabSz="1216675" fontAlgn="base">
                <a:lnSpc>
                  <a:spcPct val="75000"/>
                </a:lnSpc>
                <a:spcBef>
                  <a:spcPct val="0"/>
                </a:spcBef>
              </a:pPr>
              <a:r>
                <a:rPr lang="de-DE" sz="2381" b="1" cap="all" spc="26">
                  <a:solidFill>
                    <a:prstClr val="black"/>
                  </a:solidFill>
                  <a:latin typeface="adineue PRO Cond"/>
                  <a:cs typeface="AdihausDIN Cn" panose="020B0506020101010102" pitchFamily="34" charset="0"/>
                </a:rPr>
                <a:t>#one team </a:t>
              </a:r>
              <a:r>
                <a:rPr lang="de-DE" sz="2381" b="1" cap="all" spc="26" err="1">
                  <a:solidFill>
                    <a:prstClr val="black"/>
                  </a:solidFill>
                  <a:latin typeface="adineue PRO Cond"/>
                  <a:cs typeface="AdihausDIN Cn" panose="020B0506020101010102" pitchFamily="34" charset="0"/>
                </a:rPr>
                <a:t>one</a:t>
              </a:r>
              <a:r>
                <a:rPr lang="de-DE" sz="2381" b="1" cap="all" spc="26">
                  <a:solidFill>
                    <a:prstClr val="black"/>
                  </a:solidFill>
                  <a:latin typeface="adineue PRO Cond"/>
                  <a:cs typeface="AdihausDIN Cn" panose="020B0506020101010102" pitchFamily="34" charset="0"/>
                </a:rPr>
                <a:t> </a:t>
              </a:r>
              <a:r>
                <a:rPr lang="de-DE" sz="2381" b="1" cap="all" spc="26" err="1">
                  <a:solidFill>
                    <a:prstClr val="black"/>
                  </a:solidFill>
                  <a:latin typeface="adineue PRO Cond"/>
                  <a:cs typeface="AdihausDIN Cn" panose="020B0506020101010102" pitchFamily="34" charset="0"/>
                </a:rPr>
                <a:t>backlog</a:t>
              </a:r>
              <a:r>
                <a:rPr lang="de-DE" sz="2381" b="1" cap="all" spc="26">
                  <a:solidFill>
                    <a:prstClr val="black"/>
                  </a:solidFill>
                  <a:latin typeface="adineue PRO Cond"/>
                  <a:cs typeface="AdihausDIN Cn" panose="020B0506020101010102" pitchFamily="34" charset="0"/>
                </a:rPr>
                <a:t> </a:t>
              </a:r>
            </a:p>
          </p:txBody>
        </p:sp>
        <p:sp>
          <p:nvSpPr>
            <p:cNvPr id="73" name="TextBox 72">
              <a:extLst>
                <a:ext uri="{FF2B5EF4-FFF2-40B4-BE49-F238E27FC236}">
                  <a16:creationId xmlns:a16="http://schemas.microsoft.com/office/drawing/2014/main" id="{C5DE6573-D370-4BC9-8CC5-10F8F046AABC}"/>
                </a:ext>
              </a:extLst>
            </p:cNvPr>
            <p:cNvSpPr txBox="1"/>
            <p:nvPr/>
          </p:nvSpPr>
          <p:spPr bwMode="gray">
            <a:xfrm>
              <a:off x="3105567" y="1305227"/>
              <a:ext cx="1303981" cy="992296"/>
            </a:xfrm>
            <a:prstGeom prst="rect">
              <a:avLst/>
            </a:prstGeom>
            <a:noFill/>
          </p:spPr>
          <p:txBody>
            <a:bodyPr wrap="square">
              <a:spAutoFit/>
            </a:bodyPr>
            <a:lstStyle/>
            <a:p>
              <a:pPr algn="ctr" defTabSz="1216675" fontAlgn="base">
                <a:lnSpc>
                  <a:spcPct val="75000"/>
                </a:lnSpc>
                <a:spcBef>
                  <a:spcPct val="0"/>
                </a:spcBef>
              </a:pPr>
              <a:r>
                <a:rPr lang="de-DE" sz="2381" b="1" cap="all" spc="26">
                  <a:solidFill>
                    <a:prstClr val="black"/>
                  </a:solidFill>
                  <a:latin typeface="adineue PRO Cond"/>
                  <a:cs typeface="AdihausDIN Cn" panose="020B0506020101010102" pitchFamily="34" charset="0"/>
                </a:rPr>
                <a:t>Key SRE practices </a:t>
              </a:r>
              <a:r>
                <a:rPr lang="de-DE" sz="2381" b="1" cap="all" spc="26" err="1">
                  <a:solidFill>
                    <a:prstClr val="black"/>
                  </a:solidFill>
                  <a:latin typeface="adineue PRO Cond"/>
                  <a:cs typeface="AdihausDIN Cn" panose="020B0506020101010102" pitchFamily="34" charset="0"/>
                </a:rPr>
                <a:t>tailored</a:t>
              </a:r>
              <a:r>
                <a:rPr lang="de-DE" sz="2381" b="1" cap="all" spc="26">
                  <a:solidFill>
                    <a:prstClr val="black"/>
                  </a:solidFill>
                  <a:latin typeface="adineue PRO Cond"/>
                  <a:cs typeface="AdihausDIN Cn" panose="020B0506020101010102" pitchFamily="34" charset="0"/>
                </a:rPr>
                <a:t> at scale</a:t>
              </a:r>
            </a:p>
          </p:txBody>
        </p:sp>
        <p:sp>
          <p:nvSpPr>
            <p:cNvPr id="16" name="Arrow: Right 15">
              <a:extLst>
                <a:ext uri="{FF2B5EF4-FFF2-40B4-BE49-F238E27FC236}">
                  <a16:creationId xmlns:a16="http://schemas.microsoft.com/office/drawing/2014/main" id="{EF6D3C2D-1D40-40F0-A62F-EB7BD232761A}"/>
                </a:ext>
              </a:extLst>
            </p:cNvPr>
            <p:cNvSpPr/>
            <p:nvPr/>
          </p:nvSpPr>
          <p:spPr bwMode="gray">
            <a:xfrm>
              <a:off x="68681" y="2661314"/>
              <a:ext cx="8570495" cy="501589"/>
            </a:xfrm>
            <a:prstGeom prst="rightArrow">
              <a:avLst/>
            </a:prstGeom>
            <a:solidFill>
              <a:srgbClr val="00CCFF">
                <a:alpha val="23137"/>
              </a:srgb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166663" rIns="95236" bIns="95236" numCol="1" spcCol="0" rtlCol="0" fromWordArt="0" anchor="ctr" anchorCtr="0" forceAA="0" compatLnSpc="1">
              <a:prstTxWarp prst="textNoShape">
                <a:avLst/>
              </a:prstTxWarp>
              <a:noAutofit/>
            </a:bodyPr>
            <a:lstStyle/>
            <a:p>
              <a:pPr algn="ctr" defTabSz="1216675" fontAlgn="base">
                <a:lnSpc>
                  <a:spcPct val="75000"/>
                </a:lnSpc>
                <a:spcBef>
                  <a:spcPct val="0"/>
                </a:spcBef>
              </a:pPr>
              <a:endParaRPr lang="de-DE" sz="2381" b="1" cap="all" spc="26" err="1">
                <a:solidFill>
                  <a:prstClr val="white"/>
                </a:solidFill>
                <a:latin typeface="adineue PRO Cond"/>
                <a:cs typeface="AdihausDIN Cn" panose="020B0506020101010102" pitchFamily="34" charset="0"/>
              </a:endParaRPr>
            </a:p>
          </p:txBody>
        </p:sp>
        <p:sp>
          <p:nvSpPr>
            <p:cNvPr id="76" name="TextBox 75">
              <a:extLst>
                <a:ext uri="{FF2B5EF4-FFF2-40B4-BE49-F238E27FC236}">
                  <a16:creationId xmlns:a16="http://schemas.microsoft.com/office/drawing/2014/main" id="{A6CBE4E0-687E-48FD-9F47-13855BC62EFF}"/>
                </a:ext>
              </a:extLst>
            </p:cNvPr>
            <p:cNvSpPr txBox="1"/>
            <p:nvPr/>
          </p:nvSpPr>
          <p:spPr bwMode="gray">
            <a:xfrm>
              <a:off x="522166" y="1366014"/>
              <a:ext cx="1303981" cy="538281"/>
            </a:xfrm>
            <a:prstGeom prst="rect">
              <a:avLst/>
            </a:prstGeom>
            <a:noFill/>
          </p:spPr>
          <p:txBody>
            <a:bodyPr wrap="square">
              <a:spAutoFit/>
            </a:bodyPr>
            <a:lstStyle/>
            <a:p>
              <a:pPr algn="ctr" defTabSz="1216675" fontAlgn="base">
                <a:lnSpc>
                  <a:spcPct val="75000"/>
                </a:lnSpc>
                <a:spcBef>
                  <a:spcPct val="0"/>
                </a:spcBef>
              </a:pPr>
              <a:r>
                <a:rPr lang="de-DE" sz="2381" b="1" cap="all" spc="26">
                  <a:solidFill>
                    <a:prstClr val="black"/>
                  </a:solidFill>
                  <a:latin typeface="adineue PRO Cond"/>
                  <a:cs typeface="AdihausDIN Cn" panose="020B0506020101010102" pitchFamily="34" charset="0"/>
                </a:rPr>
                <a:t>Key ITIL practices</a:t>
              </a:r>
            </a:p>
          </p:txBody>
        </p:sp>
        <p:pic>
          <p:nvPicPr>
            <p:cNvPr id="3" name="Graphic 2" descr="Baby crawling outline">
              <a:extLst>
                <a:ext uri="{FF2B5EF4-FFF2-40B4-BE49-F238E27FC236}">
                  <a16:creationId xmlns:a16="http://schemas.microsoft.com/office/drawing/2014/main" id="{C1E947D5-EF07-477E-8CFB-5035A8B51C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632" y="2362079"/>
              <a:ext cx="914400" cy="914400"/>
            </a:xfrm>
            <a:prstGeom prst="rect">
              <a:avLst/>
            </a:prstGeom>
          </p:spPr>
        </p:pic>
        <p:pic>
          <p:nvPicPr>
            <p:cNvPr id="5" name="Graphic 4" descr="Walk outline">
              <a:extLst>
                <a:ext uri="{FF2B5EF4-FFF2-40B4-BE49-F238E27FC236}">
                  <a16:creationId xmlns:a16="http://schemas.microsoft.com/office/drawing/2014/main" id="{91582CE2-57B5-4BAB-8C55-8C56EDA20F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9210" y="2373547"/>
              <a:ext cx="914400" cy="914400"/>
            </a:xfrm>
            <a:prstGeom prst="rect">
              <a:avLst/>
            </a:prstGeom>
          </p:spPr>
        </p:pic>
        <p:pic>
          <p:nvPicPr>
            <p:cNvPr id="8" name="Graphic 7" descr="Run outline">
              <a:extLst>
                <a:ext uri="{FF2B5EF4-FFF2-40B4-BE49-F238E27FC236}">
                  <a16:creationId xmlns:a16="http://schemas.microsoft.com/office/drawing/2014/main" id="{B6DE4221-A39E-463C-879B-F16E4779FF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4286" y="2439072"/>
              <a:ext cx="914400" cy="914400"/>
            </a:xfrm>
            <a:prstGeom prst="rect">
              <a:avLst/>
            </a:prstGeom>
          </p:spPr>
        </p:pic>
        <p:pic>
          <p:nvPicPr>
            <p:cNvPr id="10" name="Graphic 9" descr="Helicopter outline">
              <a:extLst>
                <a:ext uri="{FF2B5EF4-FFF2-40B4-BE49-F238E27FC236}">
                  <a16:creationId xmlns:a16="http://schemas.microsoft.com/office/drawing/2014/main" id="{FE37B553-F6AF-4C33-B946-A39180F47C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98591" y="2421620"/>
              <a:ext cx="914400" cy="914400"/>
            </a:xfrm>
            <a:prstGeom prst="rect">
              <a:avLst/>
            </a:prstGeom>
          </p:spPr>
        </p:pic>
        <p:sp>
          <p:nvSpPr>
            <p:cNvPr id="83" name="TextBox 82">
              <a:extLst>
                <a:ext uri="{FF2B5EF4-FFF2-40B4-BE49-F238E27FC236}">
                  <a16:creationId xmlns:a16="http://schemas.microsoft.com/office/drawing/2014/main" id="{0AD1D13B-A703-443E-BB95-517B346EED7F}"/>
                </a:ext>
              </a:extLst>
            </p:cNvPr>
            <p:cNvSpPr txBox="1"/>
            <p:nvPr/>
          </p:nvSpPr>
          <p:spPr bwMode="gray">
            <a:xfrm>
              <a:off x="7586488" y="1128850"/>
              <a:ext cx="1532286" cy="1160830"/>
            </a:xfrm>
            <a:prstGeom prst="rect">
              <a:avLst/>
            </a:prstGeom>
            <a:noFill/>
          </p:spPr>
          <p:txBody>
            <a:bodyPr wrap="square">
              <a:spAutoFit/>
            </a:bodyPr>
            <a:lstStyle/>
            <a:p>
              <a:pPr defTabSz="1216675" fontAlgn="base">
                <a:lnSpc>
                  <a:spcPct val="75000"/>
                </a:lnSpc>
                <a:spcBef>
                  <a:spcPct val="0"/>
                </a:spcBef>
              </a:pPr>
              <a:r>
                <a:rPr lang="de-DE" sz="2381" b="1" cap="all" spc="26" err="1">
                  <a:solidFill>
                    <a:prstClr val="black"/>
                  </a:solidFill>
                  <a:latin typeface="adineue PRO Cond"/>
                  <a:cs typeface="AdihausDIN Cn" panose="020B0506020101010102" pitchFamily="34" charset="0"/>
                </a:rPr>
                <a:t>Three</a:t>
              </a:r>
              <a:r>
                <a:rPr lang="de-DE" sz="2381" b="1" cap="all" spc="26">
                  <a:solidFill>
                    <a:prstClr val="black"/>
                  </a:solidFill>
                  <a:latin typeface="adineue PRO Cond"/>
                  <a:cs typeface="AdihausDIN Cn" panose="020B0506020101010102" pitchFamily="34" charset="0"/>
                </a:rPr>
                <a:t> </a:t>
              </a:r>
              <a:r>
                <a:rPr lang="de-DE" sz="2381" b="1" cap="all" spc="26" err="1">
                  <a:solidFill>
                    <a:prstClr val="black"/>
                  </a:solidFill>
                  <a:latin typeface="adineue PRO Cond"/>
                  <a:cs typeface="AdihausDIN Cn" panose="020B0506020101010102" pitchFamily="34" charset="0"/>
                </a:rPr>
                <a:t>pillars</a:t>
              </a:r>
              <a:r>
                <a:rPr lang="de-DE" sz="2381" b="1" cap="all" spc="26">
                  <a:solidFill>
                    <a:prstClr val="black"/>
                  </a:solidFill>
                  <a:latin typeface="adineue PRO Cond"/>
                  <a:cs typeface="AdihausDIN Cn" panose="020B0506020101010102" pitchFamily="34" charset="0"/>
                </a:rPr>
                <a:t> to success</a:t>
              </a:r>
            </a:p>
            <a:p>
              <a:pPr marL="121788" indent="-121788" defTabSz="1216675" fontAlgn="base">
                <a:lnSpc>
                  <a:spcPct val="75000"/>
                </a:lnSpc>
                <a:spcBef>
                  <a:spcPct val="0"/>
                </a:spcBef>
                <a:buFont typeface="Arial" panose="020B0604020202020204" pitchFamily="34" charset="0"/>
                <a:buChar char="•"/>
              </a:pPr>
              <a:r>
                <a:rPr lang="de-DE" sz="1323" b="1" cap="all" spc="26">
                  <a:solidFill>
                    <a:prstClr val="black"/>
                  </a:solidFill>
                  <a:latin typeface="adineue PRO Cond"/>
                  <a:cs typeface="AdihausDIN Cn" panose="020B0506020101010102" pitchFamily="34" charset="0"/>
                </a:rPr>
                <a:t>Observability (AIOPS)</a:t>
              </a:r>
            </a:p>
            <a:p>
              <a:pPr marL="121788" indent="-121788" defTabSz="1216675" fontAlgn="base">
                <a:lnSpc>
                  <a:spcPct val="75000"/>
                </a:lnSpc>
                <a:spcBef>
                  <a:spcPct val="0"/>
                </a:spcBef>
                <a:buFont typeface="Arial" panose="020B0604020202020204" pitchFamily="34" charset="0"/>
                <a:buChar char="•"/>
              </a:pPr>
              <a:r>
                <a:rPr lang="de-DE" sz="1323" b="1" cap="all" spc="26">
                  <a:solidFill>
                    <a:prstClr val="black"/>
                  </a:solidFill>
                  <a:latin typeface="adineue PRO Cond"/>
                  <a:cs typeface="AdihausDIN Cn" panose="020B0506020101010102" pitchFamily="34" charset="0"/>
                </a:rPr>
                <a:t>Resilience </a:t>
              </a:r>
            </a:p>
            <a:p>
              <a:pPr marL="121788" indent="-121788" defTabSz="1216675" fontAlgn="base">
                <a:lnSpc>
                  <a:spcPct val="75000"/>
                </a:lnSpc>
                <a:spcBef>
                  <a:spcPct val="0"/>
                </a:spcBef>
                <a:buFont typeface="Arial" panose="020B0604020202020204" pitchFamily="34" charset="0"/>
                <a:buChar char="•"/>
              </a:pPr>
              <a:r>
                <a:rPr lang="de-DE" sz="1323" b="1" cap="all" spc="26">
                  <a:solidFill>
                    <a:prstClr val="black"/>
                  </a:solidFill>
                  <a:latin typeface="adineue PRO Cond"/>
                  <a:cs typeface="AdihausDIN Cn" panose="020B0506020101010102" pitchFamily="34" charset="0"/>
                </a:rPr>
                <a:t>Release Excellence (Error Budget @scale)</a:t>
              </a:r>
            </a:p>
            <a:p>
              <a:pPr marL="121788" indent="-121788" defTabSz="1216675" fontAlgn="base">
                <a:lnSpc>
                  <a:spcPct val="75000"/>
                </a:lnSpc>
                <a:spcBef>
                  <a:spcPct val="0"/>
                </a:spcBef>
                <a:buFont typeface="Arial" panose="020B0604020202020204" pitchFamily="34" charset="0"/>
                <a:buChar char="•"/>
              </a:pPr>
              <a:endParaRPr lang="de-DE" sz="1323">
                <a:solidFill>
                  <a:prstClr val="black"/>
                </a:solidFill>
                <a:latin typeface="AdihausDIN"/>
                <a:cs typeface="Arial" charset="0"/>
              </a:endParaRPr>
            </a:p>
          </p:txBody>
        </p:sp>
        <p:sp>
          <p:nvSpPr>
            <p:cNvPr id="84" name="TextBox 83">
              <a:extLst>
                <a:ext uri="{FF2B5EF4-FFF2-40B4-BE49-F238E27FC236}">
                  <a16:creationId xmlns:a16="http://schemas.microsoft.com/office/drawing/2014/main" id="{40079995-A839-4A39-B9C2-A0419E88015A}"/>
                </a:ext>
              </a:extLst>
            </p:cNvPr>
            <p:cNvSpPr txBox="1"/>
            <p:nvPr/>
          </p:nvSpPr>
          <p:spPr bwMode="gray">
            <a:xfrm>
              <a:off x="6349639" y="3971400"/>
              <a:ext cx="1576561" cy="765289"/>
            </a:xfrm>
            <a:prstGeom prst="rect">
              <a:avLst/>
            </a:prstGeom>
            <a:noFill/>
          </p:spPr>
          <p:txBody>
            <a:bodyPr wrap="square">
              <a:spAutoFit/>
            </a:bodyPr>
            <a:lstStyle/>
            <a:p>
              <a:pPr defTabSz="1216675" fontAlgn="base">
                <a:lnSpc>
                  <a:spcPct val="75000"/>
                </a:lnSpc>
                <a:spcBef>
                  <a:spcPct val="0"/>
                </a:spcBef>
                <a:defRPr/>
              </a:pPr>
              <a:r>
                <a:rPr lang="de-DE" sz="2381" b="1" cap="all" spc="26" err="1">
                  <a:solidFill>
                    <a:prstClr val="black"/>
                  </a:solidFill>
                  <a:latin typeface="adineue PRO Cond"/>
                  <a:cs typeface="AdihausDIN Cn" panose="020B0506020101010102" pitchFamily="34" charset="0"/>
                </a:rPr>
                <a:t>Everything</a:t>
              </a:r>
              <a:r>
                <a:rPr lang="de-DE" sz="2381" b="1" cap="all" spc="26">
                  <a:solidFill>
                    <a:prstClr val="black"/>
                  </a:solidFill>
                  <a:latin typeface="adineue PRO Cond"/>
                  <a:cs typeface="AdihausDIN Cn" panose="020B0506020101010102" pitchFamily="34" charset="0"/>
                </a:rPr>
                <a:t> is </a:t>
              </a:r>
              <a:r>
                <a:rPr lang="de-DE" sz="2381" b="1" cap="all" spc="26" err="1">
                  <a:solidFill>
                    <a:prstClr val="black"/>
                  </a:solidFill>
                  <a:latin typeface="adineue PRO Cond"/>
                  <a:cs typeface="AdihausDIN Cn" panose="020B0506020101010102" pitchFamily="34" charset="0"/>
                </a:rPr>
                <a:t>connected</a:t>
              </a:r>
              <a:r>
                <a:rPr lang="de-DE" sz="2381" spc="26">
                  <a:solidFill>
                    <a:prstClr val="black"/>
                  </a:solidFill>
                  <a:latin typeface="AdiHaus" panose="02000503020000020004" pitchFamily="2" charset="0"/>
                  <a:cs typeface="AdihausDIN Cn" panose="020B0506020101010102" pitchFamily="34" charset="0"/>
                </a:rPr>
                <a:t>.</a:t>
              </a:r>
              <a:endParaRPr lang="de-DE" sz="2381" b="1" cap="all" spc="26">
                <a:solidFill>
                  <a:prstClr val="black"/>
                </a:solidFill>
                <a:latin typeface="adineue PRO Cond"/>
                <a:cs typeface="AdihausDIN Cn" panose="020B0506020101010102" pitchFamily="34" charset="0"/>
              </a:endParaRPr>
            </a:p>
            <a:p>
              <a:pPr defTabSz="1216675" fontAlgn="base">
                <a:lnSpc>
                  <a:spcPct val="75000"/>
                </a:lnSpc>
                <a:spcBef>
                  <a:spcPct val="0"/>
                </a:spcBef>
                <a:defRPr/>
              </a:pPr>
              <a:r>
                <a:rPr lang="de-DE" sz="2381" b="1" cap="all" spc="26">
                  <a:solidFill>
                    <a:prstClr val="black"/>
                  </a:solidFill>
                  <a:latin typeface="adineue PRO Cond"/>
                  <a:cs typeface="AdihausDIN Cn" panose="020B0506020101010102" pitchFamily="34" charset="0"/>
                </a:rPr>
                <a:t> </a:t>
              </a:r>
            </a:p>
          </p:txBody>
        </p:sp>
      </p:grpSp>
      <p:pic>
        <p:nvPicPr>
          <p:cNvPr id="2" name="Picture 2">
            <a:extLst>
              <a:ext uri="{FF2B5EF4-FFF2-40B4-BE49-F238E27FC236}">
                <a16:creationId xmlns:a16="http://schemas.microsoft.com/office/drawing/2014/main" id="{A064A1DD-EDD9-6F4D-98E7-C69A1B44DB2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089139" y="5478729"/>
            <a:ext cx="1041939" cy="1041939"/>
          </a:xfrm>
          <a:prstGeom prst="rect">
            <a:avLst/>
          </a:prstGeom>
          <a:noFill/>
          <a:extLst>
            <a:ext uri="{909E8E84-426E-40DD-AFC4-6F175D3DCCD1}">
              <a14:hiddenFill xmlns:a14="http://schemas.microsoft.com/office/drawing/2010/main">
                <a:solidFill>
                  <a:srgbClr val="FFFFFF"/>
                </a:solidFill>
              </a14:hiddenFill>
            </a:ext>
          </a:extLst>
        </p:spPr>
      </p:pic>
      <p:pic>
        <p:nvPicPr>
          <p:cNvPr id="25602" name="Picture 2" descr="DORA 2019: DevOps Efforts Improving, But Not Done – The New Stack">
            <a:extLst>
              <a:ext uri="{FF2B5EF4-FFF2-40B4-BE49-F238E27FC236}">
                <a16:creationId xmlns:a16="http://schemas.microsoft.com/office/drawing/2014/main" id="{815B7FD1-9E05-4C6F-8AF1-0AB4FBB760C5}"/>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781619" y="5307276"/>
            <a:ext cx="1041940" cy="1251023"/>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descr="Improve the Development Process with DevOps Practices by Fedorov Vadim">
            <a:extLst>
              <a:ext uri="{FF2B5EF4-FFF2-40B4-BE49-F238E27FC236}">
                <a16:creationId xmlns:a16="http://schemas.microsoft.com/office/drawing/2014/main" id="{3DD54592-5400-402B-A862-63C0972FE8EA}"/>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751757" y="5471826"/>
            <a:ext cx="1155838" cy="828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44684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596995-EAE9-4648-AD86-3058F760891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76988" y="745059"/>
            <a:ext cx="4952809" cy="5255168"/>
          </a:xfrm>
          <a:prstGeom prst="rect">
            <a:avLst/>
          </a:prstGeom>
        </p:spPr>
      </p:pic>
      <p:sp>
        <p:nvSpPr>
          <p:cNvPr id="14" name="Text Placeholder 3">
            <a:extLst>
              <a:ext uri="{FF2B5EF4-FFF2-40B4-BE49-F238E27FC236}">
                <a16:creationId xmlns:a16="http://schemas.microsoft.com/office/drawing/2014/main" id="{734D30CF-ABB6-4ACC-AAC0-7BFD967269AB}"/>
              </a:ext>
            </a:extLst>
          </p:cNvPr>
          <p:cNvSpPr txBox="1">
            <a:spLocks/>
          </p:cNvSpPr>
          <p:nvPr/>
        </p:nvSpPr>
        <p:spPr bwMode="gray">
          <a:xfrm>
            <a:off x="155203" y="3002987"/>
            <a:ext cx="6201048" cy="1906633"/>
          </a:xfrm>
          <a:prstGeom prst="rect">
            <a:avLst/>
          </a:prstGeom>
        </p:spPr>
        <p:txBody>
          <a:bodyPr vert="horz" lIns="0" tIns="0" rIns="0" bIns="0" rtlCol="0">
            <a:noAutofit/>
          </a:bodyPr>
          <a:lstStyle>
            <a:lvl1pPr algn="l" rtl="0" eaLnBrk="1" fontAlgn="base" hangingPunct="1">
              <a:lnSpc>
                <a:spcPct val="90000"/>
              </a:lnSpc>
              <a:spcBef>
                <a:spcPct val="0"/>
              </a:spcBef>
              <a:spcAft>
                <a:spcPts val="794"/>
              </a:spcAft>
              <a:buSzPct val="90000"/>
              <a:buFont typeface="AdihausDIN" pitchFamily="34" charset="0"/>
              <a:defRPr sz="1587" kern="1200">
                <a:solidFill>
                  <a:schemeClr val="tx1"/>
                </a:solidFill>
                <a:latin typeface="+mn-lt"/>
                <a:ea typeface="+mn-ea"/>
                <a:cs typeface="AdihausDIN" panose="020B0504020101020102" pitchFamily="34" charset="0"/>
              </a:defRPr>
            </a:lvl1pPr>
            <a:lvl2pPr marL="239103" indent="-239103" algn="l" rtl="0" eaLnBrk="1" fontAlgn="base" hangingPunct="1">
              <a:lnSpc>
                <a:spcPct val="90000"/>
              </a:lnSpc>
              <a:spcBef>
                <a:spcPct val="0"/>
              </a:spcBef>
              <a:spcAft>
                <a:spcPts val="794"/>
              </a:spcAft>
              <a:buSzPct val="90000"/>
              <a:buFont typeface="Wingdings" pitchFamily="2" charset="2"/>
              <a:buChar char="§"/>
              <a:defRPr sz="1587" kern="1200" cap="none" baseline="0">
                <a:solidFill>
                  <a:schemeClr val="tx1"/>
                </a:solidFill>
                <a:latin typeface="+mn-lt"/>
                <a:ea typeface="+mn-ea"/>
                <a:cs typeface="AdihausDIN" panose="020B0504020101020102" pitchFamily="34" charset="0"/>
              </a:defRPr>
            </a:lvl2pPr>
            <a:lvl3pPr marL="239919" indent="-239919" algn="l" rtl="0" eaLnBrk="1" fontAlgn="base" hangingPunct="1">
              <a:lnSpc>
                <a:spcPct val="90000"/>
              </a:lnSpc>
              <a:spcBef>
                <a:spcPct val="0"/>
              </a:spcBef>
              <a:spcAft>
                <a:spcPts val="794"/>
              </a:spcAft>
              <a:buSzPct val="90000"/>
              <a:buFont typeface="+mj-lt"/>
              <a:buAutoNum type="arabicPeriod"/>
              <a:defRPr sz="1587" kern="1200">
                <a:solidFill>
                  <a:schemeClr val="tx1"/>
                </a:solidFill>
                <a:latin typeface="+mn-lt"/>
                <a:ea typeface="+mn-ea"/>
                <a:cs typeface="AdihausDIN" panose="020B0504020101020102" pitchFamily="34" charset="0"/>
              </a:defRPr>
            </a:lvl3pPr>
            <a:lvl4pPr marL="473974" indent="-239103" algn="l" rtl="0" eaLnBrk="1" fontAlgn="base" hangingPunct="1">
              <a:lnSpc>
                <a:spcPct val="90000"/>
              </a:lnSpc>
              <a:spcBef>
                <a:spcPct val="0"/>
              </a:spcBef>
              <a:spcAft>
                <a:spcPts val="794"/>
              </a:spcAft>
              <a:buSzPct val="90000"/>
              <a:buFont typeface="AdihausDIN" panose="020B0504020101020102" pitchFamily="34" charset="0"/>
              <a:buChar char="–"/>
              <a:defRPr sz="1587" kern="1200" cap="none" baseline="0">
                <a:solidFill>
                  <a:schemeClr val="tx1"/>
                </a:solidFill>
                <a:latin typeface="+mn-lt"/>
                <a:ea typeface="+mn-ea"/>
                <a:cs typeface="AdihausDIN" panose="020B0504020101020102" pitchFamily="34" charset="0"/>
              </a:defRPr>
            </a:lvl4pPr>
            <a:lvl5pPr marL="478206" indent="-239103" algn="l" rtl="0" eaLnBrk="1" fontAlgn="base" hangingPunct="1">
              <a:lnSpc>
                <a:spcPct val="90000"/>
              </a:lnSpc>
              <a:spcBef>
                <a:spcPct val="0"/>
              </a:spcBef>
              <a:spcAft>
                <a:spcPts val="794"/>
              </a:spcAft>
              <a:buSzPct val="90000"/>
              <a:buFont typeface="+mj-lt"/>
              <a:buAutoNum type="alphaLcPeriod"/>
              <a:tabLst>
                <a:tab pos="1309777" algn="l"/>
              </a:tabLst>
              <a:defRPr sz="1587" kern="1200">
                <a:solidFill>
                  <a:schemeClr val="tx1"/>
                </a:solidFill>
                <a:latin typeface="+mn-lt"/>
                <a:ea typeface="+mn-ea"/>
                <a:cs typeface="AdihausDIN" panose="020B0504020101020102" pitchFamily="34" charset="0"/>
              </a:defRPr>
            </a:lvl5pPr>
            <a:lvl6pPr marL="0" indent="0" algn="l" defTabSz="1218838" rtl="0" eaLnBrk="1" latinLnBrk="0" hangingPunct="1">
              <a:lnSpc>
                <a:spcPct val="75000"/>
              </a:lnSpc>
              <a:spcBef>
                <a:spcPts val="1587"/>
              </a:spcBef>
              <a:spcAft>
                <a:spcPts val="794"/>
              </a:spcAft>
              <a:buClrTx/>
              <a:buSzPct val="90000"/>
              <a:buFont typeface="Wingdings" pitchFamily="2" charset="2"/>
              <a:buNone/>
              <a:tabLst>
                <a:tab pos="1309829" algn="l"/>
              </a:tabLst>
              <a:defRPr lang="en-US" sz="2381" b="1" i="0" kern="1200" cap="all" spc="26" baseline="0" noProof="0" dirty="0">
                <a:solidFill>
                  <a:schemeClr val="tx1"/>
                </a:solidFill>
                <a:latin typeface="+mj-lt"/>
                <a:ea typeface="+mn-ea"/>
                <a:cs typeface="AdihausDIN" panose="020B0504020101020102" pitchFamily="34" charset="0"/>
              </a:defRPr>
            </a:lvl6pPr>
            <a:lvl7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i="0" kern="1200" cap="none" baseline="0">
                <a:solidFill>
                  <a:schemeClr val="tx2"/>
                </a:solidFill>
                <a:latin typeface="+mn-lt"/>
                <a:ea typeface="+mn-ea"/>
                <a:cs typeface="AdihausDIN" panose="020B0504020101020102" pitchFamily="34" charset="0"/>
              </a:defRPr>
            </a:lvl7pPr>
            <a:lvl8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8pPr>
            <a:lvl9pPr marL="0" indent="0" algn="l" defTabSz="1218838" rtl="0" eaLnBrk="1" latinLnBrk="0" hangingPunct="1">
              <a:lnSpc>
                <a:spcPct val="90000"/>
              </a:lnSpc>
              <a:spcBef>
                <a:spcPts val="0"/>
              </a:spcBef>
              <a:spcAft>
                <a:spcPts val="794"/>
              </a:spcAft>
              <a:buClrTx/>
              <a:buSzPct val="90000"/>
              <a:buFont typeface="Wingdings" pitchFamily="2" charset="2"/>
              <a:buNone/>
              <a:tabLst>
                <a:tab pos="1309829" algn="l"/>
              </a:tabLst>
              <a:defRPr sz="794" b="0" kern="1200">
                <a:solidFill>
                  <a:schemeClr val="tx2"/>
                </a:solidFill>
                <a:latin typeface="AdihausDIN" panose="020B0504020101020102" pitchFamily="34" charset="0"/>
                <a:ea typeface="+mn-ea"/>
                <a:cs typeface="AdihausDIN" panose="020B0504020101020102" pitchFamily="34" charset="0"/>
              </a:defRPr>
            </a:lvl9pPr>
          </a:lstStyle>
          <a:p>
            <a:pPr marL="0" marR="0" lvl="0" indent="0" algn="l" defTabSz="914400" rtl="0" eaLnBrk="1" fontAlgn="base" latinLnBrk="0" hangingPunct="1">
              <a:lnSpc>
                <a:spcPct val="90000"/>
              </a:lnSpc>
              <a:spcBef>
                <a:spcPct val="0"/>
              </a:spcBef>
              <a:spcAft>
                <a:spcPts val="794"/>
              </a:spcAft>
              <a:buClrTx/>
              <a:buSzPct val="90000"/>
              <a:buFont typeface="AdihausDIN" pitchFamily="34" charset="0"/>
              <a:buNone/>
              <a:tabLst/>
              <a:defRPr/>
            </a:pPr>
            <a:r>
              <a:rPr kumimoji="0" lang="en-US" sz="2381" b="1" i="0" u="none" strike="noStrike" kern="1200" cap="none" spc="0" normalizeH="0" baseline="0" noProof="0" dirty="0">
                <a:ln>
                  <a:noFill/>
                </a:ln>
                <a:solidFill>
                  <a:srgbClr val="000000"/>
                </a:solidFill>
                <a:effectLst/>
                <a:uLnTx/>
                <a:uFillTx/>
                <a:latin typeface="AdihausDIN" panose="020B0504020101020102" pitchFamily="34" charset="0"/>
                <a:ea typeface="+mn-ea"/>
                <a:cs typeface="AdihausDIN" panose="020B0504020101020102" pitchFamily="34" charset="0"/>
              </a:rPr>
              <a:t>“BUY FREEDOM FOR THE PRODUCT TEAMS” </a:t>
            </a:r>
            <a:endParaRPr kumimoji="0" lang="en-US" sz="2381" b="0" i="0" u="none" strike="noStrike" kern="1200" cap="none" spc="0" normalizeH="0" baseline="0" noProof="0" dirty="0">
              <a:ln>
                <a:noFill/>
              </a:ln>
              <a:solidFill>
                <a:srgbClr val="000000"/>
              </a:solidFill>
              <a:effectLst/>
              <a:uLnTx/>
              <a:uFillTx/>
              <a:latin typeface="AdihausDIN" panose="020B0504020101020102" pitchFamily="34" charset="0"/>
              <a:ea typeface="+mn-ea"/>
              <a:cs typeface="AdihausDIN" panose="020B0504020101020102" pitchFamily="34" charset="0"/>
            </a:endParaRPr>
          </a:p>
          <a:p>
            <a:pPr marL="0" marR="0" lvl="0" indent="0" algn="ctr" defTabSz="914400" rtl="0" eaLnBrk="1" fontAlgn="base" latinLnBrk="0" hangingPunct="1">
              <a:lnSpc>
                <a:spcPct val="90000"/>
              </a:lnSpc>
              <a:spcBef>
                <a:spcPct val="0"/>
              </a:spcBef>
              <a:spcAft>
                <a:spcPts val="794"/>
              </a:spcAft>
              <a:buClrTx/>
              <a:buSzPct val="90000"/>
              <a:buFont typeface="AdihausDIN" pitchFamily="34" charset="0"/>
              <a:buNone/>
              <a:tabLst/>
              <a:defRPr/>
            </a:pPr>
            <a:r>
              <a:rPr kumimoji="0" lang="de-DE" sz="2381" b="0" i="0" u="none" strike="noStrike" kern="1200" cap="none" spc="0" normalizeH="0" baseline="0" noProof="0" dirty="0">
                <a:ln>
                  <a:noFill/>
                </a:ln>
                <a:solidFill>
                  <a:srgbClr val="000000"/>
                </a:solidFill>
                <a:effectLst/>
                <a:uLnTx/>
                <a:uFillTx/>
                <a:latin typeface="AdihausDIN" panose="020B0504020101020102" pitchFamily="34" charset="0"/>
                <a:ea typeface="+mn-ea"/>
                <a:cs typeface="AdihausDIN" panose="020B0504020101020102" pitchFamily="34" charset="0"/>
              </a:rPr>
              <a:t>THROUGH </a:t>
            </a:r>
          </a:p>
          <a:p>
            <a:pPr marL="0" marR="0" lvl="0" indent="0" algn="ctr" defTabSz="914400" rtl="0" eaLnBrk="1" fontAlgn="base" latinLnBrk="0" hangingPunct="1">
              <a:lnSpc>
                <a:spcPct val="90000"/>
              </a:lnSpc>
              <a:spcBef>
                <a:spcPct val="0"/>
              </a:spcBef>
              <a:spcAft>
                <a:spcPts val="794"/>
              </a:spcAft>
              <a:buClrTx/>
              <a:buSzPct val="90000"/>
              <a:buFont typeface="AdihausDIN" pitchFamily="34" charset="0"/>
              <a:buNone/>
              <a:tabLst/>
              <a:defRPr/>
            </a:pPr>
            <a:r>
              <a:rPr kumimoji="0" lang="de-DE" sz="2381" b="0" i="0" u="none" strike="noStrike" kern="1200" cap="none" spc="0" normalizeH="0" baseline="0" noProof="0" dirty="0">
                <a:ln>
                  <a:noFill/>
                </a:ln>
                <a:solidFill>
                  <a:srgbClr val="000000"/>
                </a:solidFill>
                <a:effectLst/>
                <a:uLnTx/>
                <a:uFillTx/>
                <a:latin typeface="AdihausDIN" panose="020B0504020101020102" pitchFamily="34" charset="0"/>
                <a:ea typeface="+mn-ea"/>
                <a:cs typeface="AdihausDIN" panose="020B0504020101020102" pitchFamily="34" charset="0"/>
              </a:rPr>
              <a:t>AFFORDABLE GOVERNANCE</a:t>
            </a:r>
          </a:p>
          <a:p>
            <a:pPr marL="0" marR="0" lvl="0" indent="0" algn="ctr" defTabSz="914400" rtl="0" eaLnBrk="1" fontAlgn="base" latinLnBrk="0" hangingPunct="1">
              <a:lnSpc>
                <a:spcPct val="90000"/>
              </a:lnSpc>
              <a:spcBef>
                <a:spcPct val="0"/>
              </a:spcBef>
              <a:spcAft>
                <a:spcPts val="794"/>
              </a:spcAft>
              <a:buClrTx/>
              <a:buSzPct val="90000"/>
              <a:buFont typeface="AdihausDIN" pitchFamily="34" charset="0"/>
              <a:buNone/>
              <a:tabLst/>
              <a:defRPr/>
            </a:pPr>
            <a:r>
              <a:rPr kumimoji="0" lang="de-DE" sz="2381" b="0" i="0" u="none" strike="noStrike" kern="1200" cap="none" spc="0" normalizeH="0" baseline="0" noProof="0" dirty="0">
                <a:ln>
                  <a:noFill/>
                </a:ln>
                <a:solidFill>
                  <a:srgbClr val="000000"/>
                </a:solidFill>
                <a:effectLst/>
                <a:uLnTx/>
                <a:uFillTx/>
                <a:latin typeface="AdihausDIN" panose="020B0504020101020102" pitchFamily="34" charset="0"/>
                <a:ea typeface="+mn-ea"/>
                <a:cs typeface="AdihausDIN" panose="020B0504020101020102" pitchFamily="34" charset="0"/>
              </a:rPr>
              <a:t>AND FOCUS ON </a:t>
            </a:r>
          </a:p>
          <a:p>
            <a:pPr marL="0" marR="0" lvl="0" indent="0" algn="ctr" defTabSz="914400" rtl="0" eaLnBrk="1" fontAlgn="base" latinLnBrk="0" hangingPunct="1">
              <a:lnSpc>
                <a:spcPct val="90000"/>
              </a:lnSpc>
              <a:spcBef>
                <a:spcPct val="0"/>
              </a:spcBef>
              <a:spcAft>
                <a:spcPts val="794"/>
              </a:spcAft>
              <a:buClrTx/>
              <a:buSzPct val="90000"/>
              <a:buFont typeface="AdihausDIN" pitchFamily="34" charset="0"/>
              <a:buNone/>
              <a:tabLst/>
              <a:defRPr/>
            </a:pPr>
            <a:r>
              <a:rPr kumimoji="0" lang="de-DE" sz="2381" b="0" i="0" u="none" strike="noStrike" kern="1200" cap="none" spc="0" normalizeH="0" baseline="0" noProof="0" dirty="0">
                <a:ln>
                  <a:noFill/>
                </a:ln>
                <a:solidFill>
                  <a:srgbClr val="000000"/>
                </a:solidFill>
                <a:effectLst/>
                <a:uLnTx/>
                <a:uFillTx/>
                <a:latin typeface="AdihausDIN" panose="020B0504020101020102" pitchFamily="34" charset="0"/>
                <a:ea typeface="+mn-ea"/>
                <a:cs typeface="AdihausDIN" panose="020B0504020101020102" pitchFamily="34" charset="0"/>
              </a:rPr>
              <a:t>VALUE STREAM STABILITY</a:t>
            </a:r>
            <a:endParaRPr kumimoji="0" lang="en-US" sz="1587" b="0" i="0" u="none" strike="noStrike" kern="1200" cap="none" spc="0" normalizeH="0" baseline="0" noProof="0" dirty="0">
              <a:ln>
                <a:noFill/>
              </a:ln>
              <a:solidFill>
                <a:sysClr val="windowText" lastClr="000000"/>
              </a:solidFill>
              <a:effectLst/>
              <a:uLnTx/>
              <a:uFillTx/>
              <a:latin typeface="AdihausDIN"/>
              <a:ea typeface="+mn-ea"/>
              <a:cs typeface="AdihausDIN" panose="020B0504020101020102" pitchFamily="34" charset="0"/>
            </a:endParaRPr>
          </a:p>
        </p:txBody>
      </p:sp>
      <p:sp>
        <p:nvSpPr>
          <p:cNvPr id="15" name="Title 4">
            <a:extLst>
              <a:ext uri="{FF2B5EF4-FFF2-40B4-BE49-F238E27FC236}">
                <a16:creationId xmlns:a16="http://schemas.microsoft.com/office/drawing/2014/main" id="{909FF61C-D553-4649-ACAE-E0D7993F9C9C}"/>
              </a:ext>
            </a:extLst>
          </p:cNvPr>
          <p:cNvSpPr txBox="1">
            <a:spLocks/>
          </p:cNvSpPr>
          <p:nvPr/>
        </p:nvSpPr>
        <p:spPr bwMode="gray">
          <a:xfrm>
            <a:off x="1143191" y="-233543"/>
            <a:ext cx="4571823" cy="3427612"/>
          </a:xfrm>
          <a:prstGeom prst="rect">
            <a:avLst/>
          </a:prstGeom>
        </p:spPr>
        <p:txBody>
          <a:bodyPr vert="horz" lIns="0" tIns="0" rIns="0" bIns="144000" rtlCol="0" anchor="b" anchorCtr="0">
            <a:noAutofit/>
          </a:bodyPr>
          <a:lstStyle>
            <a:lvl1pPr algn="l" rtl="0" eaLnBrk="1" fontAlgn="base" hangingPunct="1">
              <a:lnSpc>
                <a:spcPct val="75000"/>
              </a:lnSpc>
              <a:spcBef>
                <a:spcPct val="0"/>
              </a:spcBef>
              <a:spcAft>
                <a:spcPct val="0"/>
              </a:spcAft>
              <a:defRPr sz="6349" b="1" i="0" kern="1200" cap="all" spc="26" baseline="0">
                <a:solidFill>
                  <a:schemeClr val="tx1"/>
                </a:solidFill>
                <a:latin typeface="+mj-lt"/>
                <a:ea typeface="+mj-ea"/>
                <a:cs typeface="+mj-cs"/>
              </a:defRPr>
            </a:lvl1pPr>
            <a:lvl2pPr algn="l" rtl="0" eaLnBrk="1" fontAlgn="base" hangingPunct="1">
              <a:lnSpc>
                <a:spcPct val="75000"/>
              </a:lnSpc>
              <a:spcBef>
                <a:spcPct val="0"/>
              </a:spcBef>
              <a:spcAft>
                <a:spcPct val="0"/>
              </a:spcAft>
              <a:defRPr sz="6349" b="1" kern="1200" cap="all" spc="26" baseline="0">
                <a:solidFill>
                  <a:schemeClr val="tx1"/>
                </a:solidFill>
                <a:latin typeface="+mj-lt"/>
              </a:defRPr>
            </a:lvl2pPr>
            <a:lvl3pPr algn="l" rtl="0" eaLnBrk="1" fontAlgn="base" hangingPunct="1">
              <a:lnSpc>
                <a:spcPct val="75000"/>
              </a:lnSpc>
              <a:spcBef>
                <a:spcPct val="0"/>
              </a:spcBef>
              <a:spcAft>
                <a:spcPct val="0"/>
              </a:spcAft>
              <a:defRPr sz="6349" b="1" kern="1200" cap="all" spc="26" baseline="0">
                <a:solidFill>
                  <a:schemeClr val="tx1"/>
                </a:solidFill>
                <a:latin typeface="+mj-lt"/>
              </a:defRPr>
            </a:lvl3pPr>
            <a:lvl4pPr algn="l" rtl="0" eaLnBrk="1" fontAlgn="base" hangingPunct="1">
              <a:lnSpc>
                <a:spcPct val="75000"/>
              </a:lnSpc>
              <a:spcBef>
                <a:spcPct val="0"/>
              </a:spcBef>
              <a:spcAft>
                <a:spcPct val="0"/>
              </a:spcAft>
              <a:defRPr sz="6349" b="1" kern="1200" cap="all" spc="26" baseline="0">
                <a:solidFill>
                  <a:schemeClr val="tx1"/>
                </a:solidFill>
                <a:latin typeface="+mj-lt"/>
              </a:defRPr>
            </a:lvl4pPr>
            <a:lvl5pPr algn="l" rtl="0" eaLnBrk="1" fontAlgn="base" hangingPunct="1">
              <a:lnSpc>
                <a:spcPct val="75000"/>
              </a:lnSpc>
              <a:spcBef>
                <a:spcPct val="0"/>
              </a:spcBef>
              <a:spcAft>
                <a:spcPct val="0"/>
              </a:spcAft>
              <a:defRPr sz="6349" b="1" kern="1200" cap="all" spc="26" baseline="0">
                <a:solidFill>
                  <a:schemeClr val="tx1"/>
                </a:solidFill>
                <a:latin typeface="+mj-lt"/>
              </a:defRPr>
            </a:lvl5pPr>
            <a:lvl6pPr algn="l" rtl="0" eaLnBrk="1" hangingPunct="1">
              <a:lnSpc>
                <a:spcPct val="75000"/>
              </a:lnSpc>
              <a:defRPr sz="6349" b="1" kern="1200" cap="all" spc="26" baseline="0">
                <a:latin typeface="+mj-lt"/>
              </a:defRPr>
            </a:lvl6pPr>
            <a:lvl7pPr algn="l" rtl="0" eaLnBrk="1" hangingPunct="1">
              <a:lnSpc>
                <a:spcPct val="75000"/>
              </a:lnSpc>
              <a:defRPr sz="6349" b="1" kern="1200" cap="all" spc="26" baseline="0">
                <a:latin typeface="+mj-lt"/>
              </a:defRPr>
            </a:lvl7pPr>
            <a:lvl8pPr algn="l" rtl="0" eaLnBrk="1" hangingPunct="1">
              <a:lnSpc>
                <a:spcPct val="75000"/>
              </a:lnSpc>
              <a:defRPr sz="6349" b="1" kern="1200" cap="all" spc="26" baseline="0">
                <a:latin typeface="+mj-lt"/>
              </a:defRPr>
            </a:lvl8pPr>
            <a:lvl9pPr algn="l" eaLnBrk="1" hangingPunct="1">
              <a:lnSpc>
                <a:spcPct val="75000"/>
              </a:lnSpc>
              <a:defRPr sz="6349" b="1" kern="1200" cap="all" spc="26" baseline="0">
                <a:latin typeface="+mj-lt"/>
              </a:defRPr>
            </a:lvl9pPr>
          </a:lstStyle>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6349" b="1" i="0" u="none" strike="noStrike" kern="1200" cap="all" spc="26" normalizeH="0" baseline="0" noProof="0">
                <a:ln>
                  <a:noFill/>
                </a:ln>
                <a:solidFill>
                  <a:sysClr val="windowText" lastClr="000000"/>
                </a:solidFill>
                <a:effectLst/>
                <a:uLnTx/>
                <a:uFillTx/>
                <a:latin typeface="adineue PRO Cond"/>
                <a:ea typeface="+mj-ea"/>
                <a:cs typeface="+mj-cs"/>
              </a:rPr>
              <a:t>Release fitness</a:t>
            </a:r>
            <a:endParaRPr kumimoji="0" lang="en-US" sz="6349" b="1" i="0" u="none" strike="noStrike" kern="1200" cap="all" spc="26" normalizeH="0" baseline="0" noProof="0" dirty="0">
              <a:ln>
                <a:noFill/>
              </a:ln>
              <a:solidFill>
                <a:sysClr val="windowText" lastClr="000000"/>
              </a:solidFill>
              <a:effectLst/>
              <a:uLnTx/>
              <a:uFillTx/>
              <a:latin typeface="adineue PRO Cond"/>
              <a:ea typeface="+mj-ea"/>
              <a:cs typeface="+mj-cs"/>
            </a:endParaRPr>
          </a:p>
        </p:txBody>
      </p:sp>
    </p:spTree>
    <p:extLst>
      <p:ext uri="{BB962C8B-B14F-4D97-AF65-F5344CB8AC3E}">
        <p14:creationId xmlns:p14="http://schemas.microsoft.com/office/powerpoint/2010/main" val="29510756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A71F77-13B3-8244-8A8E-BB6DCF2CFD90}"/>
              </a:ext>
            </a:extLst>
          </p:cNvPr>
          <p:cNvSpPr>
            <a:spLocks noGrp="1"/>
          </p:cNvSpPr>
          <p:nvPr>
            <p:ph type="title"/>
          </p:nvPr>
        </p:nvSpPr>
        <p:spPr>
          <a:xfrm>
            <a:off x="138953" y="270995"/>
            <a:ext cx="10515600" cy="1325563"/>
          </a:xfrm>
        </p:spPr>
        <p:txBody>
          <a:bodyPr>
            <a:normAutofit/>
          </a:bodyPr>
          <a:lstStyle/>
          <a:p>
            <a:r>
              <a:rPr lang="en-US" sz="3174" b="1" cap="all" spc="26">
                <a:latin typeface="adineue PRO" panose="020B0503020201060004" pitchFamily="34" charset="77"/>
              </a:rPr>
              <a:t>Adidas </a:t>
            </a:r>
            <a:r>
              <a:rPr lang="en-US" sz="3174" b="1" cap="all" spc="26" dirty="0">
                <a:latin typeface="adineue PRO" panose="020B0503020201060004" pitchFamily="34" charset="77"/>
              </a:rPr>
              <a:t>Web and Mobile</a:t>
            </a:r>
          </a:p>
        </p:txBody>
      </p:sp>
      <p:pic>
        <p:nvPicPr>
          <p:cNvPr id="3" name="Picture 2" descr="Graphical user interface, application, table&#10;&#10;Description automatically generated">
            <a:extLst>
              <a:ext uri="{FF2B5EF4-FFF2-40B4-BE49-F238E27FC236}">
                <a16:creationId xmlns:a16="http://schemas.microsoft.com/office/drawing/2014/main" id="{7063B4C6-85C0-BB4F-A32C-362A6B0E57D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3322" y="1690687"/>
            <a:ext cx="11435359" cy="4696665"/>
          </a:xfrm>
          <a:prstGeom prst="rect">
            <a:avLst/>
          </a:prstGeom>
        </p:spPr>
      </p:pic>
      <p:sp>
        <p:nvSpPr>
          <p:cNvPr id="6" name="Frame 5">
            <a:extLst>
              <a:ext uri="{FF2B5EF4-FFF2-40B4-BE49-F238E27FC236}">
                <a16:creationId xmlns:a16="http://schemas.microsoft.com/office/drawing/2014/main" id="{44193D24-BBAF-974C-9CE6-E5E455399A13}"/>
              </a:ext>
            </a:extLst>
          </p:cNvPr>
          <p:cNvSpPr/>
          <p:nvPr/>
        </p:nvSpPr>
        <p:spPr>
          <a:xfrm>
            <a:off x="3684494" y="3429000"/>
            <a:ext cx="551330" cy="1632789"/>
          </a:xfrm>
          <a:prstGeom prst="frame">
            <a:avLst/>
          </a:prstGeom>
          <a:solidFill>
            <a:schemeClr val="accent2"/>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81086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group of people sitting around a table&#10;&#10;Description automatically generated with medium confidence">
            <a:extLst>
              <a:ext uri="{FF2B5EF4-FFF2-40B4-BE49-F238E27FC236}">
                <a16:creationId xmlns:a16="http://schemas.microsoft.com/office/drawing/2014/main" id="{4857B2B0-37F8-9444-939B-F8CC271D390D}"/>
              </a:ext>
            </a:extLst>
          </p:cNvPr>
          <p:cNvPicPr>
            <a:picLocks noGrp="1" noChangeAspect="1"/>
          </p:cNvPicPr>
          <p:nvPr>
            <p:ph type="pic" sz="quarter" idx="18"/>
          </p:nvPr>
        </p:nvPicPr>
        <p:blipFill rotWithShape="1">
          <a:blip r:embed="rId3" cstate="screen">
            <a:extLst>
              <a:ext uri="{28A0092B-C50C-407E-A947-70E740481C1C}">
                <a14:useLocalDpi xmlns:a14="http://schemas.microsoft.com/office/drawing/2010/main"/>
              </a:ext>
            </a:extLst>
          </a:blip>
          <a:srcRect/>
          <a:stretch/>
        </p:blipFill>
        <p:spPr/>
      </p:pic>
      <p:sp>
        <p:nvSpPr>
          <p:cNvPr id="9" name="Text Placeholder 8">
            <a:extLst>
              <a:ext uri="{FF2B5EF4-FFF2-40B4-BE49-F238E27FC236}">
                <a16:creationId xmlns:a16="http://schemas.microsoft.com/office/drawing/2014/main" id="{3CC5D1C7-2081-2145-B4DC-E0454E175760}"/>
              </a:ext>
            </a:extLst>
          </p:cNvPr>
          <p:cNvSpPr>
            <a:spLocks noGrp="1"/>
          </p:cNvSpPr>
          <p:nvPr>
            <p:ph type="body" sz="quarter" idx="19"/>
          </p:nvPr>
        </p:nvSpPr>
        <p:spPr/>
        <p:txBody>
          <a:bodyPr>
            <a:normAutofit lnSpcReduction="10000"/>
          </a:bodyPr>
          <a:lstStyle/>
          <a:p>
            <a:endParaRPr lang="en-US" dirty="0"/>
          </a:p>
          <a:p>
            <a:endParaRPr lang="en-US" dirty="0"/>
          </a:p>
          <a:p>
            <a:r>
              <a:rPr lang="en-US" b="1" dirty="0">
                <a:latin typeface="adineue PRO" panose="020B0503020201060004" pitchFamily="34" charset="77"/>
              </a:rPr>
              <a:t>3 VPs in a room to approve releases</a:t>
            </a:r>
          </a:p>
          <a:p>
            <a:endParaRPr lang="en-US" b="1" dirty="0"/>
          </a:p>
          <a:p>
            <a:endParaRPr lang="en-US" b="1" dirty="0"/>
          </a:p>
          <a:p>
            <a:pPr marL="0" indent="0">
              <a:buNone/>
            </a:pPr>
            <a:endParaRPr lang="en-US" dirty="0"/>
          </a:p>
          <a:p>
            <a:pPr marL="0" indent="0">
              <a:buNone/>
            </a:pPr>
            <a:endParaRPr lang="en-US" dirty="0"/>
          </a:p>
          <a:p>
            <a:r>
              <a:rPr lang="en-US" b="1" dirty="0">
                <a:latin typeface="adineue PRO" panose="020B0503020201060004" pitchFamily="34" charset="77"/>
              </a:rPr>
              <a:t>Release process with manual input </a:t>
            </a:r>
          </a:p>
        </p:txBody>
      </p:sp>
      <p:pic>
        <p:nvPicPr>
          <p:cNvPr id="19" name="Picture Placeholder 18">
            <a:extLst>
              <a:ext uri="{FF2B5EF4-FFF2-40B4-BE49-F238E27FC236}">
                <a16:creationId xmlns:a16="http://schemas.microsoft.com/office/drawing/2014/main" id="{360F2A45-EB35-7C48-A6E9-C5BA97987077}"/>
              </a:ext>
            </a:extLst>
          </p:cNvPr>
          <p:cNvPicPr>
            <a:picLocks noGrp="1" noChangeAspect="1"/>
          </p:cNvPicPr>
          <p:nvPr>
            <p:ph type="pic" sz="quarter" idx="23"/>
          </p:nvPr>
        </p:nvPicPr>
        <p:blipFill rotWithShape="1">
          <a:blip r:embed="rId4" cstate="screen">
            <a:extLst>
              <a:ext uri="{28A0092B-C50C-407E-A947-70E740481C1C}">
                <a14:useLocalDpi xmlns:a14="http://schemas.microsoft.com/office/drawing/2010/main"/>
              </a:ext>
            </a:extLst>
          </a:blip>
          <a:srcRect/>
          <a:stretch/>
        </p:blipFill>
        <p:spPr/>
      </p:pic>
      <p:sp>
        <p:nvSpPr>
          <p:cNvPr id="7" name="Title 6">
            <a:extLst>
              <a:ext uri="{FF2B5EF4-FFF2-40B4-BE49-F238E27FC236}">
                <a16:creationId xmlns:a16="http://schemas.microsoft.com/office/drawing/2014/main" id="{AB376D37-EA11-C348-9EE0-F513CE4EEC19}"/>
              </a:ext>
            </a:extLst>
          </p:cNvPr>
          <p:cNvSpPr>
            <a:spLocks noGrp="1"/>
          </p:cNvSpPr>
          <p:nvPr>
            <p:ph type="title"/>
          </p:nvPr>
        </p:nvSpPr>
        <p:spPr/>
        <p:txBody>
          <a:bodyPr>
            <a:noAutofit/>
          </a:bodyPr>
          <a:lstStyle/>
          <a:p>
            <a:r>
              <a:rPr lang="en-US" sz="3170" dirty="0">
                <a:latin typeface="adineue PRO" panose="020B0503020201060004" pitchFamily="34" charset="77"/>
              </a:rPr>
              <a:t>Challenges</a:t>
            </a:r>
          </a:p>
        </p:txBody>
      </p:sp>
      <p:sp>
        <p:nvSpPr>
          <p:cNvPr id="11" name="Text Placeholder 10">
            <a:extLst>
              <a:ext uri="{FF2B5EF4-FFF2-40B4-BE49-F238E27FC236}">
                <a16:creationId xmlns:a16="http://schemas.microsoft.com/office/drawing/2014/main" id="{84E7A706-E6AA-BD47-9BEE-CE9B9AE60078}"/>
              </a:ext>
            </a:extLst>
          </p:cNvPr>
          <p:cNvSpPr>
            <a:spLocks noGrp="1"/>
          </p:cNvSpPr>
          <p:nvPr>
            <p:ph type="body" sz="quarter" idx="29"/>
          </p:nvPr>
        </p:nvSpPr>
        <p:spPr>
          <a:xfrm>
            <a:off x="380671" y="784271"/>
            <a:ext cx="4572133" cy="479263"/>
          </a:xfrm>
        </p:spPr>
        <p:txBody>
          <a:bodyPr>
            <a:normAutofit fontScale="62500" lnSpcReduction="20000"/>
          </a:bodyPr>
          <a:lstStyle/>
          <a:p>
            <a:pPr marL="0" indent="0">
              <a:buNone/>
            </a:pPr>
            <a:r>
              <a:rPr lang="en-US" dirty="0">
                <a:latin typeface="adineue PRO" panose="020B0503020201060004" pitchFamily="34" charset="77"/>
                <a:cs typeface="AdihausDIN" panose="020B0504020101020102" pitchFamily="34" charset="0"/>
              </a:rPr>
              <a:t>From couple of services in production to</a:t>
            </a:r>
          </a:p>
          <a:p>
            <a:pPr marL="0" indent="0">
              <a:buNone/>
            </a:pPr>
            <a:r>
              <a:rPr lang="en-US" dirty="0">
                <a:latin typeface="adineue PRO" panose="020B0503020201060004" pitchFamily="34" charset="77"/>
                <a:cs typeface="AdihausDIN" panose="020B0504020101020102" pitchFamily="34" charset="0"/>
              </a:rPr>
              <a:t>developing digital products at scale</a:t>
            </a:r>
          </a:p>
          <a:p>
            <a:endParaRPr lang="en-US" dirty="0"/>
          </a:p>
          <a:p>
            <a:endParaRPr lang="en-US" dirty="0"/>
          </a:p>
          <a:p>
            <a:endParaRPr lang="en-US" dirty="0"/>
          </a:p>
        </p:txBody>
      </p:sp>
    </p:spTree>
    <p:extLst>
      <p:ext uri="{BB962C8B-B14F-4D97-AF65-F5344CB8AC3E}">
        <p14:creationId xmlns:p14="http://schemas.microsoft.com/office/powerpoint/2010/main" val="3265625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2" end="2"/>
                                            </p:txEl>
                                          </p:spTgt>
                                        </p:tgtEl>
                                        <p:attrNameLst>
                                          <p:attrName>style.visibility</p:attrName>
                                        </p:attrNameLst>
                                      </p:cBhvr>
                                      <p:to>
                                        <p:strVal val="visible"/>
                                      </p:to>
                                    </p:set>
                                    <p:anim calcmode="lin" valueType="num">
                                      <p:cBhvr additive="base">
                                        <p:cTn id="7"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9">
                                            <p:txEl>
                                              <p:pRg st="7" end="7"/>
                                            </p:txEl>
                                          </p:spTgt>
                                        </p:tgtEl>
                                        <p:attrNameLst>
                                          <p:attrName>style.visibility</p:attrName>
                                        </p:attrNameLst>
                                      </p:cBhvr>
                                      <p:to>
                                        <p:strVal val="visible"/>
                                      </p:to>
                                    </p:set>
                                    <p:anim calcmode="lin" valueType="num">
                                      <p:cBhvr additive="base">
                                        <p:cTn id="17" dur="500" fill="hold"/>
                                        <p:tgtEl>
                                          <p:spTgt spid="9">
                                            <p:txEl>
                                              <p:pRg st="7" end="7"/>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9">
                                            <p:txEl>
                                              <p:pRg st="7" end="7"/>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diagram&#10;&#10;Description automatically generated">
            <a:extLst>
              <a:ext uri="{FF2B5EF4-FFF2-40B4-BE49-F238E27FC236}">
                <a16:creationId xmlns:a16="http://schemas.microsoft.com/office/drawing/2014/main" id="{FEC76681-3975-4D46-A7AF-3A85B4C094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83" y="721"/>
            <a:ext cx="12189434" cy="6861737"/>
          </a:xfrm>
          <a:prstGeom prst="rect">
            <a:avLst/>
          </a:prstGeom>
        </p:spPr>
      </p:pic>
      <p:sp>
        <p:nvSpPr>
          <p:cNvPr id="3" name="TextBox 26">
            <a:extLst>
              <a:ext uri="{FF2B5EF4-FFF2-40B4-BE49-F238E27FC236}">
                <a16:creationId xmlns:a16="http://schemas.microsoft.com/office/drawing/2014/main" id="{572581ED-9E01-CD4E-BDDD-02BD639A57FD}"/>
              </a:ext>
            </a:extLst>
          </p:cNvPr>
          <p:cNvSpPr txBox="1"/>
          <p:nvPr/>
        </p:nvSpPr>
        <p:spPr>
          <a:xfrm>
            <a:off x="5202125" y="3293389"/>
            <a:ext cx="1477644" cy="1030637"/>
          </a:xfrm>
          <a:prstGeom prst="rect">
            <a:avLst/>
          </a:prstGeom>
          <a:noFill/>
          <a:ln w="6350" cmpd="sng">
            <a:noFill/>
          </a:ln>
          <a:effectLst/>
        </p:spPr>
        <p:txBody>
          <a:bodyPr wrap="square" lIns="125645" tIns="0" rIns="0" bIns="0" rtlCol="0" anchor="t"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1215248" rtl="0" eaLnBrk="1" fontAlgn="auto" latinLnBrk="0" hangingPunct="1">
              <a:lnSpc>
                <a:spcPct val="100000"/>
              </a:lnSpc>
              <a:spcBef>
                <a:spcPts val="0"/>
              </a:spcBef>
              <a:spcAft>
                <a:spcPts val="0"/>
              </a:spcAft>
              <a:buClrTx/>
              <a:buSzTx/>
              <a:buFontTx/>
              <a:buNone/>
              <a:tabLst/>
              <a:defRPr/>
            </a:pPr>
            <a:r>
              <a:rPr kumimoji="0" lang="en-US" sz="1389" b="1" i="0" u="none" strike="noStrike" kern="0" cap="none" spc="0" normalizeH="0" baseline="0" noProof="0" dirty="0">
                <a:ln>
                  <a:noFill/>
                </a:ln>
                <a:solidFill>
                  <a:srgbClr val="92D050"/>
                </a:solidFill>
                <a:effectLst/>
                <a:uLnTx/>
                <a:uFillTx/>
                <a:latin typeface="adineue PRO Cond"/>
                <a:ea typeface="+mn-ea"/>
                <a:cs typeface="AdihausDIN" panose="020B0504020101020102" pitchFamily="34" charset="0"/>
              </a:rPr>
              <a:t>20% TECH BUDGET CUT</a:t>
            </a:r>
          </a:p>
          <a:p>
            <a:pPr marL="0" marR="0" lvl="0" indent="0" algn="ctr" defTabSz="1215248" rtl="0" eaLnBrk="1" fontAlgn="auto" latinLnBrk="0" hangingPunct="1">
              <a:lnSpc>
                <a:spcPct val="100000"/>
              </a:lnSpc>
              <a:spcBef>
                <a:spcPts val="0"/>
              </a:spcBef>
              <a:spcAft>
                <a:spcPts val="0"/>
              </a:spcAft>
              <a:buClrTx/>
              <a:buSzTx/>
              <a:buFontTx/>
              <a:buNone/>
              <a:tabLst/>
              <a:defRPr/>
            </a:pPr>
            <a:endParaRPr kumimoji="0" lang="en-US" sz="1389" b="1" i="0" u="none" strike="noStrike" kern="0" cap="none" spc="0" normalizeH="0" baseline="0" noProof="0" dirty="0">
              <a:ln>
                <a:noFill/>
              </a:ln>
              <a:solidFill>
                <a:srgbClr val="92D050"/>
              </a:solidFill>
              <a:effectLst/>
              <a:uLnTx/>
              <a:uFillTx/>
              <a:latin typeface="adineue PRO Cond"/>
              <a:ea typeface="+mn-ea"/>
              <a:cs typeface="AdihausDIN" panose="020B0504020101020102" pitchFamily="34" charset="0"/>
            </a:endParaRPr>
          </a:p>
          <a:p>
            <a:pPr marL="0" marR="0" lvl="0" indent="0" algn="ctr" defTabSz="1215248" rtl="0" eaLnBrk="1" fontAlgn="auto" latinLnBrk="0" hangingPunct="1">
              <a:lnSpc>
                <a:spcPct val="100000"/>
              </a:lnSpc>
              <a:spcBef>
                <a:spcPts val="0"/>
              </a:spcBef>
              <a:spcAft>
                <a:spcPts val="0"/>
              </a:spcAft>
              <a:buClrTx/>
              <a:buSzTx/>
              <a:buFontTx/>
              <a:buNone/>
              <a:tabLst/>
              <a:defRPr/>
            </a:pPr>
            <a:r>
              <a:rPr kumimoji="0" lang="en-US" sz="1389" b="1" i="0" u="none" strike="noStrike" kern="0" cap="none" spc="0" normalizeH="0" baseline="0" noProof="0" dirty="0">
                <a:ln>
                  <a:noFill/>
                </a:ln>
                <a:solidFill>
                  <a:srgbClr val="92D050"/>
                </a:solidFill>
                <a:effectLst/>
                <a:uLnTx/>
                <a:uFillTx/>
                <a:latin typeface="adineue PRO Cond"/>
                <a:ea typeface="+mn-ea"/>
                <a:cs typeface="AdihausDIN" panose="020B0504020101020102" pitchFamily="34" charset="0"/>
              </a:rPr>
              <a:t>COST CONTROL TOWER AND ZERO-BUDGET</a:t>
            </a:r>
          </a:p>
          <a:p>
            <a:pPr marL="0" marR="0" lvl="0" indent="0" algn="ctr" defTabSz="1215248" rtl="0" eaLnBrk="1" fontAlgn="auto" latinLnBrk="0" hangingPunct="1">
              <a:lnSpc>
                <a:spcPct val="100000"/>
              </a:lnSpc>
              <a:spcBef>
                <a:spcPts val="0"/>
              </a:spcBef>
              <a:spcAft>
                <a:spcPts val="0"/>
              </a:spcAft>
              <a:buClrTx/>
              <a:buSzTx/>
              <a:buFontTx/>
              <a:buNone/>
              <a:tabLst/>
              <a:defRPr/>
            </a:pPr>
            <a:endParaRPr kumimoji="0" lang="en-US" sz="1389" b="1" i="0" u="none" strike="noStrike" kern="0" cap="none" spc="0" normalizeH="0" baseline="0" noProof="0" dirty="0">
              <a:ln>
                <a:noFill/>
              </a:ln>
              <a:solidFill>
                <a:srgbClr val="92D050"/>
              </a:solidFill>
              <a:effectLst/>
              <a:uLnTx/>
              <a:uFillTx/>
              <a:latin typeface="adineue PRO Cond"/>
              <a:ea typeface="+mn-ea"/>
              <a:cs typeface="AdihausDIN" panose="020B0504020101020102" pitchFamily="34" charset="0"/>
            </a:endParaRPr>
          </a:p>
        </p:txBody>
      </p:sp>
      <p:sp>
        <p:nvSpPr>
          <p:cNvPr id="4" name="TextBox 26">
            <a:extLst>
              <a:ext uri="{FF2B5EF4-FFF2-40B4-BE49-F238E27FC236}">
                <a16:creationId xmlns:a16="http://schemas.microsoft.com/office/drawing/2014/main" id="{BCCC1F76-FC51-8241-BF3C-C099A4BD467D}"/>
              </a:ext>
            </a:extLst>
          </p:cNvPr>
          <p:cNvSpPr txBox="1"/>
          <p:nvPr/>
        </p:nvSpPr>
        <p:spPr>
          <a:xfrm>
            <a:off x="5202125" y="4189707"/>
            <a:ext cx="1477644" cy="1030637"/>
          </a:xfrm>
          <a:prstGeom prst="rect">
            <a:avLst/>
          </a:prstGeom>
          <a:noFill/>
          <a:ln w="6350" cmpd="sng">
            <a:noFill/>
          </a:ln>
          <a:effectLst/>
        </p:spPr>
        <p:txBody>
          <a:bodyPr wrap="square" lIns="125645" tIns="0" rIns="0" bIns="0" rtlCol="0" anchor="t"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1215248" rtl="0" eaLnBrk="1" fontAlgn="auto" latinLnBrk="0" hangingPunct="1">
              <a:lnSpc>
                <a:spcPct val="100000"/>
              </a:lnSpc>
              <a:spcBef>
                <a:spcPts val="0"/>
              </a:spcBef>
              <a:spcAft>
                <a:spcPts val="0"/>
              </a:spcAft>
              <a:buClrTx/>
              <a:buSzTx/>
              <a:buFontTx/>
              <a:buNone/>
              <a:tabLst/>
              <a:defRPr/>
            </a:pPr>
            <a:endParaRPr kumimoji="0" lang="en-US" sz="1389" b="1" i="0" u="none" strike="noStrike" kern="0" cap="none" spc="0" normalizeH="0" baseline="0" noProof="0" dirty="0">
              <a:ln>
                <a:noFill/>
              </a:ln>
              <a:solidFill>
                <a:srgbClr val="92D050"/>
              </a:solidFill>
              <a:effectLst/>
              <a:uLnTx/>
              <a:uFillTx/>
              <a:latin typeface="adineue PRO Cond"/>
              <a:ea typeface="+mn-ea"/>
              <a:cs typeface="AdihausDIN" panose="020B0504020101020102" pitchFamily="34" charset="0"/>
            </a:endParaRPr>
          </a:p>
          <a:p>
            <a:pPr marL="0" marR="0" lvl="0" indent="0" algn="ctr" defTabSz="1215248" rtl="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rgbClr val="92D050"/>
                </a:solidFill>
                <a:effectLst/>
                <a:uLnTx/>
                <a:uFillTx/>
                <a:latin typeface="adineue PRO Cond"/>
                <a:ea typeface="+mn-ea"/>
                <a:cs typeface="AdihausDIN" panose="020B0504020101020102" pitchFamily="34" charset="0"/>
              </a:rPr>
              <a:t>53% </a:t>
            </a:r>
            <a:r>
              <a:rPr kumimoji="0" lang="en-US" sz="1389" b="1" i="0" u="none" strike="noStrike" kern="0" cap="none" spc="0" normalizeH="0" baseline="0" noProof="0" dirty="0">
                <a:ln>
                  <a:noFill/>
                </a:ln>
                <a:solidFill>
                  <a:srgbClr val="92D050"/>
                </a:solidFill>
                <a:effectLst/>
                <a:uLnTx/>
                <a:uFillTx/>
                <a:latin typeface="adineue PRO Cond"/>
                <a:ea typeface="+mn-ea"/>
                <a:cs typeface="AdihausDIN" panose="020B0504020101020102" pitchFamily="34" charset="0"/>
              </a:rPr>
              <a:t>DIGITAL GROWTH</a:t>
            </a:r>
          </a:p>
        </p:txBody>
      </p:sp>
    </p:spTree>
    <p:extLst>
      <p:ext uri="{BB962C8B-B14F-4D97-AF65-F5344CB8AC3E}">
        <p14:creationId xmlns:p14="http://schemas.microsoft.com/office/powerpoint/2010/main" val="2659084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3B7EDF3-D833-8B41-8FE9-820AEAE1FE3C}"/>
              </a:ext>
            </a:extLst>
          </p:cNvPr>
          <p:cNvSpPr>
            <a:spLocks noGrp="1"/>
          </p:cNvSpPr>
          <p:nvPr>
            <p:ph type="pic" sz="quarter" idx="14"/>
          </p:nvPr>
        </p:nvSpPr>
        <p:spPr/>
      </p:sp>
      <p:sp>
        <p:nvSpPr>
          <p:cNvPr id="9" name="Text Placeholder 8">
            <a:extLst>
              <a:ext uri="{FF2B5EF4-FFF2-40B4-BE49-F238E27FC236}">
                <a16:creationId xmlns:a16="http://schemas.microsoft.com/office/drawing/2014/main" id="{E74DE74A-EB55-4846-8605-231348ABE4DB}"/>
              </a:ext>
            </a:extLst>
          </p:cNvPr>
          <p:cNvSpPr>
            <a:spLocks noGrp="1"/>
          </p:cNvSpPr>
          <p:nvPr>
            <p:ph type="body" sz="quarter" idx="18"/>
          </p:nvPr>
        </p:nvSpPr>
        <p:spPr/>
        <p:txBody>
          <a:bodyPr>
            <a:normAutofit/>
          </a:bodyPr>
          <a:lstStyle/>
          <a:p>
            <a:pPr marL="0" indent="0">
              <a:buNone/>
            </a:pPr>
            <a:r>
              <a:rPr lang="en-US" sz="1800" b="1" dirty="0">
                <a:latin typeface="adineue PRO" panose="020B0503020201060004" pitchFamily="34" charset="77"/>
              </a:rPr>
              <a:t>Unique signal based on set of KPIs </a:t>
            </a:r>
          </a:p>
          <a:p>
            <a:endParaRPr lang="en-US" sz="1800" b="1" dirty="0">
              <a:latin typeface="adineue PRO" panose="020B0503020201060004" pitchFamily="34" charset="77"/>
            </a:endParaRPr>
          </a:p>
          <a:p>
            <a:pPr marL="0" indent="0">
              <a:buNone/>
            </a:pPr>
            <a:r>
              <a:rPr lang="en-US" sz="1800" b="1" dirty="0">
                <a:latin typeface="adineue PRO" panose="020B0503020201060004" pitchFamily="34" charset="77"/>
              </a:rPr>
              <a:t>Product level</a:t>
            </a:r>
          </a:p>
          <a:p>
            <a:pPr marL="226777" indent="-226777"/>
            <a:r>
              <a:rPr lang="en-US" sz="1800" dirty="0">
                <a:latin typeface="adineue PRO" panose="020B0503020201060004" pitchFamily="34" charset="77"/>
              </a:rPr>
              <a:t>Error Budget, CI/CD, QA</a:t>
            </a:r>
            <a:r>
              <a:rPr lang="en-US" sz="1800">
                <a:latin typeface="adineue PRO" panose="020B0503020201060004" pitchFamily="34" charset="77"/>
              </a:rPr>
              <a:t>, blocker </a:t>
            </a:r>
            <a:r>
              <a:rPr lang="en-US" sz="1800" dirty="0">
                <a:latin typeface="adineue PRO" panose="020B0503020201060004" pitchFamily="34" charset="77"/>
              </a:rPr>
              <a:t>issues</a:t>
            </a:r>
          </a:p>
          <a:p>
            <a:endParaRPr lang="en-US" sz="1800" dirty="0">
              <a:latin typeface="adineue PRO" panose="020B0503020201060004" pitchFamily="34" charset="77"/>
            </a:endParaRPr>
          </a:p>
          <a:p>
            <a:pPr marL="0" indent="0">
              <a:buNone/>
            </a:pPr>
            <a:r>
              <a:rPr lang="en-US" sz="1800" b="1" dirty="0">
                <a:latin typeface="adineue PRO" panose="020B0503020201060004" pitchFamily="34" charset="77"/>
              </a:rPr>
              <a:t>Value Stream</a:t>
            </a:r>
          </a:p>
          <a:p>
            <a:pPr marL="226777" indent="-226777"/>
            <a:r>
              <a:rPr lang="en-US" sz="1800" dirty="0">
                <a:latin typeface="adineue PRO" panose="020B0503020201060004" pitchFamily="34" charset="77"/>
              </a:rPr>
              <a:t>Dependencies</a:t>
            </a:r>
          </a:p>
          <a:p>
            <a:endParaRPr lang="en-US" sz="1800" dirty="0">
              <a:latin typeface="adineue PRO" panose="020B0503020201060004" pitchFamily="34" charset="77"/>
            </a:endParaRPr>
          </a:p>
          <a:p>
            <a:pPr marL="0" indent="0">
              <a:buNone/>
            </a:pPr>
            <a:r>
              <a:rPr lang="en-US" sz="1800" b="1" dirty="0">
                <a:latin typeface="adineue PRO" panose="020B0503020201060004" pitchFamily="34" charset="77"/>
              </a:rPr>
              <a:t>Environment</a:t>
            </a:r>
          </a:p>
          <a:p>
            <a:pPr marL="226777" indent="-226777"/>
            <a:r>
              <a:rPr lang="en-US" sz="1800" dirty="0">
                <a:latin typeface="adineue PRO" panose="020B0503020201060004" pitchFamily="34" charset="77"/>
              </a:rPr>
              <a:t>Platforms</a:t>
            </a:r>
          </a:p>
          <a:p>
            <a:pPr marL="226777" indent="-226777"/>
            <a:r>
              <a:rPr lang="en-US" sz="1800" dirty="0">
                <a:latin typeface="adineue PRO" panose="020B0503020201060004" pitchFamily="34" charset="77"/>
              </a:rPr>
              <a:t>Releases of the day</a:t>
            </a:r>
          </a:p>
        </p:txBody>
      </p:sp>
      <p:sp>
        <p:nvSpPr>
          <p:cNvPr id="8" name="Title 7">
            <a:extLst>
              <a:ext uri="{FF2B5EF4-FFF2-40B4-BE49-F238E27FC236}">
                <a16:creationId xmlns:a16="http://schemas.microsoft.com/office/drawing/2014/main" id="{B493609C-1CE2-A747-B3F1-3121F0888294}"/>
              </a:ext>
            </a:extLst>
          </p:cNvPr>
          <p:cNvSpPr>
            <a:spLocks noGrp="1"/>
          </p:cNvSpPr>
          <p:nvPr>
            <p:ph type="title"/>
          </p:nvPr>
        </p:nvSpPr>
        <p:spPr>
          <a:xfrm>
            <a:off x="380672" y="381456"/>
            <a:ext cx="3532422" cy="380778"/>
          </a:xfrm>
        </p:spPr>
        <p:txBody>
          <a:bodyPr anchor="t">
            <a:noAutofit/>
          </a:bodyPr>
          <a:lstStyle/>
          <a:p>
            <a:r>
              <a:rPr lang="en-US" sz="3170" dirty="0">
                <a:latin typeface="adineue PRO" panose="020B0503020201060004" pitchFamily="34" charset="77"/>
              </a:rPr>
              <a:t>Release fitness</a:t>
            </a:r>
          </a:p>
        </p:txBody>
      </p:sp>
      <p:sp>
        <p:nvSpPr>
          <p:cNvPr id="10" name="Text Placeholder 9">
            <a:extLst>
              <a:ext uri="{FF2B5EF4-FFF2-40B4-BE49-F238E27FC236}">
                <a16:creationId xmlns:a16="http://schemas.microsoft.com/office/drawing/2014/main" id="{5CE29D85-B479-7B40-9AEA-33C35CAAE91E}"/>
              </a:ext>
            </a:extLst>
          </p:cNvPr>
          <p:cNvSpPr>
            <a:spLocks noGrp="1"/>
          </p:cNvSpPr>
          <p:nvPr>
            <p:ph type="body" sz="quarter" idx="29"/>
          </p:nvPr>
        </p:nvSpPr>
        <p:spPr>
          <a:xfrm>
            <a:off x="379750" y="900713"/>
            <a:ext cx="3425767" cy="358028"/>
          </a:xfrm>
        </p:spPr>
        <p:txBody>
          <a:bodyPr>
            <a:normAutofit fontScale="92500"/>
          </a:bodyPr>
          <a:lstStyle/>
          <a:p>
            <a:pPr marL="0" indent="0">
              <a:buNone/>
            </a:pPr>
            <a:r>
              <a:rPr lang="en-US" dirty="0">
                <a:latin typeface="adineue PRO" panose="020B0503020201060004" pitchFamily="34" charset="77"/>
              </a:rPr>
              <a:t>Release based on </a:t>
            </a:r>
            <a:r>
              <a:rPr lang="en-US" dirty="0" err="1">
                <a:latin typeface="adineue PRO" panose="020B0503020201060004" pitchFamily="34" charset="77"/>
              </a:rPr>
              <a:t>kpis</a:t>
            </a:r>
            <a:endParaRPr lang="en-US" dirty="0">
              <a:latin typeface="adineue PRO" panose="020B0503020201060004" pitchFamily="34" charset="77"/>
            </a:endParaRPr>
          </a:p>
        </p:txBody>
      </p:sp>
      <p:pic>
        <p:nvPicPr>
          <p:cNvPr id="12" name="Picture 11">
            <a:extLst>
              <a:ext uri="{FF2B5EF4-FFF2-40B4-BE49-F238E27FC236}">
                <a16:creationId xmlns:a16="http://schemas.microsoft.com/office/drawing/2014/main" id="{725934E4-84AC-0D40-AF8E-746CA75927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15215" y="652930"/>
            <a:ext cx="7428166" cy="792945"/>
          </a:xfrm>
          <a:prstGeom prst="rect">
            <a:avLst/>
          </a:prstGeom>
        </p:spPr>
      </p:pic>
      <p:pic>
        <p:nvPicPr>
          <p:cNvPr id="14" name="Picture 13" descr="A screenshot of a computer&#10;&#10;Description automatically generated with low confidence">
            <a:extLst>
              <a:ext uri="{FF2B5EF4-FFF2-40B4-BE49-F238E27FC236}">
                <a16:creationId xmlns:a16="http://schemas.microsoft.com/office/drawing/2014/main" id="{03480E5C-5244-164E-A4BC-67EB210217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12519" y="1445874"/>
            <a:ext cx="7428166" cy="2936087"/>
          </a:xfrm>
          <a:prstGeom prst="rect">
            <a:avLst/>
          </a:prstGeom>
        </p:spPr>
      </p:pic>
      <p:pic>
        <p:nvPicPr>
          <p:cNvPr id="17" name="Picture 16" descr="Graphical user interface, application&#10;&#10;Description automatically generated">
            <a:extLst>
              <a:ext uri="{FF2B5EF4-FFF2-40B4-BE49-F238E27FC236}">
                <a16:creationId xmlns:a16="http://schemas.microsoft.com/office/drawing/2014/main" id="{A0E23E70-3E2F-574C-BD61-D6033833E05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97868" y="5175238"/>
            <a:ext cx="7428166" cy="1206399"/>
          </a:xfrm>
          <a:prstGeom prst="rect">
            <a:avLst/>
          </a:prstGeom>
        </p:spPr>
      </p:pic>
      <p:pic>
        <p:nvPicPr>
          <p:cNvPr id="23" name="Picture 22" descr="Graphical user interface, text&#10;&#10;Description automatically generated">
            <a:extLst>
              <a:ext uri="{FF2B5EF4-FFF2-40B4-BE49-F238E27FC236}">
                <a16:creationId xmlns:a16="http://schemas.microsoft.com/office/drawing/2014/main" id="{FD2AC496-F861-F440-8553-332FA254685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12519" y="4381961"/>
            <a:ext cx="7431384" cy="792945"/>
          </a:xfrm>
          <a:prstGeom prst="rect">
            <a:avLst/>
          </a:prstGeom>
        </p:spPr>
      </p:pic>
    </p:spTree>
    <p:extLst>
      <p:ext uri="{BB962C8B-B14F-4D97-AF65-F5344CB8AC3E}">
        <p14:creationId xmlns:p14="http://schemas.microsoft.com/office/powerpoint/2010/main" val="3701821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 calcmode="lin" valueType="num">
                                      <p:cBhvr additive="base">
                                        <p:cTn id="17"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9">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9">
                                            <p:txEl>
                                              <p:pRg st="3" end="3"/>
                                            </p:txEl>
                                          </p:spTgt>
                                        </p:tgtEl>
                                        <p:attrNameLst>
                                          <p:attrName>style.visibility</p:attrName>
                                        </p:attrNameLst>
                                      </p:cBhvr>
                                      <p:to>
                                        <p:strVal val="visible"/>
                                      </p:to>
                                    </p:set>
                                    <p:anim calcmode="lin" valueType="num">
                                      <p:cBhvr additive="base">
                                        <p:cTn id="21"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9">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9">
                                            <p:txEl>
                                              <p:pRg st="5" end="5"/>
                                            </p:txEl>
                                          </p:spTgt>
                                        </p:tgtEl>
                                        <p:attrNameLst>
                                          <p:attrName>style.visibility</p:attrName>
                                        </p:attrNameLst>
                                      </p:cBhvr>
                                      <p:to>
                                        <p:strVal val="visible"/>
                                      </p:to>
                                    </p:set>
                                    <p:anim calcmode="lin" valueType="num">
                                      <p:cBhvr additive="base">
                                        <p:cTn id="31"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
                                            <p:txEl>
                                              <p:pRg st="5" end="5"/>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9">
                                            <p:txEl>
                                              <p:pRg st="6" end="6"/>
                                            </p:txEl>
                                          </p:spTgt>
                                        </p:tgtEl>
                                        <p:attrNameLst>
                                          <p:attrName>style.visibility</p:attrName>
                                        </p:attrNameLst>
                                      </p:cBhvr>
                                      <p:to>
                                        <p:strVal val="visible"/>
                                      </p:to>
                                    </p:set>
                                    <p:anim calcmode="lin" valueType="num">
                                      <p:cBhvr additive="base">
                                        <p:cTn id="35"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9">
                                            <p:txEl>
                                              <p:pRg st="6" end="6"/>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additive="base">
                                        <p:cTn id="39" dur="500" fill="hold"/>
                                        <p:tgtEl>
                                          <p:spTgt spid="23"/>
                                        </p:tgtEl>
                                        <p:attrNameLst>
                                          <p:attrName>ppt_x</p:attrName>
                                        </p:attrNameLst>
                                      </p:cBhvr>
                                      <p:tavLst>
                                        <p:tav tm="0">
                                          <p:val>
                                            <p:strVal val="#ppt_x"/>
                                          </p:val>
                                        </p:tav>
                                        <p:tav tm="100000">
                                          <p:val>
                                            <p:strVal val="#ppt_x"/>
                                          </p:val>
                                        </p:tav>
                                      </p:tavLst>
                                    </p:anim>
                                    <p:anim calcmode="lin" valueType="num">
                                      <p:cBhvr additive="base">
                                        <p:cTn id="4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9">
                                            <p:txEl>
                                              <p:pRg st="8" end="8"/>
                                            </p:txEl>
                                          </p:spTgt>
                                        </p:tgtEl>
                                        <p:attrNameLst>
                                          <p:attrName>style.visibility</p:attrName>
                                        </p:attrNameLst>
                                      </p:cBhvr>
                                      <p:to>
                                        <p:strVal val="visible"/>
                                      </p:to>
                                    </p:set>
                                    <p:anim calcmode="lin" valueType="num">
                                      <p:cBhvr additive="base">
                                        <p:cTn id="45" dur="500" fill="hold"/>
                                        <p:tgtEl>
                                          <p:spTgt spid="9">
                                            <p:txEl>
                                              <p:pRg st="8" end="8"/>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9">
                                            <p:txEl>
                                              <p:pRg st="8" end="8"/>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9">
                                            <p:txEl>
                                              <p:pRg st="9" end="9"/>
                                            </p:txEl>
                                          </p:spTgt>
                                        </p:tgtEl>
                                        <p:attrNameLst>
                                          <p:attrName>style.visibility</p:attrName>
                                        </p:attrNameLst>
                                      </p:cBhvr>
                                      <p:to>
                                        <p:strVal val="visible"/>
                                      </p:to>
                                    </p:set>
                                    <p:anim calcmode="lin" valueType="num">
                                      <p:cBhvr additive="base">
                                        <p:cTn id="49" dur="500" fill="hold"/>
                                        <p:tgtEl>
                                          <p:spTgt spid="9">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9">
                                            <p:txEl>
                                              <p:pRg st="9" end="9"/>
                                            </p:tx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9">
                                            <p:txEl>
                                              <p:pRg st="10" end="10"/>
                                            </p:txEl>
                                          </p:spTgt>
                                        </p:tgtEl>
                                        <p:attrNameLst>
                                          <p:attrName>style.visibility</p:attrName>
                                        </p:attrNameLst>
                                      </p:cBhvr>
                                      <p:to>
                                        <p:strVal val="visible"/>
                                      </p:to>
                                    </p:set>
                                    <p:anim calcmode="lin" valueType="num">
                                      <p:cBhvr additive="base">
                                        <p:cTn id="53" dur="500" fill="hold"/>
                                        <p:tgtEl>
                                          <p:spTgt spid="9">
                                            <p:txEl>
                                              <p:pRg st="10" end="10"/>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9">
                                            <p:txEl>
                                              <p:pRg st="10" end="10"/>
                                            </p:txEl>
                                          </p:spTgt>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7"/>
                                        </p:tgtEl>
                                        <p:attrNameLst>
                                          <p:attrName>style.visibility</p:attrName>
                                        </p:attrNameLst>
                                      </p:cBhvr>
                                      <p:to>
                                        <p:strVal val="visible"/>
                                      </p:to>
                                    </p:set>
                                    <p:anim calcmode="lin" valueType="num">
                                      <p:cBhvr additive="base">
                                        <p:cTn id="57" dur="500" fill="hold"/>
                                        <p:tgtEl>
                                          <p:spTgt spid="17"/>
                                        </p:tgtEl>
                                        <p:attrNameLst>
                                          <p:attrName>ppt_x</p:attrName>
                                        </p:attrNameLst>
                                      </p:cBhvr>
                                      <p:tavLst>
                                        <p:tav tm="0">
                                          <p:val>
                                            <p:strVal val="#ppt_x"/>
                                          </p:val>
                                        </p:tav>
                                        <p:tav tm="100000">
                                          <p:val>
                                            <p:strVal val="#ppt_x"/>
                                          </p:val>
                                        </p:tav>
                                      </p:tavLst>
                                    </p:anim>
                                    <p:anim calcmode="lin" valueType="num">
                                      <p:cBhvr additive="base">
                                        <p:cTn id="5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6D72E-6389-0C47-8A0F-CA8F8EB9C616}"/>
              </a:ext>
            </a:extLst>
          </p:cNvPr>
          <p:cNvSpPr>
            <a:spLocks noGrp="1"/>
          </p:cNvSpPr>
          <p:nvPr>
            <p:ph type="title"/>
          </p:nvPr>
        </p:nvSpPr>
        <p:spPr/>
        <p:txBody>
          <a:bodyPr/>
          <a:lstStyle/>
          <a:p>
            <a:endParaRPr lang="en-DE"/>
          </a:p>
        </p:txBody>
      </p:sp>
      <p:pic>
        <p:nvPicPr>
          <p:cNvPr id="7" name="Picture 6" descr="A picture containing bag, hat, shirt&#10;&#10;Description automatically generated">
            <a:extLst>
              <a:ext uri="{FF2B5EF4-FFF2-40B4-BE49-F238E27FC236}">
                <a16:creationId xmlns:a16="http://schemas.microsoft.com/office/drawing/2014/main" id="{072F45B5-E9C9-2643-A945-186B6347AC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61129"/>
            <a:ext cx="12192000" cy="7380258"/>
          </a:xfrm>
          <a:prstGeom prst="rect">
            <a:avLst/>
          </a:prstGeom>
        </p:spPr>
      </p:pic>
      <p:sp>
        <p:nvSpPr>
          <p:cNvPr id="9" name="Rectangle 8">
            <a:extLst>
              <a:ext uri="{FF2B5EF4-FFF2-40B4-BE49-F238E27FC236}">
                <a16:creationId xmlns:a16="http://schemas.microsoft.com/office/drawing/2014/main" id="{919FBF60-1B39-034E-B729-3C7D7B568CC9}"/>
              </a:ext>
            </a:extLst>
          </p:cNvPr>
          <p:cNvSpPr/>
          <p:nvPr/>
        </p:nvSpPr>
        <p:spPr>
          <a:xfrm>
            <a:off x="663653" y="2639754"/>
            <a:ext cx="4219386" cy="2889114"/>
          </a:xfrm>
          <a:prstGeom prst="rect">
            <a:avLst/>
          </a:prstGeom>
          <a:noFill/>
          <a:ln w="12700" cap="flat" cmpd="sng" algn="ctr">
            <a:noFill/>
            <a:prstDash val="solid"/>
            <a:miter lim="800000"/>
          </a:ln>
          <a:effectLst/>
        </p:spPr>
        <p:txBody>
          <a:bodyPr vert="horz" lIns="91440" tIns="45720" rIns="91440" bIns="45720" rtlCol="0" anchor="b">
            <a:normAutofit/>
          </a:bodyPr>
          <a:lstStyle/>
          <a:p>
            <a:pPr marL="0" marR="0" lvl="0" indent="0" algn="ctr" defTabSz="914400" eaLnBrk="1" fontAlgn="auto" latinLnBrk="0" hangingPunct="1">
              <a:lnSpc>
                <a:spcPct val="90000"/>
              </a:lnSpc>
              <a:spcBef>
                <a:spcPct val="0"/>
              </a:spcBef>
              <a:spcAft>
                <a:spcPts val="600"/>
              </a:spcAft>
              <a:buClrTx/>
              <a:buSzTx/>
              <a:buFontTx/>
              <a:buNone/>
              <a:tabLst/>
              <a:defRPr/>
            </a:pPr>
            <a:r>
              <a:rPr kumimoji="0" lang="en-US" sz="4200" b="0" i="0" u="none" strike="noStrike" kern="0" cap="none" spc="0" normalizeH="0" baseline="0" noProof="0" dirty="0">
                <a:ln>
                  <a:noFill/>
                </a:ln>
                <a:solidFill>
                  <a:prstClr val="white"/>
                </a:solidFill>
                <a:effectLst/>
                <a:uLnTx/>
                <a:uFillTx/>
                <a:latin typeface="adineue PRO" panose="020B0503020201060004" pitchFamily="34" charset="77"/>
                <a:ea typeface="+mn-ea"/>
                <a:cs typeface="+mn-cs"/>
              </a:rPr>
              <a:t>WHY KEEP COMING EVERY YEAR</a:t>
            </a:r>
          </a:p>
        </p:txBody>
      </p:sp>
    </p:spTree>
    <p:extLst>
      <p:ext uri="{BB962C8B-B14F-4D97-AF65-F5344CB8AC3E}">
        <p14:creationId xmlns:p14="http://schemas.microsoft.com/office/powerpoint/2010/main" val="3438323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1741E-85C6-6B43-A4E4-2C0849F6581D}"/>
              </a:ext>
            </a:extLst>
          </p:cNvPr>
          <p:cNvSpPr>
            <a:spLocks noGrp="1"/>
          </p:cNvSpPr>
          <p:nvPr>
            <p:ph type="body" sz="quarter" idx="25"/>
          </p:nvPr>
        </p:nvSpPr>
        <p:spPr/>
        <p:txBody>
          <a:bodyPr/>
          <a:lstStyle/>
          <a:p>
            <a:endParaRPr lang="en-DE"/>
          </a:p>
        </p:txBody>
      </p:sp>
      <p:sp>
        <p:nvSpPr>
          <p:cNvPr id="4" name="Title 3">
            <a:extLst>
              <a:ext uri="{FF2B5EF4-FFF2-40B4-BE49-F238E27FC236}">
                <a16:creationId xmlns:a16="http://schemas.microsoft.com/office/drawing/2014/main" id="{D745894E-4F25-8C49-B5F6-EF854C7C42A0}"/>
              </a:ext>
            </a:extLst>
          </p:cNvPr>
          <p:cNvSpPr>
            <a:spLocks noGrp="1"/>
          </p:cNvSpPr>
          <p:nvPr>
            <p:ph type="title"/>
          </p:nvPr>
        </p:nvSpPr>
        <p:spPr/>
        <p:txBody>
          <a:bodyPr/>
          <a:lstStyle/>
          <a:p>
            <a:endParaRPr lang="en-DE"/>
          </a:p>
        </p:txBody>
      </p:sp>
      <p:sp>
        <p:nvSpPr>
          <p:cNvPr id="7" name="Text Placeholder 6">
            <a:extLst>
              <a:ext uri="{FF2B5EF4-FFF2-40B4-BE49-F238E27FC236}">
                <a16:creationId xmlns:a16="http://schemas.microsoft.com/office/drawing/2014/main" id="{903A0A31-C6DE-094F-80C9-268255AAB4E4}"/>
              </a:ext>
            </a:extLst>
          </p:cNvPr>
          <p:cNvSpPr>
            <a:spLocks noGrp="1"/>
          </p:cNvSpPr>
          <p:nvPr>
            <p:ph type="body" sz="quarter" idx="29"/>
          </p:nvPr>
        </p:nvSpPr>
        <p:spPr/>
        <p:txBody>
          <a:bodyPr>
            <a:normAutofit lnSpcReduction="10000"/>
          </a:bodyPr>
          <a:lstStyle/>
          <a:p>
            <a:endParaRPr lang="en-DE"/>
          </a:p>
        </p:txBody>
      </p:sp>
      <p:pic>
        <p:nvPicPr>
          <p:cNvPr id="1026" name="Picture 2">
            <a:extLst>
              <a:ext uri="{FF2B5EF4-FFF2-40B4-BE49-F238E27FC236}">
                <a16:creationId xmlns:a16="http://schemas.microsoft.com/office/drawing/2014/main" id="{6A33CA87-AC6C-1743-B3CE-BE9268D5805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84" y="-21393"/>
            <a:ext cx="12189433" cy="689959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4">
            <a:extLst>
              <a:ext uri="{FF2B5EF4-FFF2-40B4-BE49-F238E27FC236}">
                <a16:creationId xmlns:a16="http://schemas.microsoft.com/office/drawing/2014/main" id="{C614DA4E-52B5-5840-BFD1-6A3B24C92C6D}"/>
              </a:ext>
            </a:extLst>
          </p:cNvPr>
          <p:cNvSpPr txBox="1">
            <a:spLocks/>
          </p:cNvSpPr>
          <p:nvPr/>
        </p:nvSpPr>
        <p:spPr bwMode="gray">
          <a:xfrm>
            <a:off x="2286132" y="4451817"/>
            <a:ext cx="7619736" cy="1904533"/>
          </a:xfrm>
          <a:prstGeom prst="rect">
            <a:avLst/>
          </a:prstGeom>
        </p:spPr>
        <p:txBody>
          <a:bodyPr vert="horz" lIns="0" tIns="0" rIns="0" bIns="0" rtlCol="0" anchor="t" anchorCtr="0">
            <a:noAutofit/>
          </a:bodyPr>
          <a:lstStyle>
            <a:lvl1pPr algn="ctr" rtl="0" eaLnBrk="1" fontAlgn="base" hangingPunct="1">
              <a:lnSpc>
                <a:spcPct val="80000"/>
              </a:lnSpc>
              <a:spcBef>
                <a:spcPct val="0"/>
              </a:spcBef>
              <a:spcAft>
                <a:spcPct val="0"/>
              </a:spcAft>
              <a:defRPr sz="4233" b="0" i="0" kern="1200" cap="all">
                <a:solidFill>
                  <a:schemeClr val="bg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de-DE" sz="5820" b="0" i="0" u="none" strike="noStrike" kern="1200" cap="all" spc="0" normalizeH="0" baseline="0" noProof="0">
                <a:ln>
                  <a:noFill/>
                </a:ln>
                <a:solidFill>
                  <a:sysClr val="window" lastClr="FFFFFF"/>
                </a:solidFill>
                <a:effectLst/>
                <a:uLnTx/>
                <a:uFillTx/>
                <a:latin typeface="adineue TEXT Black" panose="020B0A03020201060004" pitchFamily="34" charset="0"/>
                <a:ea typeface="+mj-ea"/>
                <a:cs typeface="+mj-cs"/>
              </a:rPr>
              <a:t>THANK YOU!</a:t>
            </a:r>
            <a:endParaRPr kumimoji="0" lang="en-US" sz="5820" b="0" i="0" u="none" strike="noStrike" kern="1200" cap="all" spc="0" normalizeH="0" baseline="0" noProof="0" dirty="0">
              <a:ln>
                <a:noFill/>
              </a:ln>
              <a:solidFill>
                <a:sysClr val="window" lastClr="FFFFFF"/>
              </a:solidFill>
              <a:effectLst/>
              <a:uLnTx/>
              <a:uFillTx/>
              <a:latin typeface="adineue TEXT Black" panose="020B0A03020201060004" pitchFamily="34" charset="0"/>
              <a:ea typeface="+mj-ea"/>
              <a:cs typeface="+mj-cs"/>
            </a:endParaRPr>
          </a:p>
        </p:txBody>
      </p:sp>
    </p:spTree>
    <p:extLst>
      <p:ext uri="{BB962C8B-B14F-4D97-AF65-F5344CB8AC3E}">
        <p14:creationId xmlns:p14="http://schemas.microsoft.com/office/powerpoint/2010/main" val="73646223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8" name="Object 227" hidden="1">
            <a:extLst>
              <a:ext uri="{FF2B5EF4-FFF2-40B4-BE49-F238E27FC236}">
                <a16:creationId xmlns:a16="http://schemas.microsoft.com/office/drawing/2014/main" id="{971A47B7-45B0-4B87-8D00-191FBDE2DB3E}"/>
              </a:ext>
            </a:extLst>
          </p:cNvPr>
          <p:cNvGraphicFramePr>
            <a:graphicFrameLocks noChangeAspect="1"/>
          </p:cNvGraphicFramePr>
          <p:nvPr>
            <p:custDataLst>
              <p:tags r:id="rId2"/>
            </p:custDataLst>
          </p:nvPr>
        </p:nvGraphicFramePr>
        <p:xfrm>
          <a:off x="3384" y="2101"/>
          <a:ext cx="2100" cy="2100"/>
        </p:xfrm>
        <a:graphic>
          <a:graphicData uri="http://schemas.openxmlformats.org/presentationml/2006/ole">
            <mc:AlternateContent xmlns:mc="http://schemas.openxmlformats.org/markup-compatibility/2006">
              <mc:Choice xmlns:v="urn:schemas-microsoft-com:vml" Requires="v">
                <p:oleObj spid="_x0000_s22530" name="think-cell Slide" r:id="rId5" imgW="523" imgH="499" progId="TCLayout.ActiveDocument.1">
                  <p:embed/>
                </p:oleObj>
              </mc:Choice>
              <mc:Fallback>
                <p:oleObj name="think-cell Slide" r:id="rId5" imgW="523" imgH="499" progId="TCLayout.ActiveDocument.1">
                  <p:embed/>
                  <p:pic>
                    <p:nvPicPr>
                      <p:cNvPr id="228" name="Object 227" hidden="1">
                        <a:extLst>
                          <a:ext uri="{FF2B5EF4-FFF2-40B4-BE49-F238E27FC236}">
                            <a16:creationId xmlns:a16="http://schemas.microsoft.com/office/drawing/2014/main" id="{971A47B7-45B0-4B87-8D00-191FBDE2DB3E}"/>
                          </a:ext>
                        </a:extLst>
                      </p:cNvPr>
                      <p:cNvPicPr/>
                      <p:nvPr/>
                    </p:nvPicPr>
                    <p:blipFill>
                      <a:blip r:embed="rId6"/>
                      <a:stretch>
                        <a:fillRect/>
                      </a:stretch>
                    </p:blipFill>
                    <p:spPr>
                      <a:xfrm>
                        <a:off x="3384" y="2101"/>
                        <a:ext cx="2100" cy="210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4D6FD87D-A422-49AF-843E-12CE02FDCC6D}"/>
              </a:ext>
            </a:extLst>
          </p:cNvPr>
          <p:cNvSpPr/>
          <p:nvPr/>
        </p:nvSpPr>
        <p:spPr bwMode="gray">
          <a:xfrm>
            <a:off x="11906" y="1155679"/>
            <a:ext cx="2825258" cy="5263773"/>
          </a:xfrm>
          <a:prstGeom prst="rect">
            <a:avLst/>
          </a:prstGeom>
          <a:solidFill>
            <a:schemeClr val="bg1">
              <a:lumMod val="95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601"/>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sp>
        <p:nvSpPr>
          <p:cNvPr id="9" name="Rectangle 252">
            <a:extLst>
              <a:ext uri="{FF2B5EF4-FFF2-40B4-BE49-F238E27FC236}">
                <a16:creationId xmlns:a16="http://schemas.microsoft.com/office/drawing/2014/main" id="{11CFE464-E9A9-4264-A1D9-4E69B6A2ECE5}"/>
              </a:ext>
            </a:extLst>
          </p:cNvPr>
          <p:cNvSpPr/>
          <p:nvPr/>
        </p:nvSpPr>
        <p:spPr>
          <a:xfrm>
            <a:off x="3039954" y="5341449"/>
            <a:ext cx="1663158" cy="254813"/>
          </a:xfrm>
          <a:prstGeom prst="rect">
            <a:avLst/>
          </a:prstGeom>
        </p:spPr>
        <p:txBody>
          <a:bodyPr wrap="square" lIns="47498" rIns="47498">
            <a:spAutoFit/>
          </a:bodyPr>
          <a:lstStyle/>
          <a:p>
            <a:pPr marL="0" marR="0" lvl="0" indent="0" algn="l" defTabSz="1213471" rtl="0" eaLnBrk="1" fontAlgn="base" latinLnBrk="0" hangingPunct="1">
              <a:lnSpc>
                <a:spcPct val="100000"/>
              </a:lnSpc>
              <a:spcBef>
                <a:spcPct val="0"/>
              </a:spcBef>
              <a:spcAft>
                <a:spcPct val="0"/>
              </a:spcAft>
              <a:buClrTx/>
              <a:buSzTx/>
              <a:buFontTx/>
              <a:buNone/>
              <a:tabLst/>
              <a:defRPr/>
            </a:pPr>
            <a:r>
              <a:rPr kumimoji="0" lang="en-US" sz="1056" b="1" i="0" u="none" strike="noStrike" kern="1200" cap="none" spc="0" normalizeH="0" baseline="0" noProof="0">
                <a:ln>
                  <a:noFill/>
                </a:ln>
                <a:solidFill>
                  <a:prstClr val="black"/>
                </a:solidFill>
                <a:effectLst/>
                <a:uLnTx/>
                <a:uFillTx/>
                <a:latin typeface="AdiHaus" panose="02000503020000020004" pitchFamily="2" charset="0"/>
                <a:ea typeface="Calibri" panose="020F0502020204030204" pitchFamily="34" charset="0"/>
                <a:cs typeface="Arial" charset="0"/>
              </a:rPr>
              <a:t>LEGEND:  </a:t>
            </a:r>
            <a:endParaRPr kumimoji="0" lang="en-US" sz="792" b="0" i="0" u="none" strike="noStrike" kern="1200" cap="none" spc="0" normalizeH="0" baseline="0" noProof="0">
              <a:ln>
                <a:noFill/>
              </a:ln>
              <a:solidFill>
                <a:prstClr val="black"/>
              </a:solidFill>
              <a:effectLst/>
              <a:uLnTx/>
              <a:uFillTx/>
              <a:latin typeface="AdiHaus" panose="02000503020000020004" pitchFamily="2" charset="0"/>
              <a:ea typeface="Calibri" panose="020F0502020204030204" pitchFamily="34" charset="0"/>
              <a:cs typeface="Arial" charset="0"/>
            </a:endParaRPr>
          </a:p>
        </p:txBody>
      </p:sp>
      <p:sp>
        <p:nvSpPr>
          <p:cNvPr id="10" name="Rectangle 253">
            <a:extLst>
              <a:ext uri="{FF2B5EF4-FFF2-40B4-BE49-F238E27FC236}">
                <a16:creationId xmlns:a16="http://schemas.microsoft.com/office/drawing/2014/main" id="{73BF7323-84EE-41F5-94B7-C218D731258C}"/>
              </a:ext>
            </a:extLst>
          </p:cNvPr>
          <p:cNvSpPr/>
          <p:nvPr/>
        </p:nvSpPr>
        <p:spPr>
          <a:xfrm>
            <a:off x="4221756" y="6068564"/>
            <a:ext cx="3828261" cy="376706"/>
          </a:xfrm>
          <a:prstGeom prst="rect">
            <a:avLst/>
          </a:prstGeom>
        </p:spPr>
        <p:txBody>
          <a:bodyPr wrap="square">
            <a:spAutoFit/>
          </a:bodyPr>
          <a:lstStyle/>
          <a:p>
            <a:pPr marL="0" marR="0" lvl="0" indent="0" algn="l" defTabSz="1215248" rtl="0" eaLnBrk="1" fontAlgn="base" latinLnBrk="0" hangingPunct="1">
              <a:lnSpc>
                <a:spcPct val="100000"/>
              </a:lnSpc>
              <a:spcBef>
                <a:spcPct val="0"/>
              </a:spcBef>
              <a:spcAft>
                <a:spcPct val="0"/>
              </a:spcAft>
              <a:buClrTx/>
              <a:buSzTx/>
              <a:buFontTx/>
              <a:buNone/>
              <a:tabLst/>
              <a:defRPr/>
            </a:pPr>
            <a:r>
              <a:rPr kumimoji="0" lang="en-US" sz="1056" b="1" i="0" u="none" strike="noStrike" kern="1200" cap="none" spc="0" normalizeH="0" baseline="0" noProof="0">
                <a:ln>
                  <a:noFill/>
                </a:ln>
                <a:solidFill>
                  <a:prstClr val="black"/>
                </a:solidFill>
                <a:effectLst/>
                <a:uLnTx/>
                <a:uFillTx/>
                <a:latin typeface="AdihausDIN" pitchFamily="34" charset="0"/>
                <a:ea typeface="+mn-ea"/>
                <a:cs typeface="Arial" charset="0"/>
              </a:rPr>
              <a:t>Buy: </a:t>
            </a:r>
            <a:r>
              <a:rPr kumimoji="0" lang="en-US" sz="792" b="0" i="0" u="none" strike="noStrike" kern="1200" cap="none" spc="0" normalizeH="0" baseline="0" noProof="0">
                <a:ln>
                  <a:noFill/>
                </a:ln>
                <a:solidFill>
                  <a:prstClr val="black"/>
                </a:solidFill>
                <a:effectLst/>
                <a:uLnTx/>
                <a:uFillTx/>
                <a:latin typeface="AdihausDIN" pitchFamily="34" charset="0"/>
                <a:ea typeface="+mn-ea"/>
                <a:cs typeface="Arial" charset="0"/>
              </a:rPr>
              <a:t>Where we must differentiate but lack capability, explore acquisition, acquire or JV opportunities </a:t>
            </a:r>
          </a:p>
        </p:txBody>
      </p:sp>
      <p:sp>
        <p:nvSpPr>
          <p:cNvPr id="11" name="Rectangle 263">
            <a:extLst>
              <a:ext uri="{FF2B5EF4-FFF2-40B4-BE49-F238E27FC236}">
                <a16:creationId xmlns:a16="http://schemas.microsoft.com/office/drawing/2014/main" id="{356FCF23-A649-4D23-B97F-042E5E774F69}"/>
              </a:ext>
            </a:extLst>
          </p:cNvPr>
          <p:cNvSpPr/>
          <p:nvPr/>
        </p:nvSpPr>
        <p:spPr>
          <a:xfrm>
            <a:off x="4205931" y="5703376"/>
            <a:ext cx="3860838" cy="376706"/>
          </a:xfrm>
          <a:prstGeom prst="rect">
            <a:avLst/>
          </a:prstGeom>
        </p:spPr>
        <p:txBody>
          <a:bodyPr wrap="square">
            <a:spAutoFit/>
          </a:bodyPr>
          <a:lstStyle/>
          <a:p>
            <a:pPr marL="0" marR="0" lvl="0" indent="0" algn="l" defTabSz="1215248" rtl="0" eaLnBrk="1" fontAlgn="base" latinLnBrk="0" hangingPunct="1">
              <a:lnSpc>
                <a:spcPct val="100000"/>
              </a:lnSpc>
              <a:spcBef>
                <a:spcPct val="0"/>
              </a:spcBef>
              <a:spcAft>
                <a:spcPct val="0"/>
              </a:spcAft>
              <a:buClrTx/>
              <a:buSzTx/>
              <a:buFontTx/>
              <a:buNone/>
              <a:tabLst/>
              <a:defRPr/>
            </a:pPr>
            <a:r>
              <a:rPr kumimoji="0" lang="en-US" sz="1056" b="1" i="0" u="none" strike="noStrike" kern="1200" cap="none" spc="0" normalizeH="0" baseline="0" noProof="0">
                <a:ln>
                  <a:noFill/>
                </a:ln>
                <a:solidFill>
                  <a:prstClr val="black"/>
                </a:solidFill>
                <a:effectLst/>
                <a:uLnTx/>
                <a:uFillTx/>
                <a:latin typeface="AdihausDIN" pitchFamily="34" charset="0"/>
                <a:ea typeface="+mn-ea"/>
                <a:cs typeface="Arial" charset="0"/>
              </a:rPr>
              <a:t>Rent: </a:t>
            </a:r>
            <a:r>
              <a:rPr kumimoji="0" lang="en-US" sz="792" b="0" i="0" u="none" strike="noStrike" kern="1200" cap="none" spc="0" normalizeH="0" baseline="0" noProof="0">
                <a:ln>
                  <a:noFill/>
                </a:ln>
                <a:solidFill>
                  <a:prstClr val="black"/>
                </a:solidFill>
                <a:effectLst/>
                <a:uLnTx/>
                <a:uFillTx/>
                <a:latin typeface="AdihausDIN" pitchFamily="34" charset="0"/>
                <a:ea typeface="+mn-ea"/>
                <a:cs typeface="Arial" charset="0"/>
              </a:rPr>
              <a:t>Where we want to drive efficiencies, leverage out of the box software (SAAS or COTS) and minimize customization​</a:t>
            </a:r>
          </a:p>
        </p:txBody>
      </p:sp>
      <p:sp>
        <p:nvSpPr>
          <p:cNvPr id="12" name="Rectangle 379">
            <a:extLst>
              <a:ext uri="{FF2B5EF4-FFF2-40B4-BE49-F238E27FC236}">
                <a16:creationId xmlns:a16="http://schemas.microsoft.com/office/drawing/2014/main" id="{9E3E23F3-BB5D-4792-B39F-9700B8536A15}"/>
              </a:ext>
            </a:extLst>
          </p:cNvPr>
          <p:cNvSpPr/>
          <p:nvPr/>
        </p:nvSpPr>
        <p:spPr>
          <a:xfrm>
            <a:off x="4198080" y="5332613"/>
            <a:ext cx="4111485" cy="376706"/>
          </a:xfrm>
          <a:prstGeom prst="rect">
            <a:avLst/>
          </a:prstGeom>
        </p:spPr>
        <p:txBody>
          <a:bodyPr wrap="square">
            <a:spAutoFit/>
          </a:bodyPr>
          <a:lstStyle/>
          <a:p>
            <a:pPr marL="0" marR="0" lvl="0" indent="0" algn="l" defTabSz="1215248" rtl="0" eaLnBrk="1" fontAlgn="base" latinLnBrk="0" hangingPunct="1">
              <a:lnSpc>
                <a:spcPct val="100000"/>
              </a:lnSpc>
              <a:spcBef>
                <a:spcPct val="0"/>
              </a:spcBef>
              <a:spcAft>
                <a:spcPct val="0"/>
              </a:spcAft>
              <a:buClrTx/>
              <a:buSzTx/>
              <a:buFontTx/>
              <a:buNone/>
              <a:tabLst/>
              <a:defRPr/>
            </a:pPr>
            <a:r>
              <a:rPr kumimoji="0" lang="en-US" sz="1056" b="1" i="0" u="none" strike="noStrike" kern="1200" cap="none" spc="0" normalizeH="0" baseline="0" noProof="0">
                <a:ln>
                  <a:noFill/>
                </a:ln>
                <a:solidFill>
                  <a:prstClr val="black"/>
                </a:solidFill>
                <a:effectLst/>
                <a:uLnTx/>
                <a:uFillTx/>
                <a:latin typeface="AdihausDIN" pitchFamily="34" charset="0"/>
                <a:ea typeface="+mn-ea"/>
                <a:cs typeface="Arial" charset="0"/>
              </a:rPr>
              <a:t>Build: </a:t>
            </a:r>
            <a:r>
              <a:rPr kumimoji="0" lang="en-US" sz="792" b="0" i="0" u="none" strike="noStrike" kern="1200" cap="none" spc="0" normalizeH="0" baseline="0" noProof="0">
                <a:ln>
                  <a:noFill/>
                </a:ln>
                <a:solidFill>
                  <a:prstClr val="black"/>
                </a:solidFill>
                <a:effectLst/>
                <a:uLnTx/>
                <a:uFillTx/>
                <a:latin typeface="AdihausDIN" pitchFamily="34" charset="0"/>
                <a:ea typeface="+mn-ea"/>
                <a:cs typeface="Arial" charset="0"/>
              </a:rPr>
              <a:t>Where we must differentiate and have existing capability, accelerate internalization and utilize best of breed partners​ (niche specialist)</a:t>
            </a:r>
          </a:p>
        </p:txBody>
      </p:sp>
      <p:grpSp>
        <p:nvGrpSpPr>
          <p:cNvPr id="13" name="Group 12">
            <a:extLst>
              <a:ext uri="{FF2B5EF4-FFF2-40B4-BE49-F238E27FC236}">
                <a16:creationId xmlns:a16="http://schemas.microsoft.com/office/drawing/2014/main" id="{7CBF6D6D-D31B-463B-ADBD-6B9DEFADC269}"/>
              </a:ext>
            </a:extLst>
          </p:cNvPr>
          <p:cNvGrpSpPr/>
          <p:nvPr/>
        </p:nvGrpSpPr>
        <p:grpSpPr>
          <a:xfrm>
            <a:off x="3866349" y="6129707"/>
            <a:ext cx="289746" cy="289746"/>
            <a:chOff x="7392213" y="6164431"/>
            <a:chExt cx="289746" cy="289746"/>
          </a:xfrm>
        </p:grpSpPr>
        <p:sp>
          <p:nvSpPr>
            <p:cNvPr id="14" name="Oval 261">
              <a:extLst>
                <a:ext uri="{FF2B5EF4-FFF2-40B4-BE49-F238E27FC236}">
                  <a16:creationId xmlns:a16="http://schemas.microsoft.com/office/drawing/2014/main" id="{E9AD2547-3C69-4BC0-8AD8-F998AE29E1A7}"/>
                </a:ext>
              </a:extLst>
            </p:cNvPr>
            <p:cNvSpPr/>
            <p:nvPr/>
          </p:nvSpPr>
          <p:spPr bwMode="gray">
            <a:xfrm>
              <a:off x="7392213" y="6164431"/>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ctr"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1585"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5" name="Graphic 262" descr="Shopping cart">
              <a:extLst>
                <a:ext uri="{FF2B5EF4-FFF2-40B4-BE49-F238E27FC236}">
                  <a16:creationId xmlns:a16="http://schemas.microsoft.com/office/drawing/2014/main" id="{6E34D277-5B19-47EB-AC49-B27BE6CA33B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1966" y="6199488"/>
              <a:ext cx="212229" cy="212229"/>
            </a:xfrm>
            <a:prstGeom prst="rect">
              <a:avLst/>
            </a:prstGeom>
          </p:spPr>
        </p:pic>
      </p:grpSp>
      <p:grpSp>
        <p:nvGrpSpPr>
          <p:cNvPr id="16" name="Group 15">
            <a:extLst>
              <a:ext uri="{FF2B5EF4-FFF2-40B4-BE49-F238E27FC236}">
                <a16:creationId xmlns:a16="http://schemas.microsoft.com/office/drawing/2014/main" id="{7231A50E-F959-4771-BCAD-FA25E7FD7978}"/>
              </a:ext>
            </a:extLst>
          </p:cNvPr>
          <p:cNvGrpSpPr/>
          <p:nvPr/>
        </p:nvGrpSpPr>
        <p:grpSpPr>
          <a:xfrm>
            <a:off x="3866349" y="5781582"/>
            <a:ext cx="289746" cy="289746"/>
            <a:chOff x="5596681" y="4370982"/>
            <a:chExt cx="219053" cy="219053"/>
          </a:xfrm>
        </p:grpSpPr>
        <p:sp>
          <p:nvSpPr>
            <p:cNvPr id="17" name="Oval 261">
              <a:extLst>
                <a:ext uri="{FF2B5EF4-FFF2-40B4-BE49-F238E27FC236}">
                  <a16:creationId xmlns:a16="http://schemas.microsoft.com/office/drawing/2014/main" id="{C73062B1-2CA9-45EA-A771-B03B3816BAED}"/>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ctr"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1585"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8" name="Graphic 256" descr="Key">
              <a:extLst>
                <a:ext uri="{FF2B5EF4-FFF2-40B4-BE49-F238E27FC236}">
                  <a16:creationId xmlns:a16="http://schemas.microsoft.com/office/drawing/2014/main" id="{C7D2C3B4-C125-4AC5-900C-1FC834875F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9" name="Group 18">
            <a:extLst>
              <a:ext uri="{FF2B5EF4-FFF2-40B4-BE49-F238E27FC236}">
                <a16:creationId xmlns:a16="http://schemas.microsoft.com/office/drawing/2014/main" id="{CC740DED-FD93-4C58-8F40-15621BF2F75E}"/>
              </a:ext>
            </a:extLst>
          </p:cNvPr>
          <p:cNvGrpSpPr/>
          <p:nvPr/>
        </p:nvGrpSpPr>
        <p:grpSpPr>
          <a:xfrm>
            <a:off x="3849167" y="5385077"/>
            <a:ext cx="289746" cy="289746"/>
            <a:chOff x="7392213" y="5423333"/>
            <a:chExt cx="289746" cy="289746"/>
          </a:xfrm>
        </p:grpSpPr>
        <p:sp>
          <p:nvSpPr>
            <p:cNvPr id="20" name="Oval 261">
              <a:extLst>
                <a:ext uri="{FF2B5EF4-FFF2-40B4-BE49-F238E27FC236}">
                  <a16:creationId xmlns:a16="http://schemas.microsoft.com/office/drawing/2014/main" id="{93E23AD1-C458-4565-9F47-FBB3F6AA5A69}"/>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ctr"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1585"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21" name="Graphic 259" descr="Tools">
              <a:extLst>
                <a:ext uri="{FF2B5EF4-FFF2-40B4-BE49-F238E27FC236}">
                  <a16:creationId xmlns:a16="http://schemas.microsoft.com/office/drawing/2014/main" id="{C7E87869-6166-487A-A133-C0085152D87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sp>
        <p:nvSpPr>
          <p:cNvPr id="22" name="TextBox 26">
            <a:extLst>
              <a:ext uri="{FF2B5EF4-FFF2-40B4-BE49-F238E27FC236}">
                <a16:creationId xmlns:a16="http://schemas.microsoft.com/office/drawing/2014/main" id="{38F5385D-FCFF-4AD6-8B8D-2CE2D9F63C97}"/>
              </a:ext>
            </a:extLst>
          </p:cNvPr>
          <p:cNvSpPr txBox="1"/>
          <p:nvPr/>
        </p:nvSpPr>
        <p:spPr>
          <a:xfrm>
            <a:off x="2977189" y="1782933"/>
            <a:ext cx="1136819" cy="799959"/>
          </a:xfrm>
          <a:prstGeom prst="rect">
            <a:avLst/>
          </a:prstGeom>
          <a:solidFill>
            <a:sysClr val="window" lastClr="FFFFFF"/>
          </a:solidFill>
          <a:ln w="6350" cmpd="sng">
            <a:noFill/>
          </a:ln>
          <a:effectLst/>
        </p:spPr>
        <p:txBody>
          <a:bodyPr wrap="square" lIns="125645" tIns="0" rIns="0" bIns="0" rtlCol="0" anchor="t"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1215248" rtl="0" eaLnBrk="1" fontAlgn="auto" latinLnBrk="0" hangingPunct="1">
              <a:lnSpc>
                <a:spcPct val="100000"/>
              </a:lnSpc>
              <a:spcBef>
                <a:spcPts val="0"/>
              </a:spcBef>
              <a:spcAft>
                <a:spcPts val="0"/>
              </a:spcAft>
              <a:buClrTx/>
              <a:buSzTx/>
              <a:buFontTx/>
              <a:buNone/>
              <a:tabLst/>
              <a:defRPr/>
            </a:pPr>
            <a:r>
              <a:rPr kumimoji="0" lang="en-US" sz="1389" b="1" i="0" u="none" strike="noStrike" kern="0" cap="none" spc="0" normalizeH="0" baseline="0" noProof="0" dirty="0">
                <a:ln>
                  <a:noFill/>
                </a:ln>
                <a:solidFill>
                  <a:prstClr val="black"/>
                </a:solidFill>
                <a:effectLst/>
                <a:uLnTx/>
                <a:uFillTx/>
                <a:latin typeface="adineue PRO Cond"/>
                <a:ea typeface="+mn-ea"/>
                <a:cs typeface="AdihausDIN" panose="020B0504020101020102" pitchFamily="34" charset="0"/>
              </a:rPr>
              <a:t>CONSUMER &amp; CUSTOMER EXPERIENCE</a:t>
            </a:r>
          </a:p>
        </p:txBody>
      </p:sp>
      <p:sp>
        <p:nvSpPr>
          <p:cNvPr id="23" name="TextBox 26">
            <a:extLst>
              <a:ext uri="{FF2B5EF4-FFF2-40B4-BE49-F238E27FC236}">
                <a16:creationId xmlns:a16="http://schemas.microsoft.com/office/drawing/2014/main" id="{BE937067-4BD9-4792-A1A9-AC6A270D7E95}"/>
              </a:ext>
            </a:extLst>
          </p:cNvPr>
          <p:cNvSpPr txBox="1"/>
          <p:nvPr/>
        </p:nvSpPr>
        <p:spPr>
          <a:xfrm>
            <a:off x="2987727" y="2792195"/>
            <a:ext cx="1326565" cy="570214"/>
          </a:xfrm>
          <a:prstGeom prst="rect">
            <a:avLst/>
          </a:prstGeom>
          <a:solidFill>
            <a:sysClr val="window" lastClr="FFFFFF"/>
          </a:solidFill>
          <a:ln w="6350" cmpd="sng">
            <a:noFill/>
          </a:ln>
          <a:effectLst/>
        </p:spPr>
        <p:txBody>
          <a:bodyPr wrap="square" lIns="125645" tIns="0" rIns="0" bIns="0" rtlCol="0" anchor="t"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1215248" rtl="0" eaLnBrk="1" fontAlgn="auto" latinLnBrk="0" hangingPunct="1">
              <a:lnSpc>
                <a:spcPct val="100000"/>
              </a:lnSpc>
              <a:spcBef>
                <a:spcPts val="0"/>
              </a:spcBef>
              <a:spcAft>
                <a:spcPts val="0"/>
              </a:spcAft>
              <a:buClrTx/>
              <a:buSzTx/>
              <a:buFontTx/>
              <a:buNone/>
              <a:tabLst/>
              <a:defRPr/>
            </a:pPr>
            <a:r>
              <a:rPr kumimoji="0" lang="en-US" sz="1389" b="1" i="0" u="none" strike="noStrike" kern="0" cap="none" spc="0" normalizeH="0" baseline="0" noProof="0">
                <a:ln>
                  <a:noFill/>
                </a:ln>
                <a:solidFill>
                  <a:prstClr val="black"/>
                </a:solidFill>
                <a:effectLst/>
                <a:uLnTx/>
                <a:uFillTx/>
                <a:latin typeface="adineue PRO Cond"/>
                <a:ea typeface="+mn-ea"/>
                <a:cs typeface="AdihausDIN" panose="020B0504020101020102" pitchFamily="34" charset="0"/>
              </a:rPr>
              <a:t>PLAN, DESIGN </a:t>
            </a:r>
            <a:br>
              <a:rPr kumimoji="0" lang="en-US" sz="1389" b="1" i="0" u="none" strike="noStrike" kern="0" cap="none" spc="0" normalizeH="0" baseline="0" noProof="0">
                <a:ln>
                  <a:noFill/>
                </a:ln>
                <a:solidFill>
                  <a:prstClr val="black"/>
                </a:solidFill>
                <a:effectLst/>
                <a:uLnTx/>
                <a:uFillTx/>
                <a:latin typeface="adineue PRO Cond"/>
                <a:ea typeface="+mn-ea"/>
                <a:cs typeface="AdihausDIN" panose="020B0504020101020102" pitchFamily="34" charset="0"/>
              </a:rPr>
            </a:br>
            <a:r>
              <a:rPr kumimoji="0" lang="en-US" sz="1389" b="1" i="0" u="none" strike="noStrike" kern="0" cap="none" spc="0" normalizeH="0" baseline="0" noProof="0">
                <a:ln>
                  <a:noFill/>
                </a:ln>
                <a:solidFill>
                  <a:prstClr val="black"/>
                </a:solidFill>
                <a:effectLst/>
                <a:uLnTx/>
                <a:uFillTx/>
                <a:latin typeface="adineue PRO Cond"/>
                <a:ea typeface="+mn-ea"/>
                <a:cs typeface="AdihausDIN" panose="020B0504020101020102" pitchFamily="34" charset="0"/>
              </a:rPr>
              <a:t>&amp; MANAGE PRODUCT</a:t>
            </a:r>
          </a:p>
        </p:txBody>
      </p:sp>
      <p:sp>
        <p:nvSpPr>
          <p:cNvPr id="24" name="TextBox 26">
            <a:extLst>
              <a:ext uri="{FF2B5EF4-FFF2-40B4-BE49-F238E27FC236}">
                <a16:creationId xmlns:a16="http://schemas.microsoft.com/office/drawing/2014/main" id="{D30B14DE-F230-4797-9CB0-8E712E0200AB}"/>
              </a:ext>
            </a:extLst>
          </p:cNvPr>
          <p:cNvSpPr txBox="1"/>
          <p:nvPr/>
        </p:nvSpPr>
        <p:spPr>
          <a:xfrm>
            <a:off x="7431205" y="1666921"/>
            <a:ext cx="1376437"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onsumer Engagement &amp;</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Traffic Generation</a:t>
            </a:r>
          </a:p>
        </p:txBody>
      </p:sp>
      <p:sp>
        <p:nvSpPr>
          <p:cNvPr id="25" name="Rectangle 24">
            <a:extLst>
              <a:ext uri="{FF2B5EF4-FFF2-40B4-BE49-F238E27FC236}">
                <a16:creationId xmlns:a16="http://schemas.microsoft.com/office/drawing/2014/main" id="{AC108E8E-90E5-4AF8-9771-FBC9DECA50F5}"/>
              </a:ext>
            </a:extLst>
          </p:cNvPr>
          <p:cNvSpPr>
            <a:spLocks/>
          </p:cNvSpPr>
          <p:nvPr/>
        </p:nvSpPr>
        <p:spPr>
          <a:xfrm>
            <a:off x="4462108" y="1432585"/>
            <a:ext cx="4263831" cy="176568"/>
          </a:xfrm>
          <a:prstGeom prst="rect">
            <a:avLst/>
          </a:prstGeom>
          <a:noFill/>
          <a:ln w="9525" cap="flat" cmpd="sng" algn="ctr">
            <a:noFill/>
            <a:prstDash val="solid"/>
          </a:ln>
          <a:effectLst/>
        </p:spPr>
        <p:txBody>
          <a:bodyPr wrap="square" lIns="93081" tIns="13299" rIns="93081" bIns="13299" rtlCol="0" anchor="t">
            <a:noAutofit/>
          </a:bodyPr>
          <a:lstStyle/>
          <a:p>
            <a:pPr marL="0" marR="0" lvl="0" indent="0" algn="ctr" defTabSz="1215248" rtl="0" eaLnBrk="1" fontAlgn="auto" latinLnBrk="0" hangingPunct="1">
              <a:lnSpc>
                <a:spcPct val="100000"/>
              </a:lnSpc>
              <a:spcBef>
                <a:spcPts val="0"/>
              </a:spcBef>
              <a:spcAft>
                <a:spcPts val="0"/>
              </a:spcAft>
              <a:buClrTx/>
              <a:buSzTx/>
              <a:buFontTx/>
              <a:buNone/>
              <a:tabLst/>
              <a:defRPr/>
            </a:pPr>
            <a:r>
              <a:rPr kumimoji="0" lang="en-US" sz="926" b="0" i="0" u="none" strike="noStrike" kern="0" cap="none" spc="0" normalizeH="0" baseline="0" noProof="0">
                <a:ln>
                  <a:noFill/>
                </a:ln>
                <a:solidFill>
                  <a:prstClr val="white">
                    <a:lumMod val="50000"/>
                  </a:prstClr>
                </a:solidFill>
                <a:effectLst/>
                <a:uLnTx/>
                <a:uFillTx/>
                <a:latin typeface="AdihausDIN Medium" panose="020B0504020101020102" pitchFamily="34" charset="0"/>
                <a:ea typeface="+mn-ea"/>
                <a:cs typeface="AdihausDIN Medium" panose="020B0504020101020102" pitchFamily="34" charset="0"/>
              </a:rPr>
              <a:t>DIGITAL</a:t>
            </a:r>
          </a:p>
        </p:txBody>
      </p:sp>
      <p:sp>
        <p:nvSpPr>
          <p:cNvPr id="26" name="Rectangle 25">
            <a:extLst>
              <a:ext uri="{FF2B5EF4-FFF2-40B4-BE49-F238E27FC236}">
                <a16:creationId xmlns:a16="http://schemas.microsoft.com/office/drawing/2014/main" id="{80C5D941-460A-4545-A6BF-C2821CF35390}"/>
              </a:ext>
            </a:extLst>
          </p:cNvPr>
          <p:cNvSpPr>
            <a:spLocks/>
          </p:cNvSpPr>
          <p:nvPr/>
        </p:nvSpPr>
        <p:spPr>
          <a:xfrm>
            <a:off x="8829362" y="1432585"/>
            <a:ext cx="2634561" cy="176568"/>
          </a:xfrm>
          <a:prstGeom prst="rect">
            <a:avLst/>
          </a:prstGeom>
          <a:noFill/>
          <a:ln w="9525" cap="flat" cmpd="sng" algn="ctr">
            <a:noFill/>
            <a:prstDash val="solid"/>
          </a:ln>
          <a:effectLst/>
        </p:spPr>
        <p:txBody>
          <a:bodyPr wrap="square" lIns="93081" tIns="13299" rIns="93081" bIns="13299" rtlCol="0" anchor="t">
            <a:noAutofit/>
          </a:bodyPr>
          <a:lstStyle/>
          <a:p>
            <a:pPr marL="0" marR="0" lvl="0" indent="0" algn="ctr" defTabSz="1215248" rtl="0" eaLnBrk="1" fontAlgn="auto" latinLnBrk="0" hangingPunct="1">
              <a:lnSpc>
                <a:spcPct val="100000"/>
              </a:lnSpc>
              <a:spcBef>
                <a:spcPts val="0"/>
              </a:spcBef>
              <a:spcAft>
                <a:spcPts val="0"/>
              </a:spcAft>
              <a:buClrTx/>
              <a:buSzTx/>
              <a:buFontTx/>
              <a:buNone/>
              <a:tabLst/>
              <a:defRPr/>
            </a:pPr>
            <a:r>
              <a:rPr kumimoji="0" lang="en-US" sz="926" b="0" i="0" u="none" strike="noStrike" kern="0" cap="none" spc="0" normalizeH="0" baseline="0" noProof="0">
                <a:ln>
                  <a:noFill/>
                </a:ln>
                <a:solidFill>
                  <a:prstClr val="white">
                    <a:lumMod val="50000"/>
                  </a:prstClr>
                </a:solidFill>
                <a:effectLst/>
                <a:uLnTx/>
                <a:uFillTx/>
                <a:latin typeface="AdihausDIN Medium" panose="020B0504020101020102" pitchFamily="34" charset="0"/>
                <a:ea typeface="+mn-ea"/>
                <a:cs typeface="AdihausDIN Medium" panose="020B0504020101020102" pitchFamily="34" charset="0"/>
              </a:rPr>
              <a:t>SALES</a:t>
            </a:r>
          </a:p>
        </p:txBody>
      </p:sp>
      <p:cxnSp>
        <p:nvCxnSpPr>
          <p:cNvPr id="27" name="Straight Connector 26">
            <a:extLst>
              <a:ext uri="{FF2B5EF4-FFF2-40B4-BE49-F238E27FC236}">
                <a16:creationId xmlns:a16="http://schemas.microsoft.com/office/drawing/2014/main" id="{890F2B8B-00E2-41AA-9479-1572F1989E00}"/>
              </a:ext>
            </a:extLst>
          </p:cNvPr>
          <p:cNvCxnSpPr>
            <a:cxnSpLocks/>
          </p:cNvCxnSpPr>
          <p:nvPr/>
        </p:nvCxnSpPr>
        <p:spPr>
          <a:xfrm>
            <a:off x="8928047" y="1606964"/>
            <a:ext cx="2682817" cy="0"/>
          </a:xfrm>
          <a:prstGeom prst="line">
            <a:avLst/>
          </a:prstGeom>
          <a:noFill/>
          <a:ln w="6350" cap="flat" cmpd="sng" algn="ctr">
            <a:solidFill>
              <a:srgbClr val="D9D7DA"/>
            </a:solidFill>
            <a:prstDash val="solid"/>
          </a:ln>
          <a:effectLst/>
        </p:spPr>
      </p:cxnSp>
      <p:sp>
        <p:nvSpPr>
          <p:cNvPr id="28" name="TextBox 26">
            <a:extLst>
              <a:ext uri="{FF2B5EF4-FFF2-40B4-BE49-F238E27FC236}">
                <a16:creationId xmlns:a16="http://schemas.microsoft.com/office/drawing/2014/main" id="{764BDDA0-BE93-4C02-A629-26D533B4E403}"/>
              </a:ext>
            </a:extLst>
          </p:cNvPr>
          <p:cNvSpPr txBox="1"/>
          <p:nvPr/>
        </p:nvSpPr>
        <p:spPr>
          <a:xfrm>
            <a:off x="4545296" y="1666921"/>
            <a:ext cx="1376437" cy="486040"/>
          </a:xfrm>
          <a:prstGeom prst="rect">
            <a:avLst/>
          </a:prstGeom>
          <a:solidFill>
            <a:srgbClr val="D72332"/>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om Experience</a:t>
            </a:r>
          </a:p>
        </p:txBody>
      </p:sp>
      <p:sp>
        <p:nvSpPr>
          <p:cNvPr id="29" name="TextBox 26">
            <a:extLst>
              <a:ext uri="{FF2B5EF4-FFF2-40B4-BE49-F238E27FC236}">
                <a16:creationId xmlns:a16="http://schemas.microsoft.com/office/drawing/2014/main" id="{95950FBC-C23D-4F06-8ADA-495FC84CA068}"/>
              </a:ext>
            </a:extLst>
          </p:cNvPr>
          <p:cNvSpPr txBox="1"/>
          <p:nvPr/>
        </p:nvSpPr>
        <p:spPr>
          <a:xfrm>
            <a:off x="5988787" y="1666921"/>
            <a:ext cx="1376437" cy="486040"/>
          </a:xfrm>
          <a:prstGeom prst="rect">
            <a:avLst/>
          </a:prstGeom>
          <a:solidFill>
            <a:srgbClr val="D72332"/>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fr-FR"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Mobile/ </a:t>
            </a:r>
            <a:r>
              <a:rPr kumimoji="0" lang="fr-FR" sz="794" b="0" i="0" u="none" strike="noStrike" kern="1200" cap="none" spc="0" normalizeH="0" baseline="0" noProof="0" err="1">
                <a:ln>
                  <a:noFill/>
                </a:ln>
                <a:solidFill>
                  <a:prstClr val="white"/>
                </a:solidFill>
                <a:effectLst/>
                <a:uLnTx/>
                <a:uFillTx/>
                <a:latin typeface="Calibri" panose="020F0502020204030204"/>
                <a:ea typeface="+mn-ea"/>
                <a:cs typeface="AdihausDIN Cn" panose="020B0506020101010102" pitchFamily="34" charset="77"/>
              </a:rPr>
              <a:t>Hype</a:t>
            </a:r>
            <a:r>
              <a:rPr kumimoji="0" lang="fr-FR"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 Digital </a:t>
            </a:r>
            <a:r>
              <a:rPr kumimoji="0" lang="fr-FR" sz="794" b="0" i="0" u="none" strike="noStrike" kern="1200" cap="none" spc="0" normalizeH="0" baseline="0" noProof="0" err="1">
                <a:ln>
                  <a:noFill/>
                </a:ln>
                <a:solidFill>
                  <a:prstClr val="white"/>
                </a:solidFill>
                <a:effectLst/>
                <a:uLnTx/>
                <a:uFillTx/>
                <a:latin typeface="Calibri" panose="020F0502020204030204"/>
                <a:ea typeface="+mn-ea"/>
                <a:cs typeface="AdihausDIN Cn" panose="020B0506020101010102" pitchFamily="34" charset="77"/>
              </a:rPr>
              <a:t>Retail</a:t>
            </a:r>
            <a:endParaRPr kumimoji="0" lang="fr-FR"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endParaRPr>
          </a:p>
        </p:txBody>
      </p:sp>
      <p:sp>
        <p:nvSpPr>
          <p:cNvPr id="30" name="TextBox 26">
            <a:extLst>
              <a:ext uri="{FF2B5EF4-FFF2-40B4-BE49-F238E27FC236}">
                <a16:creationId xmlns:a16="http://schemas.microsoft.com/office/drawing/2014/main" id="{4E72C893-FA7F-4971-924B-064BB5319B32}"/>
              </a:ext>
            </a:extLst>
          </p:cNvPr>
          <p:cNvSpPr txBox="1"/>
          <p:nvPr/>
        </p:nvSpPr>
        <p:spPr>
          <a:xfrm>
            <a:off x="8929097" y="1666921"/>
            <a:ext cx="1310379"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Store Experience</a:t>
            </a:r>
          </a:p>
        </p:txBody>
      </p:sp>
      <p:sp>
        <p:nvSpPr>
          <p:cNvPr id="31" name="TextBox 26">
            <a:extLst>
              <a:ext uri="{FF2B5EF4-FFF2-40B4-BE49-F238E27FC236}">
                <a16:creationId xmlns:a16="http://schemas.microsoft.com/office/drawing/2014/main" id="{2AB1C444-39B4-48E2-8AF1-B3B9C8E64354}"/>
              </a:ext>
            </a:extLst>
          </p:cNvPr>
          <p:cNvSpPr txBox="1"/>
          <p:nvPr/>
        </p:nvSpPr>
        <p:spPr>
          <a:xfrm>
            <a:off x="10301248" y="1666921"/>
            <a:ext cx="1310379"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ustomer Experience </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amp; Commerce</a:t>
            </a:r>
          </a:p>
        </p:txBody>
      </p:sp>
      <p:sp>
        <p:nvSpPr>
          <p:cNvPr id="32" name="TextBox 26">
            <a:extLst>
              <a:ext uri="{FF2B5EF4-FFF2-40B4-BE49-F238E27FC236}">
                <a16:creationId xmlns:a16="http://schemas.microsoft.com/office/drawing/2014/main" id="{E03BB6F1-BD66-4E1C-ABE4-18C2724CF084}"/>
              </a:ext>
            </a:extLst>
          </p:cNvPr>
          <p:cNvSpPr txBox="1"/>
          <p:nvPr/>
        </p:nvSpPr>
        <p:spPr>
          <a:xfrm>
            <a:off x="8929093" y="2214288"/>
            <a:ext cx="1302369"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onsumer Order Mgmt.</a:t>
            </a:r>
          </a:p>
        </p:txBody>
      </p:sp>
      <p:sp>
        <p:nvSpPr>
          <p:cNvPr id="33" name="TextBox 26">
            <a:extLst>
              <a:ext uri="{FF2B5EF4-FFF2-40B4-BE49-F238E27FC236}">
                <a16:creationId xmlns:a16="http://schemas.microsoft.com/office/drawing/2014/main" id="{FD7D08E0-87A0-4413-BD79-666E89487FC4}"/>
              </a:ext>
            </a:extLst>
          </p:cNvPr>
          <p:cNvSpPr txBox="1"/>
          <p:nvPr/>
        </p:nvSpPr>
        <p:spPr>
          <a:xfrm>
            <a:off x="10307194" y="2219268"/>
            <a:ext cx="1304438"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Sales Services</a:t>
            </a:r>
          </a:p>
        </p:txBody>
      </p:sp>
      <p:sp>
        <p:nvSpPr>
          <p:cNvPr id="34" name="TextBox 26">
            <a:extLst>
              <a:ext uri="{FF2B5EF4-FFF2-40B4-BE49-F238E27FC236}">
                <a16:creationId xmlns:a16="http://schemas.microsoft.com/office/drawing/2014/main" id="{563A56A9-B881-4071-ADDB-3472098B36CE}"/>
              </a:ext>
            </a:extLst>
          </p:cNvPr>
          <p:cNvSpPr txBox="1"/>
          <p:nvPr/>
        </p:nvSpPr>
        <p:spPr>
          <a:xfrm>
            <a:off x="4545297" y="2826939"/>
            <a:ext cx="959642"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Brand Activation</a:t>
            </a:r>
          </a:p>
        </p:txBody>
      </p:sp>
      <p:sp>
        <p:nvSpPr>
          <p:cNvPr id="35" name="TextBox 26">
            <a:extLst>
              <a:ext uri="{FF2B5EF4-FFF2-40B4-BE49-F238E27FC236}">
                <a16:creationId xmlns:a16="http://schemas.microsoft.com/office/drawing/2014/main" id="{34CAEB8C-A260-44D9-A14C-B80E7A172DDC}"/>
              </a:ext>
            </a:extLst>
          </p:cNvPr>
          <p:cNvSpPr txBox="1"/>
          <p:nvPr/>
        </p:nvSpPr>
        <p:spPr>
          <a:xfrm>
            <a:off x="5554849" y="2826939"/>
            <a:ext cx="969680"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Merch. Insights, Analytics &amp; Planning</a:t>
            </a:r>
          </a:p>
        </p:txBody>
      </p:sp>
      <p:sp>
        <p:nvSpPr>
          <p:cNvPr id="36" name="TextBox 26">
            <a:extLst>
              <a:ext uri="{FF2B5EF4-FFF2-40B4-BE49-F238E27FC236}">
                <a16:creationId xmlns:a16="http://schemas.microsoft.com/office/drawing/2014/main" id="{6CD26567-2ACC-4DC5-AF95-D089B1D33385}"/>
              </a:ext>
            </a:extLst>
          </p:cNvPr>
          <p:cNvSpPr txBox="1"/>
          <p:nvPr/>
        </p:nvSpPr>
        <p:spPr>
          <a:xfrm>
            <a:off x="6570261" y="2826939"/>
            <a:ext cx="969680"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Product Management</a:t>
            </a:r>
          </a:p>
        </p:txBody>
      </p:sp>
      <p:sp>
        <p:nvSpPr>
          <p:cNvPr id="37" name="TextBox 26">
            <a:extLst>
              <a:ext uri="{FF2B5EF4-FFF2-40B4-BE49-F238E27FC236}">
                <a16:creationId xmlns:a16="http://schemas.microsoft.com/office/drawing/2014/main" id="{22D4940F-81A2-4D3F-B565-F704A3D456BF}"/>
              </a:ext>
            </a:extLst>
          </p:cNvPr>
          <p:cNvSpPr txBox="1"/>
          <p:nvPr/>
        </p:nvSpPr>
        <p:spPr>
          <a:xfrm>
            <a:off x="7585673" y="2826939"/>
            <a:ext cx="802975" cy="486040"/>
          </a:xfrm>
          <a:prstGeom prst="rect">
            <a:avLst/>
          </a:prstGeom>
          <a:solidFill>
            <a:srgbClr val="D72332"/>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600" b="1" u="none" strike="noStrike" cap="none" spc="0" normalizeH="0" baseline="0">
                <a:ln>
                  <a:noFill/>
                </a:ln>
                <a:solidFill>
                  <a:prstClr val="white"/>
                </a:solidFill>
                <a:effectLst/>
                <a:uLnTx/>
                <a:uFillTx/>
                <a:cs typeface="AdihausDIN Cn" panose="020B0506020101010102" pitchFamily="34" charset="77"/>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Product Design</a:t>
            </a:r>
          </a:p>
        </p:txBody>
      </p:sp>
      <p:sp>
        <p:nvSpPr>
          <p:cNvPr id="38" name="TextBox 26">
            <a:extLst>
              <a:ext uri="{FF2B5EF4-FFF2-40B4-BE49-F238E27FC236}">
                <a16:creationId xmlns:a16="http://schemas.microsoft.com/office/drawing/2014/main" id="{A4B04742-6536-4EF3-8A75-466C63D5710B}"/>
              </a:ext>
            </a:extLst>
          </p:cNvPr>
          <p:cNvSpPr txBox="1"/>
          <p:nvPr/>
        </p:nvSpPr>
        <p:spPr>
          <a:xfrm>
            <a:off x="8431766" y="2826939"/>
            <a:ext cx="1139000"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Merchandising Execution</a:t>
            </a:r>
          </a:p>
        </p:txBody>
      </p:sp>
      <p:sp>
        <p:nvSpPr>
          <p:cNvPr id="39" name="TextBox 26">
            <a:extLst>
              <a:ext uri="{FF2B5EF4-FFF2-40B4-BE49-F238E27FC236}">
                <a16:creationId xmlns:a16="http://schemas.microsoft.com/office/drawing/2014/main" id="{5D3CD7D3-0AC1-478F-B1E3-665B6B885845}"/>
              </a:ext>
            </a:extLst>
          </p:cNvPr>
          <p:cNvSpPr txBox="1"/>
          <p:nvPr/>
        </p:nvSpPr>
        <p:spPr>
          <a:xfrm>
            <a:off x="9616494" y="2826939"/>
            <a:ext cx="969680"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Digital Asset Mgmt.</a:t>
            </a:r>
          </a:p>
        </p:txBody>
      </p:sp>
      <p:sp>
        <p:nvSpPr>
          <p:cNvPr id="40" name="TextBox 26">
            <a:extLst>
              <a:ext uri="{FF2B5EF4-FFF2-40B4-BE49-F238E27FC236}">
                <a16:creationId xmlns:a16="http://schemas.microsoft.com/office/drawing/2014/main" id="{B86A8A81-3AFA-4F66-ADD5-A19D3EDFADDF}"/>
              </a:ext>
            </a:extLst>
          </p:cNvPr>
          <p:cNvSpPr txBox="1"/>
          <p:nvPr/>
        </p:nvSpPr>
        <p:spPr>
          <a:xfrm>
            <a:off x="10641948" y="2826939"/>
            <a:ext cx="969680"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Brand &amp; Creation Tech Foundation</a:t>
            </a:r>
          </a:p>
        </p:txBody>
      </p:sp>
      <p:sp>
        <p:nvSpPr>
          <p:cNvPr id="41" name="TextBox 40">
            <a:extLst>
              <a:ext uri="{FF2B5EF4-FFF2-40B4-BE49-F238E27FC236}">
                <a16:creationId xmlns:a16="http://schemas.microsoft.com/office/drawing/2014/main" id="{B2076901-250F-4EFA-B982-51EB64CE191A}"/>
              </a:ext>
            </a:extLst>
          </p:cNvPr>
          <p:cNvSpPr txBox="1"/>
          <p:nvPr/>
        </p:nvSpPr>
        <p:spPr>
          <a:xfrm>
            <a:off x="4545296"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Enterprise </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Platforms</a:t>
            </a:r>
          </a:p>
        </p:txBody>
      </p:sp>
      <p:sp>
        <p:nvSpPr>
          <p:cNvPr id="42" name="TextBox 26">
            <a:extLst>
              <a:ext uri="{FF2B5EF4-FFF2-40B4-BE49-F238E27FC236}">
                <a16:creationId xmlns:a16="http://schemas.microsoft.com/office/drawing/2014/main" id="{45464EE3-7F20-44CE-9BC6-09F7EFD5169D}"/>
              </a:ext>
            </a:extLst>
          </p:cNvPr>
          <p:cNvSpPr txBox="1"/>
          <p:nvPr/>
        </p:nvSpPr>
        <p:spPr>
          <a:xfrm>
            <a:off x="5333380"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Data and Integration Platforms</a:t>
            </a:r>
          </a:p>
        </p:txBody>
      </p:sp>
      <p:sp>
        <p:nvSpPr>
          <p:cNvPr id="43" name="TextBox 26">
            <a:extLst>
              <a:ext uri="{FF2B5EF4-FFF2-40B4-BE49-F238E27FC236}">
                <a16:creationId xmlns:a16="http://schemas.microsoft.com/office/drawing/2014/main" id="{3266ACAB-9D32-43BD-91A1-C0FE27A9ACE3}"/>
              </a:ext>
            </a:extLst>
          </p:cNvPr>
          <p:cNvSpPr txBox="1"/>
          <p:nvPr/>
        </p:nvSpPr>
        <p:spPr>
          <a:xfrm>
            <a:off x="6121464"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loud Native Engineering</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endPar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endParaRPr>
          </a:p>
        </p:txBody>
      </p:sp>
      <p:sp>
        <p:nvSpPr>
          <p:cNvPr id="44" name="TextBox 43">
            <a:extLst>
              <a:ext uri="{FF2B5EF4-FFF2-40B4-BE49-F238E27FC236}">
                <a16:creationId xmlns:a16="http://schemas.microsoft.com/office/drawing/2014/main" id="{91E74A68-A915-4B33-A7EA-8047DEC03475}"/>
              </a:ext>
            </a:extLst>
          </p:cNvPr>
          <p:cNvSpPr txBox="1"/>
          <p:nvPr/>
        </p:nvSpPr>
        <p:spPr>
          <a:xfrm>
            <a:off x="6909548"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Managed </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loud </a:t>
            </a:r>
          </a:p>
        </p:txBody>
      </p:sp>
      <p:sp>
        <p:nvSpPr>
          <p:cNvPr id="45" name="TextBox 26">
            <a:extLst>
              <a:ext uri="{FF2B5EF4-FFF2-40B4-BE49-F238E27FC236}">
                <a16:creationId xmlns:a16="http://schemas.microsoft.com/office/drawing/2014/main" id="{9A37EDD5-01C9-44C6-B600-04A799A4EE5A}"/>
              </a:ext>
            </a:extLst>
          </p:cNvPr>
          <p:cNvSpPr txBox="1"/>
          <p:nvPr/>
        </p:nvSpPr>
        <p:spPr>
          <a:xfrm>
            <a:off x="7697632"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Digital </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Workplace</a:t>
            </a:r>
          </a:p>
        </p:txBody>
      </p:sp>
      <p:sp>
        <p:nvSpPr>
          <p:cNvPr id="46" name="TextBox 26">
            <a:extLst>
              <a:ext uri="{FF2B5EF4-FFF2-40B4-BE49-F238E27FC236}">
                <a16:creationId xmlns:a16="http://schemas.microsoft.com/office/drawing/2014/main" id="{4C4B51C3-570A-42A6-8AFC-9F5AE2A60CA8}"/>
              </a:ext>
            </a:extLst>
          </p:cNvPr>
          <p:cNvSpPr txBox="1"/>
          <p:nvPr/>
        </p:nvSpPr>
        <p:spPr>
          <a:xfrm>
            <a:off x="10849971"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Application</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Operations</a:t>
            </a:r>
          </a:p>
        </p:txBody>
      </p:sp>
      <p:sp>
        <p:nvSpPr>
          <p:cNvPr id="47" name="TextBox 26">
            <a:extLst>
              <a:ext uri="{FF2B5EF4-FFF2-40B4-BE49-F238E27FC236}">
                <a16:creationId xmlns:a16="http://schemas.microsoft.com/office/drawing/2014/main" id="{364833B1-45C0-429A-8EDE-2D2D2CC13242}"/>
              </a:ext>
            </a:extLst>
          </p:cNvPr>
          <p:cNvSpPr txBox="1"/>
          <p:nvPr/>
        </p:nvSpPr>
        <p:spPr>
          <a:xfrm>
            <a:off x="10061885" y="4732155"/>
            <a:ext cx="757245" cy="486040"/>
          </a:xfrm>
          <a:prstGeom prst="rect">
            <a:avLst/>
          </a:prstGeom>
          <a:solidFill>
            <a:srgbClr val="D72332"/>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600" b="1"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Data &amp; </a:t>
            </a:r>
            <a:b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b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Analytics</a:t>
            </a:r>
          </a:p>
        </p:txBody>
      </p:sp>
      <p:sp>
        <p:nvSpPr>
          <p:cNvPr id="48" name="TextBox 26">
            <a:extLst>
              <a:ext uri="{FF2B5EF4-FFF2-40B4-BE49-F238E27FC236}">
                <a16:creationId xmlns:a16="http://schemas.microsoft.com/office/drawing/2014/main" id="{0CFB3EDD-A767-49A3-BCCA-444DB3745DF8}"/>
              </a:ext>
            </a:extLst>
          </p:cNvPr>
          <p:cNvSpPr txBox="1"/>
          <p:nvPr/>
        </p:nvSpPr>
        <p:spPr>
          <a:xfrm>
            <a:off x="2984315" y="3378311"/>
            <a:ext cx="1136819" cy="581044"/>
          </a:xfrm>
          <a:prstGeom prst="rect">
            <a:avLst/>
          </a:prstGeom>
          <a:solidFill>
            <a:sysClr val="window" lastClr="FFFFFF"/>
          </a:solidFill>
          <a:ln w="6350" cmpd="sng">
            <a:noFill/>
          </a:ln>
          <a:effectLst/>
        </p:spPr>
        <p:txBody>
          <a:bodyPr wrap="square" lIns="125645" tIns="0" rIns="0" bIns="0" rtlCol="0" anchor="t" anchorCtr="0"/>
          <a:lstStyle>
            <a:defPPr>
              <a:defRPr lang="en-DE"/>
            </a:defPPr>
            <a:lvl1pPr indent="0">
              <a:defRPr sz="1000" b="1">
                <a:solidFill>
                  <a:schemeClr val="tx1"/>
                </a:solidFill>
                <a:cs typeface="AdihausDIN" panose="020B0504020101020102"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1215248" rtl="0" eaLnBrk="1" fontAlgn="auto" latinLnBrk="0" hangingPunct="1">
              <a:lnSpc>
                <a:spcPct val="100000"/>
              </a:lnSpc>
              <a:spcBef>
                <a:spcPts val="0"/>
              </a:spcBef>
              <a:spcAft>
                <a:spcPts val="0"/>
              </a:spcAft>
              <a:buClrTx/>
              <a:buSzTx/>
              <a:buFontTx/>
              <a:buNone/>
              <a:tabLst/>
              <a:defRPr/>
            </a:pPr>
            <a:r>
              <a:rPr kumimoji="0" lang="en-US" sz="1389" b="1" i="0" u="none" strike="noStrike" kern="0" cap="none" spc="0" normalizeH="0" baseline="0" noProof="0">
                <a:ln>
                  <a:noFill/>
                </a:ln>
                <a:solidFill>
                  <a:prstClr val="black"/>
                </a:solidFill>
                <a:effectLst/>
                <a:uLnTx/>
                <a:uFillTx/>
                <a:latin typeface="adineue PRO Cond"/>
                <a:ea typeface="+mn-ea"/>
                <a:cs typeface="AdihausDIN" panose="020B0504020101020102" pitchFamily="34" charset="0"/>
              </a:rPr>
              <a:t>CREATE PRODUCT &amp; SUPPLY CHAIN</a:t>
            </a:r>
          </a:p>
        </p:txBody>
      </p:sp>
      <p:sp>
        <p:nvSpPr>
          <p:cNvPr id="49" name="TextBox 26">
            <a:extLst>
              <a:ext uri="{FF2B5EF4-FFF2-40B4-BE49-F238E27FC236}">
                <a16:creationId xmlns:a16="http://schemas.microsoft.com/office/drawing/2014/main" id="{22C19C8B-06F8-4877-A4F8-B9529DD5883B}"/>
              </a:ext>
            </a:extLst>
          </p:cNvPr>
          <p:cNvSpPr txBox="1"/>
          <p:nvPr/>
        </p:nvSpPr>
        <p:spPr>
          <a:xfrm>
            <a:off x="4545294" y="3436215"/>
            <a:ext cx="1119322"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Product Development</a:t>
            </a:r>
          </a:p>
        </p:txBody>
      </p:sp>
      <p:sp>
        <p:nvSpPr>
          <p:cNvPr id="50" name="TextBox 26">
            <a:extLst>
              <a:ext uri="{FF2B5EF4-FFF2-40B4-BE49-F238E27FC236}">
                <a16:creationId xmlns:a16="http://schemas.microsoft.com/office/drawing/2014/main" id="{5A07B6DF-F4C7-43C7-AD96-0F5835DCE940}"/>
              </a:ext>
            </a:extLst>
          </p:cNvPr>
          <p:cNvSpPr txBox="1"/>
          <p:nvPr/>
        </p:nvSpPr>
        <p:spPr>
          <a:xfrm>
            <a:off x="5730347" y="3436215"/>
            <a:ext cx="1119322"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Sourcing</a:t>
            </a:r>
          </a:p>
        </p:txBody>
      </p:sp>
      <p:sp>
        <p:nvSpPr>
          <p:cNvPr id="51" name="TextBox 26">
            <a:extLst>
              <a:ext uri="{FF2B5EF4-FFF2-40B4-BE49-F238E27FC236}">
                <a16:creationId xmlns:a16="http://schemas.microsoft.com/office/drawing/2014/main" id="{94D96CC5-9358-477B-9586-A33F711693A0}"/>
              </a:ext>
            </a:extLst>
          </p:cNvPr>
          <p:cNvSpPr txBox="1"/>
          <p:nvPr/>
        </p:nvSpPr>
        <p:spPr>
          <a:xfrm>
            <a:off x="6918936" y="3436215"/>
            <a:ext cx="1119322"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Product Supply</a:t>
            </a:r>
          </a:p>
        </p:txBody>
      </p:sp>
      <p:sp>
        <p:nvSpPr>
          <p:cNvPr id="52" name="TextBox 26">
            <a:extLst>
              <a:ext uri="{FF2B5EF4-FFF2-40B4-BE49-F238E27FC236}">
                <a16:creationId xmlns:a16="http://schemas.microsoft.com/office/drawing/2014/main" id="{BA79E79B-46B3-40EC-9011-607891F1EC7D}"/>
              </a:ext>
            </a:extLst>
          </p:cNvPr>
          <p:cNvSpPr txBox="1"/>
          <p:nvPr/>
        </p:nvSpPr>
        <p:spPr>
          <a:xfrm>
            <a:off x="8107526" y="3436215"/>
            <a:ext cx="1119322"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Fulfilment</a:t>
            </a:r>
          </a:p>
        </p:txBody>
      </p:sp>
      <p:sp>
        <p:nvSpPr>
          <p:cNvPr id="53" name="TextBox 26">
            <a:extLst>
              <a:ext uri="{FF2B5EF4-FFF2-40B4-BE49-F238E27FC236}">
                <a16:creationId xmlns:a16="http://schemas.microsoft.com/office/drawing/2014/main" id="{E9EBC9B7-0671-4662-B0DA-D9D1CFA94695}"/>
              </a:ext>
            </a:extLst>
          </p:cNvPr>
          <p:cNvSpPr txBox="1"/>
          <p:nvPr/>
        </p:nvSpPr>
        <p:spPr>
          <a:xfrm>
            <a:off x="9296115" y="3436215"/>
            <a:ext cx="1119322"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Logistics &amp; Customs</a:t>
            </a:r>
          </a:p>
        </p:txBody>
      </p:sp>
      <p:sp>
        <p:nvSpPr>
          <p:cNvPr id="54" name="TextBox 26">
            <a:extLst>
              <a:ext uri="{FF2B5EF4-FFF2-40B4-BE49-F238E27FC236}">
                <a16:creationId xmlns:a16="http://schemas.microsoft.com/office/drawing/2014/main" id="{AC5A9C1E-637A-47DA-9815-F2E57D7BD100}"/>
              </a:ext>
            </a:extLst>
          </p:cNvPr>
          <p:cNvSpPr txBox="1"/>
          <p:nvPr/>
        </p:nvSpPr>
        <p:spPr>
          <a:xfrm>
            <a:off x="10484698" y="3436215"/>
            <a:ext cx="1119322"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Distribution</a:t>
            </a:r>
          </a:p>
        </p:txBody>
      </p:sp>
      <p:sp>
        <p:nvSpPr>
          <p:cNvPr id="55" name="Title 1">
            <a:extLst>
              <a:ext uri="{FF2B5EF4-FFF2-40B4-BE49-F238E27FC236}">
                <a16:creationId xmlns:a16="http://schemas.microsoft.com/office/drawing/2014/main" id="{0BC1D61D-2E6A-46AA-80EE-90D3A8CF4B21}"/>
              </a:ext>
            </a:extLst>
          </p:cNvPr>
          <p:cNvSpPr txBox="1">
            <a:spLocks/>
          </p:cNvSpPr>
          <p:nvPr/>
        </p:nvSpPr>
        <p:spPr bwMode="gray">
          <a:xfrm>
            <a:off x="3052641" y="1131973"/>
            <a:ext cx="1261652" cy="243327"/>
          </a:xfrm>
          <a:prstGeom prst="rect">
            <a:avLst/>
          </a:prstGeom>
          <a:noFill/>
        </p:spPr>
        <p:txBody>
          <a:bodyPr vert="horz" lIns="0" tIns="0" rIns="0" bIns="0" rtlCol="0" anchor="t" anchorCtr="0">
            <a:noAutofit/>
          </a:bodyPr>
          <a:lstStyle>
            <a:lvl1pPr algn="l" rtl="0" eaLnBrk="1" fontAlgn="base" hangingPunct="1">
              <a:lnSpc>
                <a:spcPct val="80000"/>
              </a:lnSpc>
              <a:spcBef>
                <a:spcPct val="0"/>
              </a:spcBef>
              <a:spcAft>
                <a:spcPct val="0"/>
              </a:spcAft>
              <a:defRPr sz="1400"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a:lstStyle>
          <a:p>
            <a:pPr marL="0" marR="0" lvl="0" indent="0" algn="l" defTabSz="1206707" rtl="0" eaLnBrk="1" fontAlgn="base" latinLnBrk="0" hangingPunct="1">
              <a:lnSpc>
                <a:spcPct val="100000"/>
              </a:lnSpc>
              <a:spcBef>
                <a:spcPct val="0"/>
              </a:spcBef>
              <a:spcAft>
                <a:spcPct val="0"/>
              </a:spcAft>
              <a:buClrTx/>
              <a:buSzTx/>
              <a:buFontTx/>
              <a:buNone/>
              <a:tabLst/>
              <a:defRPr/>
            </a:pPr>
            <a:r>
              <a:rPr kumimoji="0" lang="en-US" sz="1455" b="1" i="0" u="none" strike="noStrike" kern="100" cap="all" spc="26" normalizeH="0" baseline="0" noProof="0">
                <a:ln>
                  <a:noFill/>
                </a:ln>
                <a:solidFill>
                  <a:prstClr val="black"/>
                </a:solidFill>
                <a:effectLst/>
                <a:uLnTx/>
                <a:uFillTx/>
                <a:latin typeface="adineue PRO Cond" panose="020B0503020201060004" pitchFamily="34" charset="0"/>
                <a:ea typeface="+mj-ea"/>
                <a:cs typeface="+mj-cs"/>
              </a:rPr>
              <a:t>DOMAINS</a:t>
            </a:r>
          </a:p>
        </p:txBody>
      </p:sp>
      <p:sp>
        <p:nvSpPr>
          <p:cNvPr id="56" name="Title 1">
            <a:extLst>
              <a:ext uri="{FF2B5EF4-FFF2-40B4-BE49-F238E27FC236}">
                <a16:creationId xmlns:a16="http://schemas.microsoft.com/office/drawing/2014/main" id="{CBCEBC4C-50A3-4D49-AAFF-2B081816A2CD}"/>
              </a:ext>
            </a:extLst>
          </p:cNvPr>
          <p:cNvSpPr txBox="1">
            <a:spLocks/>
          </p:cNvSpPr>
          <p:nvPr/>
        </p:nvSpPr>
        <p:spPr bwMode="gray">
          <a:xfrm>
            <a:off x="4563048" y="1131973"/>
            <a:ext cx="1936273" cy="248002"/>
          </a:xfrm>
          <a:prstGeom prst="rect">
            <a:avLst/>
          </a:prstGeom>
          <a:noFill/>
        </p:spPr>
        <p:txBody>
          <a:bodyPr vert="horz" lIns="0" tIns="0" rIns="0" bIns="0" rtlCol="0" anchor="t" anchorCtr="0">
            <a:noAutofit/>
          </a:bodyPr>
          <a:lstStyle>
            <a:lvl1pPr algn="l" rtl="0" eaLnBrk="1" fontAlgn="base" hangingPunct="1">
              <a:lnSpc>
                <a:spcPct val="80000"/>
              </a:lnSpc>
              <a:spcBef>
                <a:spcPct val="0"/>
              </a:spcBef>
              <a:spcAft>
                <a:spcPct val="0"/>
              </a:spcAft>
              <a:defRPr sz="1400"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a:lstStyle>
          <a:p>
            <a:pPr marL="0" marR="0" lvl="0" indent="0" algn="ctr" defTabSz="1206707" rtl="0" eaLnBrk="1" fontAlgn="base" latinLnBrk="0" hangingPunct="1">
              <a:lnSpc>
                <a:spcPct val="100000"/>
              </a:lnSpc>
              <a:spcBef>
                <a:spcPct val="0"/>
              </a:spcBef>
              <a:spcAft>
                <a:spcPct val="0"/>
              </a:spcAft>
              <a:buClrTx/>
              <a:buSzTx/>
              <a:buFontTx/>
              <a:buNone/>
              <a:tabLst/>
              <a:defRPr/>
            </a:pPr>
            <a:r>
              <a:rPr kumimoji="0" lang="en-US" sz="1455" b="1" i="0" u="none" strike="noStrike" kern="100" cap="all" spc="26" normalizeH="0" baseline="0" noProof="0">
                <a:ln>
                  <a:noFill/>
                </a:ln>
                <a:solidFill>
                  <a:prstClr val="black"/>
                </a:solidFill>
                <a:effectLst/>
                <a:uLnTx/>
                <a:uFillTx/>
                <a:latin typeface="adineue PRO Cond" panose="020B0503020201060004" pitchFamily="34" charset="0"/>
                <a:ea typeface="+mj-ea"/>
                <a:cs typeface="+mj-cs"/>
              </a:rPr>
              <a:t>PRODUCT AREAS</a:t>
            </a:r>
          </a:p>
        </p:txBody>
      </p:sp>
      <p:sp>
        <p:nvSpPr>
          <p:cNvPr id="57" name="TextBox 26">
            <a:extLst>
              <a:ext uri="{FF2B5EF4-FFF2-40B4-BE49-F238E27FC236}">
                <a16:creationId xmlns:a16="http://schemas.microsoft.com/office/drawing/2014/main" id="{8D380F5B-50EE-4685-B604-B40B151E0179}"/>
              </a:ext>
            </a:extLst>
          </p:cNvPr>
          <p:cNvSpPr txBox="1"/>
          <p:nvPr/>
        </p:nvSpPr>
        <p:spPr>
          <a:xfrm>
            <a:off x="2984315" y="4129160"/>
            <a:ext cx="1136819" cy="458019"/>
          </a:xfrm>
          <a:prstGeom prst="rect">
            <a:avLst/>
          </a:prstGeom>
          <a:solidFill>
            <a:sysClr val="window" lastClr="FFFFFF"/>
          </a:solidFill>
          <a:ln w="6350" cmpd="sng">
            <a:noFill/>
          </a:ln>
          <a:effectLst/>
        </p:spPr>
        <p:txBody>
          <a:bodyPr wrap="square" lIns="125645" tIns="62823" rIns="0" bIns="188468" rtlCol="0" anchor="t" anchorCtr="0"/>
          <a:lstStyle>
            <a:defPPr>
              <a:defRPr lang="en-DE"/>
            </a:defPPr>
            <a:lvl1pPr indent="0">
              <a:defRPr sz="1000" b="1">
                <a:solidFill>
                  <a:schemeClr val="bg1"/>
                </a:solidFill>
                <a:cs typeface="AdihausDIN" panose="020B0504020101020102"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1215248" rtl="0" eaLnBrk="1" fontAlgn="auto" latinLnBrk="0" hangingPunct="1">
              <a:lnSpc>
                <a:spcPct val="100000"/>
              </a:lnSpc>
              <a:spcBef>
                <a:spcPts val="0"/>
              </a:spcBef>
              <a:spcAft>
                <a:spcPts val="0"/>
              </a:spcAft>
              <a:buClrTx/>
              <a:buSzTx/>
              <a:buFontTx/>
              <a:buNone/>
              <a:tabLst/>
              <a:defRPr/>
            </a:pPr>
            <a:r>
              <a:rPr kumimoji="0" lang="en-US" sz="1389" b="1" i="0" u="none" strike="noStrike" kern="0" cap="none" spc="0" normalizeH="0" baseline="0" noProof="0">
                <a:ln>
                  <a:noFill/>
                </a:ln>
                <a:solidFill>
                  <a:prstClr val="black"/>
                </a:solidFill>
                <a:effectLst/>
                <a:uLnTx/>
                <a:uFillTx/>
                <a:latin typeface="adineue PRO Cond"/>
                <a:ea typeface="+mn-ea"/>
                <a:cs typeface="AdihausDIN" panose="020B0504020101020102" pitchFamily="34" charset="0"/>
              </a:rPr>
              <a:t>MANAGE BUSINESS</a:t>
            </a:r>
          </a:p>
        </p:txBody>
      </p:sp>
      <p:sp>
        <p:nvSpPr>
          <p:cNvPr id="58" name="TextBox 26">
            <a:extLst>
              <a:ext uri="{FF2B5EF4-FFF2-40B4-BE49-F238E27FC236}">
                <a16:creationId xmlns:a16="http://schemas.microsoft.com/office/drawing/2014/main" id="{DCD4F7B2-A846-4C7F-95E2-1431852E4197}"/>
              </a:ext>
            </a:extLst>
          </p:cNvPr>
          <p:cNvSpPr txBox="1"/>
          <p:nvPr/>
        </p:nvSpPr>
        <p:spPr>
          <a:xfrm>
            <a:off x="4545296" y="4074874"/>
            <a:ext cx="838643"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Integrated Planning</a:t>
            </a:r>
          </a:p>
        </p:txBody>
      </p:sp>
      <p:sp>
        <p:nvSpPr>
          <p:cNvPr id="59" name="TextBox 26">
            <a:extLst>
              <a:ext uri="{FF2B5EF4-FFF2-40B4-BE49-F238E27FC236}">
                <a16:creationId xmlns:a16="http://schemas.microsoft.com/office/drawing/2014/main" id="{9F22C3E2-7BE7-48B4-B1A4-2013EF7286CD}"/>
              </a:ext>
            </a:extLst>
          </p:cNvPr>
          <p:cNvSpPr txBox="1"/>
          <p:nvPr/>
        </p:nvSpPr>
        <p:spPr>
          <a:xfrm>
            <a:off x="5433989" y="4074874"/>
            <a:ext cx="838643"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Record to Close</a:t>
            </a:r>
          </a:p>
        </p:txBody>
      </p:sp>
      <p:sp>
        <p:nvSpPr>
          <p:cNvPr id="60" name="TextBox 26">
            <a:extLst>
              <a:ext uri="{FF2B5EF4-FFF2-40B4-BE49-F238E27FC236}">
                <a16:creationId xmlns:a16="http://schemas.microsoft.com/office/drawing/2014/main" id="{BB6BB55D-3E82-4F15-A245-AFFF923DD61A}"/>
              </a:ext>
            </a:extLst>
          </p:cNvPr>
          <p:cNvSpPr txBox="1"/>
          <p:nvPr/>
        </p:nvSpPr>
        <p:spPr>
          <a:xfrm>
            <a:off x="6322683" y="4074874"/>
            <a:ext cx="838643"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lose to Group Reporting</a:t>
            </a:r>
          </a:p>
        </p:txBody>
      </p:sp>
      <p:sp>
        <p:nvSpPr>
          <p:cNvPr id="61" name="TextBox 26">
            <a:extLst>
              <a:ext uri="{FF2B5EF4-FFF2-40B4-BE49-F238E27FC236}">
                <a16:creationId xmlns:a16="http://schemas.microsoft.com/office/drawing/2014/main" id="{2F682545-0D12-4FCB-8887-F311DD5F534C}"/>
              </a:ext>
            </a:extLst>
          </p:cNvPr>
          <p:cNvSpPr txBox="1"/>
          <p:nvPr/>
        </p:nvSpPr>
        <p:spPr>
          <a:xfrm>
            <a:off x="7211374" y="4074874"/>
            <a:ext cx="838643"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Order to Cash</a:t>
            </a:r>
          </a:p>
        </p:txBody>
      </p:sp>
      <p:sp>
        <p:nvSpPr>
          <p:cNvPr id="62" name="TextBox 26">
            <a:extLst>
              <a:ext uri="{FF2B5EF4-FFF2-40B4-BE49-F238E27FC236}">
                <a16:creationId xmlns:a16="http://schemas.microsoft.com/office/drawing/2014/main" id="{A00F9FA6-E61D-43B1-8401-3943E3436D9F}"/>
              </a:ext>
            </a:extLst>
          </p:cNvPr>
          <p:cNvSpPr txBox="1"/>
          <p:nvPr/>
        </p:nvSpPr>
        <p:spPr>
          <a:xfrm>
            <a:off x="8100065" y="4074874"/>
            <a:ext cx="838643"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Source to Pay</a:t>
            </a:r>
          </a:p>
        </p:txBody>
      </p:sp>
      <p:sp>
        <p:nvSpPr>
          <p:cNvPr id="63" name="TextBox 26">
            <a:extLst>
              <a:ext uri="{FF2B5EF4-FFF2-40B4-BE49-F238E27FC236}">
                <a16:creationId xmlns:a16="http://schemas.microsoft.com/office/drawing/2014/main" id="{634D279F-D1C9-4186-928A-0B2E0AC087B9}"/>
              </a:ext>
            </a:extLst>
          </p:cNvPr>
          <p:cNvSpPr txBox="1"/>
          <p:nvPr/>
        </p:nvSpPr>
        <p:spPr>
          <a:xfrm>
            <a:off x="8988756" y="4074874"/>
            <a:ext cx="842061"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Hire to Retire</a:t>
            </a:r>
          </a:p>
        </p:txBody>
      </p:sp>
      <p:sp>
        <p:nvSpPr>
          <p:cNvPr id="64" name="TextBox 26">
            <a:extLst>
              <a:ext uri="{FF2B5EF4-FFF2-40B4-BE49-F238E27FC236}">
                <a16:creationId xmlns:a16="http://schemas.microsoft.com/office/drawing/2014/main" id="{AA595425-60E6-4CD2-AA06-83CE537D3941}"/>
              </a:ext>
            </a:extLst>
          </p:cNvPr>
          <p:cNvSpPr txBox="1"/>
          <p:nvPr/>
        </p:nvSpPr>
        <p:spPr>
          <a:xfrm>
            <a:off x="9880869" y="4074874"/>
            <a:ext cx="842061"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orp. Business Functions</a:t>
            </a:r>
          </a:p>
        </p:txBody>
      </p:sp>
      <p:sp>
        <p:nvSpPr>
          <p:cNvPr id="65" name="TextBox 26">
            <a:extLst>
              <a:ext uri="{FF2B5EF4-FFF2-40B4-BE49-F238E27FC236}">
                <a16:creationId xmlns:a16="http://schemas.microsoft.com/office/drawing/2014/main" id="{67C04606-30EB-4D1A-ADE1-FAEC7816BB75}"/>
              </a:ext>
            </a:extLst>
          </p:cNvPr>
          <p:cNvSpPr txBox="1"/>
          <p:nvPr/>
        </p:nvSpPr>
        <p:spPr>
          <a:xfrm>
            <a:off x="10772985" y="4074874"/>
            <a:ext cx="838643"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Workplaces</a:t>
            </a:r>
          </a:p>
        </p:txBody>
      </p:sp>
      <p:cxnSp>
        <p:nvCxnSpPr>
          <p:cNvPr id="66" name="Straight Connector 65">
            <a:extLst>
              <a:ext uri="{FF2B5EF4-FFF2-40B4-BE49-F238E27FC236}">
                <a16:creationId xmlns:a16="http://schemas.microsoft.com/office/drawing/2014/main" id="{26AF4531-0176-4C6B-A711-D0DB89FEB8E3}"/>
              </a:ext>
            </a:extLst>
          </p:cNvPr>
          <p:cNvCxnSpPr>
            <a:cxnSpLocks/>
          </p:cNvCxnSpPr>
          <p:nvPr/>
        </p:nvCxnSpPr>
        <p:spPr>
          <a:xfrm>
            <a:off x="3074780" y="1406134"/>
            <a:ext cx="8545509" cy="0"/>
          </a:xfrm>
          <a:prstGeom prst="line">
            <a:avLst/>
          </a:prstGeom>
          <a:noFill/>
          <a:ln w="6350" cap="flat" cmpd="sng" algn="ctr">
            <a:solidFill>
              <a:sysClr val="windowText" lastClr="000000">
                <a:lumMod val="50000"/>
                <a:lumOff val="50000"/>
              </a:sysClr>
            </a:solidFill>
            <a:prstDash val="solid"/>
          </a:ln>
          <a:effectLst/>
        </p:spPr>
      </p:cxnSp>
      <p:cxnSp>
        <p:nvCxnSpPr>
          <p:cNvPr id="67" name="Straight Connector 66">
            <a:extLst>
              <a:ext uri="{FF2B5EF4-FFF2-40B4-BE49-F238E27FC236}">
                <a16:creationId xmlns:a16="http://schemas.microsoft.com/office/drawing/2014/main" id="{EB344AA1-39AB-42DE-A66E-634B740FFAA5}"/>
              </a:ext>
            </a:extLst>
          </p:cNvPr>
          <p:cNvCxnSpPr>
            <a:cxnSpLocks/>
          </p:cNvCxnSpPr>
          <p:nvPr/>
        </p:nvCxnSpPr>
        <p:spPr>
          <a:xfrm>
            <a:off x="3059242" y="1606964"/>
            <a:ext cx="5754108" cy="0"/>
          </a:xfrm>
          <a:prstGeom prst="line">
            <a:avLst/>
          </a:prstGeom>
          <a:noFill/>
          <a:ln w="6350" cap="flat" cmpd="sng" algn="ctr">
            <a:solidFill>
              <a:srgbClr val="D9D7DA"/>
            </a:solidFill>
            <a:prstDash val="solid"/>
          </a:ln>
          <a:effectLst/>
        </p:spPr>
      </p:cxnSp>
      <p:cxnSp>
        <p:nvCxnSpPr>
          <p:cNvPr id="68" name="Straight Connector 67">
            <a:extLst>
              <a:ext uri="{FF2B5EF4-FFF2-40B4-BE49-F238E27FC236}">
                <a16:creationId xmlns:a16="http://schemas.microsoft.com/office/drawing/2014/main" id="{E42B8B3E-3623-4DF9-8453-1F979E8AD1B2}"/>
              </a:ext>
            </a:extLst>
          </p:cNvPr>
          <p:cNvCxnSpPr>
            <a:cxnSpLocks/>
          </p:cNvCxnSpPr>
          <p:nvPr/>
        </p:nvCxnSpPr>
        <p:spPr>
          <a:xfrm>
            <a:off x="3052643" y="2753297"/>
            <a:ext cx="8567646" cy="0"/>
          </a:xfrm>
          <a:prstGeom prst="line">
            <a:avLst/>
          </a:prstGeom>
          <a:noFill/>
          <a:ln w="6350" cap="flat" cmpd="sng" algn="ctr">
            <a:solidFill>
              <a:srgbClr val="D9D7DA"/>
            </a:solidFill>
            <a:prstDash val="solid"/>
          </a:ln>
          <a:effectLst/>
        </p:spPr>
      </p:cxnSp>
      <p:cxnSp>
        <p:nvCxnSpPr>
          <p:cNvPr id="69" name="Straight Connector 68">
            <a:extLst>
              <a:ext uri="{FF2B5EF4-FFF2-40B4-BE49-F238E27FC236}">
                <a16:creationId xmlns:a16="http://schemas.microsoft.com/office/drawing/2014/main" id="{E7614CBB-9F14-4C69-B94A-FA84A4605200}"/>
              </a:ext>
            </a:extLst>
          </p:cNvPr>
          <p:cNvCxnSpPr>
            <a:cxnSpLocks/>
          </p:cNvCxnSpPr>
          <p:nvPr/>
        </p:nvCxnSpPr>
        <p:spPr>
          <a:xfrm>
            <a:off x="3052643" y="3372287"/>
            <a:ext cx="8567646" cy="0"/>
          </a:xfrm>
          <a:prstGeom prst="line">
            <a:avLst/>
          </a:prstGeom>
          <a:noFill/>
          <a:ln w="6350" cap="flat" cmpd="sng" algn="ctr">
            <a:solidFill>
              <a:srgbClr val="D9D7DA"/>
            </a:solidFill>
            <a:prstDash val="solid"/>
          </a:ln>
          <a:effectLst/>
        </p:spPr>
      </p:cxnSp>
      <p:cxnSp>
        <p:nvCxnSpPr>
          <p:cNvPr id="70" name="Straight Connector 69">
            <a:extLst>
              <a:ext uri="{FF2B5EF4-FFF2-40B4-BE49-F238E27FC236}">
                <a16:creationId xmlns:a16="http://schemas.microsoft.com/office/drawing/2014/main" id="{2C721387-FE98-4625-B676-B8F890F15DBC}"/>
              </a:ext>
            </a:extLst>
          </p:cNvPr>
          <p:cNvCxnSpPr>
            <a:cxnSpLocks/>
          </p:cNvCxnSpPr>
          <p:nvPr/>
        </p:nvCxnSpPr>
        <p:spPr>
          <a:xfrm>
            <a:off x="3052643" y="3991357"/>
            <a:ext cx="8567646" cy="0"/>
          </a:xfrm>
          <a:prstGeom prst="line">
            <a:avLst/>
          </a:prstGeom>
          <a:noFill/>
          <a:ln w="6350" cap="flat" cmpd="sng" algn="ctr">
            <a:solidFill>
              <a:srgbClr val="D9D7DA"/>
            </a:solidFill>
            <a:prstDash val="solid"/>
          </a:ln>
          <a:effectLst/>
        </p:spPr>
      </p:cxnSp>
      <p:cxnSp>
        <p:nvCxnSpPr>
          <p:cNvPr id="71" name="Straight Connector 70">
            <a:extLst>
              <a:ext uri="{FF2B5EF4-FFF2-40B4-BE49-F238E27FC236}">
                <a16:creationId xmlns:a16="http://schemas.microsoft.com/office/drawing/2014/main" id="{1B9B8960-AF8C-496D-B112-55A9ED7799DE}"/>
              </a:ext>
            </a:extLst>
          </p:cNvPr>
          <p:cNvCxnSpPr>
            <a:cxnSpLocks/>
          </p:cNvCxnSpPr>
          <p:nvPr/>
        </p:nvCxnSpPr>
        <p:spPr>
          <a:xfrm>
            <a:off x="3052643" y="4625451"/>
            <a:ext cx="8567646" cy="0"/>
          </a:xfrm>
          <a:prstGeom prst="line">
            <a:avLst/>
          </a:prstGeom>
          <a:noFill/>
          <a:ln w="6350" cap="flat" cmpd="sng" algn="ctr">
            <a:solidFill>
              <a:srgbClr val="D9D7DA"/>
            </a:solidFill>
            <a:prstDash val="solid"/>
          </a:ln>
          <a:effectLst/>
        </p:spPr>
      </p:cxnSp>
      <p:cxnSp>
        <p:nvCxnSpPr>
          <p:cNvPr id="72" name="Straight Connector 71">
            <a:extLst>
              <a:ext uri="{FF2B5EF4-FFF2-40B4-BE49-F238E27FC236}">
                <a16:creationId xmlns:a16="http://schemas.microsoft.com/office/drawing/2014/main" id="{85A85336-F766-4963-B9FA-F44166B5FC1E}"/>
              </a:ext>
            </a:extLst>
          </p:cNvPr>
          <p:cNvCxnSpPr>
            <a:cxnSpLocks/>
          </p:cNvCxnSpPr>
          <p:nvPr/>
        </p:nvCxnSpPr>
        <p:spPr>
          <a:xfrm>
            <a:off x="3074780" y="5302368"/>
            <a:ext cx="8545509" cy="0"/>
          </a:xfrm>
          <a:prstGeom prst="line">
            <a:avLst/>
          </a:prstGeom>
          <a:noFill/>
          <a:ln w="6350" cap="flat" cmpd="sng" algn="ctr">
            <a:solidFill>
              <a:sysClr val="windowText" lastClr="000000">
                <a:lumMod val="50000"/>
                <a:lumOff val="50000"/>
              </a:sysClr>
            </a:solidFill>
            <a:prstDash val="solid"/>
          </a:ln>
          <a:effectLst/>
        </p:spPr>
      </p:cxnSp>
      <p:sp>
        <p:nvSpPr>
          <p:cNvPr id="73" name="TextBox 26">
            <a:extLst>
              <a:ext uri="{FF2B5EF4-FFF2-40B4-BE49-F238E27FC236}">
                <a16:creationId xmlns:a16="http://schemas.microsoft.com/office/drawing/2014/main" id="{8DBE40E3-C84A-44B5-9B9A-F7BAB2A12091}"/>
              </a:ext>
            </a:extLst>
          </p:cNvPr>
          <p:cNvSpPr txBox="1"/>
          <p:nvPr/>
        </p:nvSpPr>
        <p:spPr>
          <a:xfrm>
            <a:off x="4543812" y="2214288"/>
            <a:ext cx="961126"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Web &amp; Mobile</a:t>
            </a:r>
          </a:p>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 Services</a:t>
            </a:r>
          </a:p>
        </p:txBody>
      </p:sp>
      <p:sp>
        <p:nvSpPr>
          <p:cNvPr id="74" name="TextBox 26">
            <a:extLst>
              <a:ext uri="{FF2B5EF4-FFF2-40B4-BE49-F238E27FC236}">
                <a16:creationId xmlns:a16="http://schemas.microsoft.com/office/drawing/2014/main" id="{EF9A650F-B36C-49B6-A920-2316EB9015EB}"/>
              </a:ext>
            </a:extLst>
          </p:cNvPr>
          <p:cNvSpPr txBox="1"/>
          <p:nvPr/>
        </p:nvSpPr>
        <p:spPr>
          <a:xfrm>
            <a:off x="5561993" y="2214288"/>
            <a:ext cx="1078921"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onsumer Analytics</a:t>
            </a:r>
          </a:p>
        </p:txBody>
      </p:sp>
      <p:sp>
        <p:nvSpPr>
          <p:cNvPr id="75" name="TextBox 74">
            <a:extLst>
              <a:ext uri="{FF2B5EF4-FFF2-40B4-BE49-F238E27FC236}">
                <a16:creationId xmlns:a16="http://schemas.microsoft.com/office/drawing/2014/main" id="{50FB3BBA-AE2A-437B-AF65-22BE1F47C1D0}"/>
              </a:ext>
            </a:extLst>
          </p:cNvPr>
          <p:cNvSpPr txBox="1"/>
          <p:nvPr/>
        </p:nvSpPr>
        <p:spPr>
          <a:xfrm>
            <a:off x="6719272" y="2215673"/>
            <a:ext cx="998387" cy="486040"/>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hina Digital Hub</a:t>
            </a:r>
          </a:p>
        </p:txBody>
      </p:sp>
      <p:sp>
        <p:nvSpPr>
          <p:cNvPr id="76" name="TextBox 26">
            <a:extLst>
              <a:ext uri="{FF2B5EF4-FFF2-40B4-BE49-F238E27FC236}">
                <a16:creationId xmlns:a16="http://schemas.microsoft.com/office/drawing/2014/main" id="{83EE1AF3-B7A7-4421-845E-CC7C751A151A}"/>
              </a:ext>
            </a:extLst>
          </p:cNvPr>
          <p:cNvSpPr txBox="1"/>
          <p:nvPr/>
        </p:nvSpPr>
        <p:spPr>
          <a:xfrm>
            <a:off x="7793390" y="2211578"/>
            <a:ext cx="1014253"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Web &amp; Mobile Programs and Operations</a:t>
            </a:r>
          </a:p>
        </p:txBody>
      </p:sp>
      <p:sp>
        <p:nvSpPr>
          <p:cNvPr id="77" name="TextBox 26">
            <a:extLst>
              <a:ext uri="{FF2B5EF4-FFF2-40B4-BE49-F238E27FC236}">
                <a16:creationId xmlns:a16="http://schemas.microsoft.com/office/drawing/2014/main" id="{AEB00301-3E5B-415B-B59D-CBFD6DEF46C8}"/>
              </a:ext>
            </a:extLst>
          </p:cNvPr>
          <p:cNvSpPr txBox="1"/>
          <p:nvPr/>
        </p:nvSpPr>
        <p:spPr>
          <a:xfrm>
            <a:off x="2984315" y="4889793"/>
            <a:ext cx="1136819" cy="274774"/>
          </a:xfrm>
          <a:prstGeom prst="rect">
            <a:avLst/>
          </a:prstGeom>
          <a:solidFill>
            <a:sysClr val="window" lastClr="FFFFFF"/>
          </a:solidFill>
          <a:ln w="6350" cmpd="sng">
            <a:noFill/>
          </a:ln>
          <a:effectLst/>
        </p:spPr>
        <p:txBody>
          <a:bodyPr wrap="square" lIns="125645" tIns="62823" rIns="0" bIns="188468" rtlCol="0" anchor="t" anchorCtr="0"/>
          <a:lstStyle>
            <a:defPPr>
              <a:defRPr lang="en-DE"/>
            </a:defPPr>
            <a:lvl1pPr indent="0">
              <a:defRPr sz="1000" b="1">
                <a:solidFill>
                  <a:schemeClr val="bg1"/>
                </a:solidFill>
                <a:cs typeface="AdihausDIN" panose="020B0504020101020102"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1215248" rtl="0" eaLnBrk="1" fontAlgn="auto" latinLnBrk="0" hangingPunct="1">
              <a:lnSpc>
                <a:spcPct val="100000"/>
              </a:lnSpc>
              <a:spcBef>
                <a:spcPts val="0"/>
              </a:spcBef>
              <a:spcAft>
                <a:spcPts val="0"/>
              </a:spcAft>
              <a:buClrTx/>
              <a:buSzTx/>
              <a:buFontTx/>
              <a:buNone/>
              <a:tabLst/>
              <a:defRPr/>
            </a:pPr>
            <a:r>
              <a:rPr kumimoji="0" lang="en-US" sz="1389" b="1" i="0" u="none" strike="noStrike" kern="0" cap="none" spc="0" normalizeH="0" baseline="0" noProof="0">
                <a:ln>
                  <a:noFill/>
                </a:ln>
                <a:solidFill>
                  <a:prstClr val="black"/>
                </a:solidFill>
                <a:effectLst/>
                <a:uLnTx/>
                <a:uFillTx/>
                <a:latin typeface="adineue PRO Cond"/>
                <a:ea typeface="+mn-ea"/>
                <a:cs typeface="AdihausDIN" panose="020B0504020101020102" pitchFamily="34" charset="0"/>
              </a:rPr>
              <a:t>ENABLING</a:t>
            </a:r>
          </a:p>
        </p:txBody>
      </p:sp>
      <p:sp>
        <p:nvSpPr>
          <p:cNvPr id="78" name="TextBox 26">
            <a:extLst>
              <a:ext uri="{FF2B5EF4-FFF2-40B4-BE49-F238E27FC236}">
                <a16:creationId xmlns:a16="http://schemas.microsoft.com/office/drawing/2014/main" id="{9B331329-546C-48DC-AC9B-5BB82D8E31DC}"/>
              </a:ext>
            </a:extLst>
          </p:cNvPr>
          <p:cNvSpPr txBox="1"/>
          <p:nvPr/>
        </p:nvSpPr>
        <p:spPr>
          <a:xfrm>
            <a:off x="8485716"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latin typeface="+mn-lt"/>
                <a:cs typeface="AdihausDIN Cn" panose="020B0506020101010102" pitchFamily="34" charset="77"/>
              </a:defRPr>
            </a:lvl1pPr>
            <a:lvl2pPr indent="0">
              <a:defRPr sz="1100">
                <a:solidFill>
                  <a:schemeClr val="dk1"/>
                </a:solidFill>
                <a:latin typeface="+mn-lt"/>
                <a:cs typeface="+mn-cs"/>
              </a:defRPr>
            </a:lvl2pPr>
            <a:lvl3pPr indent="0">
              <a:defRPr sz="1100">
                <a:solidFill>
                  <a:schemeClr val="dk1"/>
                </a:solidFill>
                <a:latin typeface="+mn-lt"/>
                <a:cs typeface="+mn-cs"/>
              </a:defRPr>
            </a:lvl3pPr>
            <a:lvl4pPr indent="0">
              <a:defRPr sz="1100">
                <a:solidFill>
                  <a:schemeClr val="dk1"/>
                </a:solidFill>
                <a:latin typeface="+mn-lt"/>
                <a:cs typeface="+mn-cs"/>
              </a:defRPr>
            </a:lvl4pPr>
            <a:lvl5pPr indent="0">
              <a:defRPr sz="1100">
                <a:solidFill>
                  <a:schemeClr val="dk1"/>
                </a:solidFill>
                <a:latin typeface="+mn-lt"/>
                <a:cs typeface="+mn-cs"/>
              </a:defRPr>
            </a:lvl5pPr>
            <a:lvl6pPr indent="0">
              <a:defRPr sz="1100">
                <a:solidFill>
                  <a:schemeClr val="dk1"/>
                </a:solidFill>
                <a:latin typeface="+mn-lt"/>
                <a:cs typeface="+mn-cs"/>
              </a:defRPr>
            </a:lvl6pPr>
            <a:lvl7pPr indent="0">
              <a:defRPr sz="1100">
                <a:solidFill>
                  <a:schemeClr val="dk1"/>
                </a:solidFill>
                <a:latin typeface="+mn-lt"/>
                <a:cs typeface="+mn-cs"/>
              </a:defRPr>
            </a:lvl7pPr>
            <a:lvl8pPr indent="0">
              <a:defRPr sz="1100">
                <a:solidFill>
                  <a:schemeClr val="dk1"/>
                </a:solidFill>
                <a:latin typeface="+mn-lt"/>
                <a:cs typeface="+mn-cs"/>
              </a:defRPr>
            </a:lvl8pPr>
            <a:lvl9pPr indent="0">
              <a:defRPr sz="1100">
                <a:solidFill>
                  <a:schemeClr val="dk1"/>
                </a:solidFill>
                <a:latin typeface="+mn-lt"/>
                <a:cs typeface="+mn-cs"/>
              </a:defRPr>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Connectivity</a:t>
            </a:r>
          </a:p>
        </p:txBody>
      </p:sp>
      <p:sp>
        <p:nvSpPr>
          <p:cNvPr id="79" name="TextBox 26">
            <a:extLst>
              <a:ext uri="{FF2B5EF4-FFF2-40B4-BE49-F238E27FC236}">
                <a16:creationId xmlns:a16="http://schemas.microsoft.com/office/drawing/2014/main" id="{254BEE4E-5088-4578-A4FE-8CAE6AD5EE57}"/>
              </a:ext>
            </a:extLst>
          </p:cNvPr>
          <p:cNvSpPr txBox="1"/>
          <p:nvPr/>
        </p:nvSpPr>
        <p:spPr>
          <a:xfrm>
            <a:off x="9273801" y="4732155"/>
            <a:ext cx="757245" cy="486040"/>
          </a:xfrm>
          <a:prstGeom prst="rect">
            <a:avLst/>
          </a:prstGeom>
          <a:solidFill>
            <a:srgbClr val="8F8F8F"/>
          </a:solidFill>
          <a:ln w="6350" cmpd="sng">
            <a:noFill/>
          </a:ln>
        </p:spPr>
        <p:style>
          <a:lnRef idx="0">
            <a:scrgbClr r="0" g="0" b="0"/>
          </a:lnRef>
          <a:fillRef idx="0">
            <a:scrgbClr r="0" g="0" b="0"/>
          </a:fillRef>
          <a:effectRef idx="0">
            <a:scrgbClr r="0" g="0" b="0"/>
          </a:effectRef>
          <a:fontRef idx="minor">
            <a:schemeClr val="dk1"/>
          </a:fontRef>
        </p:style>
        <p:txBody>
          <a:bodyPr wrap="square" lIns="0" tIns="0" rIns="0" bIns="0" rtlCol="0" anchor="t" anchorCtr="0"/>
          <a:lstStyle>
            <a:defPPr>
              <a:defRPr lang="en-US"/>
            </a:defPPr>
            <a:lvl1pPr marL="0" marR="0" lvl="0" indent="0" algn="ctr" defTabSz="918763" eaLnBrk="1" latinLnBrk="0" hangingPunct="1">
              <a:lnSpc>
                <a:spcPct val="100000"/>
              </a:lnSpc>
              <a:buClrTx/>
              <a:buSzTx/>
              <a:buFontTx/>
              <a:buNone/>
              <a:tabLst/>
              <a:defRPr kumimoji="0" sz="800" b="0" u="none" strike="noStrike" cap="none" spc="0" normalizeH="0" baseline="0">
                <a:ln>
                  <a:noFill/>
                </a:ln>
                <a:solidFill>
                  <a:prstClr val="white"/>
                </a:solidFill>
                <a:effectLst/>
                <a:uLnTx/>
                <a:uFillTx/>
                <a:cs typeface="AdihausDIN Cn" panose="020B0506020101010102" pitchFamily="34" charset="77"/>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ctr" defTabSz="918763"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prstClr val="white"/>
                </a:solidFill>
                <a:effectLst/>
                <a:uLnTx/>
                <a:uFillTx/>
                <a:latin typeface="Calibri" panose="020F0502020204030204"/>
                <a:ea typeface="+mn-ea"/>
                <a:cs typeface="AdihausDIN Cn" panose="020B0506020101010102" pitchFamily="34" charset="77"/>
              </a:rPr>
              <a:t>HW &amp; SW End User Support</a:t>
            </a:r>
          </a:p>
        </p:txBody>
      </p:sp>
      <p:grpSp>
        <p:nvGrpSpPr>
          <p:cNvPr id="80" name="Group 79">
            <a:extLst>
              <a:ext uri="{FF2B5EF4-FFF2-40B4-BE49-F238E27FC236}">
                <a16:creationId xmlns:a16="http://schemas.microsoft.com/office/drawing/2014/main" id="{2C3C6ED2-2C7E-45AE-9820-679A26175987}"/>
              </a:ext>
            </a:extLst>
          </p:cNvPr>
          <p:cNvGrpSpPr/>
          <p:nvPr/>
        </p:nvGrpSpPr>
        <p:grpSpPr>
          <a:xfrm>
            <a:off x="5136604" y="1886074"/>
            <a:ext cx="238089" cy="238089"/>
            <a:chOff x="7392213" y="5423333"/>
            <a:chExt cx="289746" cy="289746"/>
          </a:xfrm>
        </p:grpSpPr>
        <p:sp>
          <p:nvSpPr>
            <p:cNvPr id="81" name="Oval 261">
              <a:extLst>
                <a:ext uri="{FF2B5EF4-FFF2-40B4-BE49-F238E27FC236}">
                  <a16:creationId xmlns:a16="http://schemas.microsoft.com/office/drawing/2014/main" id="{D8040BBB-AD44-4218-8F68-DB6F1800B466}"/>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82" name="Graphic 259" descr="Tools">
              <a:extLst>
                <a:ext uri="{FF2B5EF4-FFF2-40B4-BE49-F238E27FC236}">
                  <a16:creationId xmlns:a16="http://schemas.microsoft.com/office/drawing/2014/main" id="{51FB43E6-5AB9-462C-B79D-5CD8F8AA0DF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83" name="Group 82">
            <a:extLst>
              <a:ext uri="{FF2B5EF4-FFF2-40B4-BE49-F238E27FC236}">
                <a16:creationId xmlns:a16="http://schemas.microsoft.com/office/drawing/2014/main" id="{C3AAB0B5-3C70-44BF-8184-AEAF22E78192}"/>
              </a:ext>
            </a:extLst>
          </p:cNvPr>
          <p:cNvGrpSpPr/>
          <p:nvPr/>
        </p:nvGrpSpPr>
        <p:grpSpPr>
          <a:xfrm>
            <a:off x="6537644" y="1886074"/>
            <a:ext cx="238089" cy="238089"/>
            <a:chOff x="7392213" y="5423333"/>
            <a:chExt cx="289746" cy="289746"/>
          </a:xfrm>
        </p:grpSpPr>
        <p:sp>
          <p:nvSpPr>
            <p:cNvPr id="84" name="Oval 261">
              <a:extLst>
                <a:ext uri="{FF2B5EF4-FFF2-40B4-BE49-F238E27FC236}">
                  <a16:creationId xmlns:a16="http://schemas.microsoft.com/office/drawing/2014/main" id="{804F0C39-ABD3-447F-B1FB-5BD6EDBB4B75}"/>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85" name="Graphic 259" descr="Tools">
              <a:extLst>
                <a:ext uri="{FF2B5EF4-FFF2-40B4-BE49-F238E27FC236}">
                  <a16:creationId xmlns:a16="http://schemas.microsoft.com/office/drawing/2014/main" id="{D50C0810-B8C8-445B-A104-B807D0FD75C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86" name="Group 85">
            <a:extLst>
              <a:ext uri="{FF2B5EF4-FFF2-40B4-BE49-F238E27FC236}">
                <a16:creationId xmlns:a16="http://schemas.microsoft.com/office/drawing/2014/main" id="{3443785A-63B3-4017-B9E9-65CAEE3A73A8}"/>
              </a:ext>
            </a:extLst>
          </p:cNvPr>
          <p:cNvGrpSpPr/>
          <p:nvPr/>
        </p:nvGrpSpPr>
        <p:grpSpPr>
          <a:xfrm>
            <a:off x="8160659" y="1886074"/>
            <a:ext cx="238089" cy="238089"/>
            <a:chOff x="5596681" y="4370982"/>
            <a:chExt cx="219053" cy="219053"/>
          </a:xfrm>
        </p:grpSpPr>
        <p:sp>
          <p:nvSpPr>
            <p:cNvPr id="87" name="Oval 261">
              <a:extLst>
                <a:ext uri="{FF2B5EF4-FFF2-40B4-BE49-F238E27FC236}">
                  <a16:creationId xmlns:a16="http://schemas.microsoft.com/office/drawing/2014/main" id="{D2027B2B-8F3D-4271-9F1E-EDFFC1A89CEB}"/>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88" name="Graphic 256" descr="Key">
              <a:extLst>
                <a:ext uri="{FF2B5EF4-FFF2-40B4-BE49-F238E27FC236}">
                  <a16:creationId xmlns:a16="http://schemas.microsoft.com/office/drawing/2014/main" id="{EDA48126-3060-4746-82AD-980C779BB7D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89" name="Group 88">
            <a:extLst>
              <a:ext uri="{FF2B5EF4-FFF2-40B4-BE49-F238E27FC236}">
                <a16:creationId xmlns:a16="http://schemas.microsoft.com/office/drawing/2014/main" id="{85EB527D-AB0A-4B20-9516-D466EB58D975}"/>
              </a:ext>
            </a:extLst>
          </p:cNvPr>
          <p:cNvGrpSpPr/>
          <p:nvPr/>
        </p:nvGrpSpPr>
        <p:grpSpPr>
          <a:xfrm>
            <a:off x="7847709" y="1886074"/>
            <a:ext cx="238089" cy="238089"/>
            <a:chOff x="7392213" y="5423333"/>
            <a:chExt cx="289746" cy="289746"/>
          </a:xfrm>
        </p:grpSpPr>
        <p:sp>
          <p:nvSpPr>
            <p:cNvPr id="90" name="Oval 261">
              <a:extLst>
                <a:ext uri="{FF2B5EF4-FFF2-40B4-BE49-F238E27FC236}">
                  <a16:creationId xmlns:a16="http://schemas.microsoft.com/office/drawing/2014/main" id="{8F37B096-EA13-423F-AA3A-12EB73C929EF}"/>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91" name="Graphic 259" descr="Tools">
              <a:extLst>
                <a:ext uri="{FF2B5EF4-FFF2-40B4-BE49-F238E27FC236}">
                  <a16:creationId xmlns:a16="http://schemas.microsoft.com/office/drawing/2014/main" id="{CEA9991C-F0F5-418C-840C-EA447378E2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92" name="Group 91">
            <a:extLst>
              <a:ext uri="{FF2B5EF4-FFF2-40B4-BE49-F238E27FC236}">
                <a16:creationId xmlns:a16="http://schemas.microsoft.com/office/drawing/2014/main" id="{6235F907-C3F2-412A-BF5C-87748B0D94CF}"/>
              </a:ext>
            </a:extLst>
          </p:cNvPr>
          <p:cNvGrpSpPr/>
          <p:nvPr/>
        </p:nvGrpSpPr>
        <p:grpSpPr>
          <a:xfrm>
            <a:off x="9480027" y="1889973"/>
            <a:ext cx="238089" cy="238089"/>
            <a:chOff x="5596681" y="4370982"/>
            <a:chExt cx="219053" cy="219053"/>
          </a:xfrm>
        </p:grpSpPr>
        <p:sp>
          <p:nvSpPr>
            <p:cNvPr id="93" name="Oval 261">
              <a:extLst>
                <a:ext uri="{FF2B5EF4-FFF2-40B4-BE49-F238E27FC236}">
                  <a16:creationId xmlns:a16="http://schemas.microsoft.com/office/drawing/2014/main" id="{55A89DF1-1158-40D3-8CF4-82993417BA2D}"/>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94" name="Graphic 256" descr="Key">
              <a:extLst>
                <a:ext uri="{FF2B5EF4-FFF2-40B4-BE49-F238E27FC236}">
                  <a16:creationId xmlns:a16="http://schemas.microsoft.com/office/drawing/2014/main" id="{C1387B20-D7E9-4339-A5C7-CC424304C4D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95" name="Group 94">
            <a:extLst>
              <a:ext uri="{FF2B5EF4-FFF2-40B4-BE49-F238E27FC236}">
                <a16:creationId xmlns:a16="http://schemas.microsoft.com/office/drawing/2014/main" id="{9231114E-5595-4F60-B249-0FB0FB012C05}"/>
              </a:ext>
            </a:extLst>
          </p:cNvPr>
          <p:cNvGrpSpPr/>
          <p:nvPr/>
        </p:nvGrpSpPr>
        <p:grpSpPr>
          <a:xfrm>
            <a:off x="11026791" y="1886074"/>
            <a:ext cx="238089" cy="238089"/>
            <a:chOff x="5596681" y="4370982"/>
            <a:chExt cx="219053" cy="219053"/>
          </a:xfrm>
        </p:grpSpPr>
        <p:sp>
          <p:nvSpPr>
            <p:cNvPr id="96" name="Oval 261">
              <a:extLst>
                <a:ext uri="{FF2B5EF4-FFF2-40B4-BE49-F238E27FC236}">
                  <a16:creationId xmlns:a16="http://schemas.microsoft.com/office/drawing/2014/main" id="{B562AF8C-53F6-45E8-AAAB-34DBE8917FDF}"/>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97" name="Graphic 256" descr="Key">
              <a:extLst>
                <a:ext uri="{FF2B5EF4-FFF2-40B4-BE49-F238E27FC236}">
                  <a16:creationId xmlns:a16="http://schemas.microsoft.com/office/drawing/2014/main" id="{0809FEE5-0A0F-4238-9644-AB62EE0005A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98" name="Group 97">
            <a:extLst>
              <a:ext uri="{FF2B5EF4-FFF2-40B4-BE49-F238E27FC236}">
                <a16:creationId xmlns:a16="http://schemas.microsoft.com/office/drawing/2014/main" id="{C1ABA3E8-7CFE-4B70-820E-F92E7343DBCB}"/>
              </a:ext>
            </a:extLst>
          </p:cNvPr>
          <p:cNvGrpSpPr/>
          <p:nvPr/>
        </p:nvGrpSpPr>
        <p:grpSpPr>
          <a:xfrm>
            <a:off x="10713841" y="1886074"/>
            <a:ext cx="238089" cy="238089"/>
            <a:chOff x="7392213" y="5423333"/>
            <a:chExt cx="289746" cy="289746"/>
          </a:xfrm>
        </p:grpSpPr>
        <p:sp>
          <p:nvSpPr>
            <p:cNvPr id="99" name="Oval 261">
              <a:extLst>
                <a:ext uri="{FF2B5EF4-FFF2-40B4-BE49-F238E27FC236}">
                  <a16:creationId xmlns:a16="http://schemas.microsoft.com/office/drawing/2014/main" id="{684A206E-D01F-4A8B-9F16-1645AFF4EA46}"/>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00" name="Graphic 259" descr="Tools">
              <a:extLst>
                <a:ext uri="{FF2B5EF4-FFF2-40B4-BE49-F238E27FC236}">
                  <a16:creationId xmlns:a16="http://schemas.microsoft.com/office/drawing/2014/main" id="{23EA93B6-2BF4-49B9-B57C-CD7B89560E3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101" name="Group 100">
            <a:extLst>
              <a:ext uri="{FF2B5EF4-FFF2-40B4-BE49-F238E27FC236}">
                <a16:creationId xmlns:a16="http://schemas.microsoft.com/office/drawing/2014/main" id="{6678597E-6BFD-4EF4-B20F-D0C22F3E7C95}"/>
              </a:ext>
            </a:extLst>
          </p:cNvPr>
          <p:cNvGrpSpPr/>
          <p:nvPr/>
        </p:nvGrpSpPr>
        <p:grpSpPr>
          <a:xfrm>
            <a:off x="4909885" y="2440523"/>
            <a:ext cx="238089" cy="238089"/>
            <a:chOff x="5596681" y="4370982"/>
            <a:chExt cx="219053" cy="219053"/>
          </a:xfrm>
        </p:grpSpPr>
        <p:sp>
          <p:nvSpPr>
            <p:cNvPr id="102" name="Oval 261">
              <a:extLst>
                <a:ext uri="{FF2B5EF4-FFF2-40B4-BE49-F238E27FC236}">
                  <a16:creationId xmlns:a16="http://schemas.microsoft.com/office/drawing/2014/main" id="{6CED80FE-17E8-4908-B89F-C9D22D710D80}"/>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03" name="Graphic 256" descr="Key">
              <a:extLst>
                <a:ext uri="{FF2B5EF4-FFF2-40B4-BE49-F238E27FC236}">
                  <a16:creationId xmlns:a16="http://schemas.microsoft.com/office/drawing/2014/main" id="{5B083FA6-5183-4F40-B123-D12E71D6247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04" name="Group 103">
            <a:extLst>
              <a:ext uri="{FF2B5EF4-FFF2-40B4-BE49-F238E27FC236}">
                <a16:creationId xmlns:a16="http://schemas.microsoft.com/office/drawing/2014/main" id="{E275D74E-03C1-45F9-BB3F-D450FC6B1766}"/>
              </a:ext>
            </a:extLst>
          </p:cNvPr>
          <p:cNvGrpSpPr/>
          <p:nvPr/>
        </p:nvGrpSpPr>
        <p:grpSpPr>
          <a:xfrm>
            <a:off x="5837205" y="2440523"/>
            <a:ext cx="238089" cy="238089"/>
            <a:chOff x="7392213" y="6164431"/>
            <a:chExt cx="289746" cy="289746"/>
          </a:xfrm>
        </p:grpSpPr>
        <p:sp>
          <p:nvSpPr>
            <p:cNvPr id="105" name="Oval 261">
              <a:extLst>
                <a:ext uri="{FF2B5EF4-FFF2-40B4-BE49-F238E27FC236}">
                  <a16:creationId xmlns:a16="http://schemas.microsoft.com/office/drawing/2014/main" id="{C8F27864-8B41-4CE0-8259-FB162129BD48}"/>
                </a:ext>
              </a:extLst>
            </p:cNvPr>
            <p:cNvSpPr/>
            <p:nvPr/>
          </p:nvSpPr>
          <p:spPr bwMode="gray">
            <a:xfrm>
              <a:off x="7392213" y="6164431"/>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06" name="Graphic 262" descr="Shopping cart">
              <a:extLst>
                <a:ext uri="{FF2B5EF4-FFF2-40B4-BE49-F238E27FC236}">
                  <a16:creationId xmlns:a16="http://schemas.microsoft.com/office/drawing/2014/main" id="{1FAC2E87-8842-44FD-8B01-F5F4D4BAC7C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1966" y="6199488"/>
              <a:ext cx="212229" cy="212229"/>
            </a:xfrm>
            <a:prstGeom prst="rect">
              <a:avLst/>
            </a:prstGeom>
          </p:spPr>
        </p:pic>
      </p:grpSp>
      <p:grpSp>
        <p:nvGrpSpPr>
          <p:cNvPr id="107" name="Group 106">
            <a:extLst>
              <a:ext uri="{FF2B5EF4-FFF2-40B4-BE49-F238E27FC236}">
                <a16:creationId xmlns:a16="http://schemas.microsoft.com/office/drawing/2014/main" id="{B187E6A4-1CB7-4203-8CF1-5997FD2963F4}"/>
              </a:ext>
            </a:extLst>
          </p:cNvPr>
          <p:cNvGrpSpPr/>
          <p:nvPr/>
        </p:nvGrpSpPr>
        <p:grpSpPr>
          <a:xfrm>
            <a:off x="6110260" y="2440523"/>
            <a:ext cx="238089" cy="238089"/>
            <a:chOff x="5596681" y="4370982"/>
            <a:chExt cx="219053" cy="219053"/>
          </a:xfrm>
        </p:grpSpPr>
        <p:sp>
          <p:nvSpPr>
            <p:cNvPr id="108" name="Oval 261">
              <a:extLst>
                <a:ext uri="{FF2B5EF4-FFF2-40B4-BE49-F238E27FC236}">
                  <a16:creationId xmlns:a16="http://schemas.microsoft.com/office/drawing/2014/main" id="{6D1CCAF5-45F7-4232-ABE8-3DA9D97F643E}"/>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09" name="Graphic 256" descr="Key">
              <a:extLst>
                <a:ext uri="{FF2B5EF4-FFF2-40B4-BE49-F238E27FC236}">
                  <a16:creationId xmlns:a16="http://schemas.microsoft.com/office/drawing/2014/main" id="{9D85448A-710A-4218-9BBC-04F6F653FCA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10" name="Group 109">
            <a:extLst>
              <a:ext uri="{FF2B5EF4-FFF2-40B4-BE49-F238E27FC236}">
                <a16:creationId xmlns:a16="http://schemas.microsoft.com/office/drawing/2014/main" id="{D631611D-5BA0-44B0-8CE0-6613D3F94957}"/>
              </a:ext>
            </a:extLst>
          </p:cNvPr>
          <p:cNvGrpSpPr/>
          <p:nvPr/>
        </p:nvGrpSpPr>
        <p:grpSpPr>
          <a:xfrm>
            <a:off x="6933678" y="2440523"/>
            <a:ext cx="238089" cy="238089"/>
            <a:chOff x="7392213" y="6164431"/>
            <a:chExt cx="289746" cy="289746"/>
          </a:xfrm>
        </p:grpSpPr>
        <p:sp>
          <p:nvSpPr>
            <p:cNvPr id="111" name="Oval 261">
              <a:extLst>
                <a:ext uri="{FF2B5EF4-FFF2-40B4-BE49-F238E27FC236}">
                  <a16:creationId xmlns:a16="http://schemas.microsoft.com/office/drawing/2014/main" id="{222BB978-5952-413C-B249-C5FD7075F7B2}"/>
                </a:ext>
              </a:extLst>
            </p:cNvPr>
            <p:cNvSpPr/>
            <p:nvPr/>
          </p:nvSpPr>
          <p:spPr bwMode="gray">
            <a:xfrm>
              <a:off x="7392213" y="6164431"/>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12" name="Graphic 262" descr="Shopping cart">
              <a:extLst>
                <a:ext uri="{FF2B5EF4-FFF2-40B4-BE49-F238E27FC236}">
                  <a16:creationId xmlns:a16="http://schemas.microsoft.com/office/drawing/2014/main" id="{72CDC870-2910-4314-8C4A-963184B341A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1966" y="6199488"/>
              <a:ext cx="212229" cy="212229"/>
            </a:xfrm>
            <a:prstGeom prst="rect">
              <a:avLst/>
            </a:prstGeom>
          </p:spPr>
        </p:pic>
      </p:grpSp>
      <p:grpSp>
        <p:nvGrpSpPr>
          <p:cNvPr id="113" name="Group 112">
            <a:extLst>
              <a:ext uri="{FF2B5EF4-FFF2-40B4-BE49-F238E27FC236}">
                <a16:creationId xmlns:a16="http://schemas.microsoft.com/office/drawing/2014/main" id="{2651D14B-58A4-494E-A918-B9F284E94358}"/>
              </a:ext>
            </a:extLst>
          </p:cNvPr>
          <p:cNvGrpSpPr/>
          <p:nvPr/>
        </p:nvGrpSpPr>
        <p:grpSpPr>
          <a:xfrm>
            <a:off x="7206734" y="2440523"/>
            <a:ext cx="238089" cy="238089"/>
            <a:chOff x="5596681" y="4370982"/>
            <a:chExt cx="219053" cy="219053"/>
          </a:xfrm>
        </p:grpSpPr>
        <p:sp>
          <p:nvSpPr>
            <p:cNvPr id="114" name="Oval 261">
              <a:extLst>
                <a:ext uri="{FF2B5EF4-FFF2-40B4-BE49-F238E27FC236}">
                  <a16:creationId xmlns:a16="http://schemas.microsoft.com/office/drawing/2014/main" id="{F5E17E2F-6FDC-451B-A766-D5A6528896C0}"/>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15" name="Graphic 256" descr="Key">
              <a:extLst>
                <a:ext uri="{FF2B5EF4-FFF2-40B4-BE49-F238E27FC236}">
                  <a16:creationId xmlns:a16="http://schemas.microsoft.com/office/drawing/2014/main" id="{9E0225BD-AD16-408F-A881-0A876D53CB2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16" name="Group 115">
            <a:extLst>
              <a:ext uri="{FF2B5EF4-FFF2-40B4-BE49-F238E27FC236}">
                <a16:creationId xmlns:a16="http://schemas.microsoft.com/office/drawing/2014/main" id="{FA8EB6CB-2D03-4380-A30C-6CD1A94665EB}"/>
              </a:ext>
            </a:extLst>
          </p:cNvPr>
          <p:cNvGrpSpPr/>
          <p:nvPr/>
        </p:nvGrpSpPr>
        <p:grpSpPr>
          <a:xfrm>
            <a:off x="9465803" y="2440523"/>
            <a:ext cx="238089" cy="238089"/>
            <a:chOff x="5596681" y="4370982"/>
            <a:chExt cx="219053" cy="219053"/>
          </a:xfrm>
        </p:grpSpPr>
        <p:sp>
          <p:nvSpPr>
            <p:cNvPr id="117" name="Oval 261">
              <a:extLst>
                <a:ext uri="{FF2B5EF4-FFF2-40B4-BE49-F238E27FC236}">
                  <a16:creationId xmlns:a16="http://schemas.microsoft.com/office/drawing/2014/main" id="{AC2C6796-1E0F-4CD7-A5F5-50AE94C72B31}"/>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18" name="Graphic 256" descr="Key">
              <a:extLst>
                <a:ext uri="{FF2B5EF4-FFF2-40B4-BE49-F238E27FC236}">
                  <a16:creationId xmlns:a16="http://schemas.microsoft.com/office/drawing/2014/main" id="{5866B216-20C9-4C94-9BE9-36791144C0C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19" name="Group 118">
            <a:extLst>
              <a:ext uri="{FF2B5EF4-FFF2-40B4-BE49-F238E27FC236}">
                <a16:creationId xmlns:a16="http://schemas.microsoft.com/office/drawing/2014/main" id="{CEFE557E-266E-498A-BFEE-65EDB606D890}"/>
              </a:ext>
            </a:extLst>
          </p:cNvPr>
          <p:cNvGrpSpPr/>
          <p:nvPr/>
        </p:nvGrpSpPr>
        <p:grpSpPr>
          <a:xfrm>
            <a:off x="10861909" y="2440523"/>
            <a:ext cx="238089" cy="238089"/>
            <a:chOff x="5596681" y="4370982"/>
            <a:chExt cx="219053" cy="219053"/>
          </a:xfrm>
        </p:grpSpPr>
        <p:sp>
          <p:nvSpPr>
            <p:cNvPr id="120" name="Oval 261">
              <a:extLst>
                <a:ext uri="{FF2B5EF4-FFF2-40B4-BE49-F238E27FC236}">
                  <a16:creationId xmlns:a16="http://schemas.microsoft.com/office/drawing/2014/main" id="{C4968FC0-2C3C-4B40-AD05-C43D3AB4641E}"/>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21" name="Graphic 256" descr="Key">
              <a:extLst>
                <a:ext uri="{FF2B5EF4-FFF2-40B4-BE49-F238E27FC236}">
                  <a16:creationId xmlns:a16="http://schemas.microsoft.com/office/drawing/2014/main" id="{B4F7B42F-3BE4-4AA2-8832-82AD3652987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22" name="Group 121">
            <a:extLst>
              <a:ext uri="{FF2B5EF4-FFF2-40B4-BE49-F238E27FC236}">
                <a16:creationId xmlns:a16="http://schemas.microsoft.com/office/drawing/2014/main" id="{88A4B074-C573-4BCE-B643-FB7D979C7FC4}"/>
              </a:ext>
            </a:extLst>
          </p:cNvPr>
          <p:cNvGrpSpPr/>
          <p:nvPr/>
        </p:nvGrpSpPr>
        <p:grpSpPr>
          <a:xfrm>
            <a:off x="4905330" y="3056913"/>
            <a:ext cx="238089" cy="238089"/>
            <a:chOff x="7392213" y="5423333"/>
            <a:chExt cx="289746" cy="289746"/>
          </a:xfrm>
        </p:grpSpPr>
        <p:sp>
          <p:nvSpPr>
            <p:cNvPr id="123" name="Oval 261">
              <a:extLst>
                <a:ext uri="{FF2B5EF4-FFF2-40B4-BE49-F238E27FC236}">
                  <a16:creationId xmlns:a16="http://schemas.microsoft.com/office/drawing/2014/main" id="{E1C0B8F1-26B3-4603-AEFE-DCA05D72D110}"/>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24" name="Graphic 259" descr="Tools">
              <a:extLst>
                <a:ext uri="{FF2B5EF4-FFF2-40B4-BE49-F238E27FC236}">
                  <a16:creationId xmlns:a16="http://schemas.microsoft.com/office/drawing/2014/main" id="{044E258E-7EE9-4770-958D-22253035C70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125" name="Group 124">
            <a:extLst>
              <a:ext uri="{FF2B5EF4-FFF2-40B4-BE49-F238E27FC236}">
                <a16:creationId xmlns:a16="http://schemas.microsoft.com/office/drawing/2014/main" id="{F8F4E579-012A-43A0-BE5D-038C39977D86}"/>
              </a:ext>
            </a:extLst>
          </p:cNvPr>
          <p:cNvGrpSpPr/>
          <p:nvPr/>
        </p:nvGrpSpPr>
        <p:grpSpPr>
          <a:xfrm>
            <a:off x="5888365" y="3056913"/>
            <a:ext cx="238089" cy="238089"/>
            <a:chOff x="7392213" y="5423333"/>
            <a:chExt cx="289746" cy="289746"/>
          </a:xfrm>
        </p:grpSpPr>
        <p:sp>
          <p:nvSpPr>
            <p:cNvPr id="126" name="Oval 261">
              <a:extLst>
                <a:ext uri="{FF2B5EF4-FFF2-40B4-BE49-F238E27FC236}">
                  <a16:creationId xmlns:a16="http://schemas.microsoft.com/office/drawing/2014/main" id="{06EB00B2-402C-4DAF-84B5-9CA337F3CE9E}"/>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27" name="Graphic 259" descr="Tools">
              <a:extLst>
                <a:ext uri="{FF2B5EF4-FFF2-40B4-BE49-F238E27FC236}">
                  <a16:creationId xmlns:a16="http://schemas.microsoft.com/office/drawing/2014/main" id="{EFF4F815-1515-434A-B99F-C27358343B7E}"/>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128" name="Group 127">
            <a:extLst>
              <a:ext uri="{FF2B5EF4-FFF2-40B4-BE49-F238E27FC236}">
                <a16:creationId xmlns:a16="http://schemas.microsoft.com/office/drawing/2014/main" id="{5CF634C5-6A40-4248-A414-0900881B8F36}"/>
              </a:ext>
            </a:extLst>
          </p:cNvPr>
          <p:cNvGrpSpPr/>
          <p:nvPr/>
        </p:nvGrpSpPr>
        <p:grpSpPr>
          <a:xfrm>
            <a:off x="6878530" y="3059778"/>
            <a:ext cx="238089" cy="238089"/>
            <a:chOff x="5596681" y="4370982"/>
            <a:chExt cx="219053" cy="219053"/>
          </a:xfrm>
        </p:grpSpPr>
        <p:sp>
          <p:nvSpPr>
            <p:cNvPr id="129" name="Oval 261">
              <a:extLst>
                <a:ext uri="{FF2B5EF4-FFF2-40B4-BE49-F238E27FC236}">
                  <a16:creationId xmlns:a16="http://schemas.microsoft.com/office/drawing/2014/main" id="{543F522F-41C4-4F49-8EEB-E8E871D1BB1F}"/>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30" name="Graphic 256" descr="Key">
              <a:extLst>
                <a:ext uri="{FF2B5EF4-FFF2-40B4-BE49-F238E27FC236}">
                  <a16:creationId xmlns:a16="http://schemas.microsoft.com/office/drawing/2014/main" id="{B02AEAE6-BCAA-4309-AAEC-5A656375293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31" name="Group 130">
            <a:extLst>
              <a:ext uri="{FF2B5EF4-FFF2-40B4-BE49-F238E27FC236}">
                <a16:creationId xmlns:a16="http://schemas.microsoft.com/office/drawing/2014/main" id="{7D308645-86F0-4CAF-8B29-C720D62C0AE5}"/>
              </a:ext>
            </a:extLst>
          </p:cNvPr>
          <p:cNvGrpSpPr/>
          <p:nvPr/>
        </p:nvGrpSpPr>
        <p:grpSpPr>
          <a:xfrm>
            <a:off x="7818574" y="3056913"/>
            <a:ext cx="238089" cy="238089"/>
            <a:chOff x="7392213" y="5423333"/>
            <a:chExt cx="289746" cy="289746"/>
          </a:xfrm>
        </p:grpSpPr>
        <p:sp>
          <p:nvSpPr>
            <p:cNvPr id="132" name="Oval 261">
              <a:extLst>
                <a:ext uri="{FF2B5EF4-FFF2-40B4-BE49-F238E27FC236}">
                  <a16:creationId xmlns:a16="http://schemas.microsoft.com/office/drawing/2014/main" id="{E4AB2565-56FA-4CC6-B8CF-B60E4E34EEAB}"/>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33" name="Graphic 259" descr="Tools">
              <a:extLst>
                <a:ext uri="{FF2B5EF4-FFF2-40B4-BE49-F238E27FC236}">
                  <a16:creationId xmlns:a16="http://schemas.microsoft.com/office/drawing/2014/main" id="{54F6E6C8-4156-40EA-8AB7-5A0E45DED0E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134" name="Group 133">
            <a:extLst>
              <a:ext uri="{FF2B5EF4-FFF2-40B4-BE49-F238E27FC236}">
                <a16:creationId xmlns:a16="http://schemas.microsoft.com/office/drawing/2014/main" id="{3F176820-FAE2-46C8-B585-F52C2B80E5B9}"/>
              </a:ext>
            </a:extLst>
          </p:cNvPr>
          <p:cNvGrpSpPr/>
          <p:nvPr/>
        </p:nvGrpSpPr>
        <p:grpSpPr>
          <a:xfrm>
            <a:off x="8829362" y="3059778"/>
            <a:ext cx="238089" cy="238089"/>
            <a:chOff x="5596681" y="4370982"/>
            <a:chExt cx="219053" cy="219053"/>
          </a:xfrm>
        </p:grpSpPr>
        <p:sp>
          <p:nvSpPr>
            <p:cNvPr id="135" name="Oval 261">
              <a:extLst>
                <a:ext uri="{FF2B5EF4-FFF2-40B4-BE49-F238E27FC236}">
                  <a16:creationId xmlns:a16="http://schemas.microsoft.com/office/drawing/2014/main" id="{F6BD44CD-BB58-412A-A6EB-495421708189}"/>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36" name="Graphic 256" descr="Key">
              <a:extLst>
                <a:ext uri="{FF2B5EF4-FFF2-40B4-BE49-F238E27FC236}">
                  <a16:creationId xmlns:a16="http://schemas.microsoft.com/office/drawing/2014/main" id="{7F8534BF-AA6F-4B3D-A2DE-0008B499032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37" name="Group 136">
            <a:extLst>
              <a:ext uri="{FF2B5EF4-FFF2-40B4-BE49-F238E27FC236}">
                <a16:creationId xmlns:a16="http://schemas.microsoft.com/office/drawing/2014/main" id="{72482F28-EBC4-483A-87E3-E03B89006586}"/>
              </a:ext>
            </a:extLst>
          </p:cNvPr>
          <p:cNvGrpSpPr/>
          <p:nvPr/>
        </p:nvGrpSpPr>
        <p:grpSpPr>
          <a:xfrm>
            <a:off x="9954297" y="3059778"/>
            <a:ext cx="238089" cy="238089"/>
            <a:chOff x="5596681" y="4370982"/>
            <a:chExt cx="219053" cy="219053"/>
          </a:xfrm>
        </p:grpSpPr>
        <p:sp>
          <p:nvSpPr>
            <p:cNvPr id="138" name="Oval 261">
              <a:extLst>
                <a:ext uri="{FF2B5EF4-FFF2-40B4-BE49-F238E27FC236}">
                  <a16:creationId xmlns:a16="http://schemas.microsoft.com/office/drawing/2014/main" id="{6D33BE7D-E8B4-40D0-9EDE-83DDEA92A424}"/>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39" name="Graphic 256" descr="Key">
              <a:extLst>
                <a:ext uri="{FF2B5EF4-FFF2-40B4-BE49-F238E27FC236}">
                  <a16:creationId xmlns:a16="http://schemas.microsoft.com/office/drawing/2014/main" id="{44B41C90-2611-4370-A69D-E161D6703F3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40" name="Group 139">
            <a:extLst>
              <a:ext uri="{FF2B5EF4-FFF2-40B4-BE49-F238E27FC236}">
                <a16:creationId xmlns:a16="http://schemas.microsoft.com/office/drawing/2014/main" id="{D122DC6D-ADAB-4169-9DF9-E5F976E95903}"/>
              </a:ext>
            </a:extLst>
          </p:cNvPr>
          <p:cNvGrpSpPr/>
          <p:nvPr/>
        </p:nvGrpSpPr>
        <p:grpSpPr>
          <a:xfrm>
            <a:off x="11018066" y="3056913"/>
            <a:ext cx="238089" cy="238089"/>
            <a:chOff x="7392213" y="5423333"/>
            <a:chExt cx="289746" cy="289746"/>
          </a:xfrm>
        </p:grpSpPr>
        <p:sp>
          <p:nvSpPr>
            <p:cNvPr id="141" name="Oval 261">
              <a:extLst>
                <a:ext uri="{FF2B5EF4-FFF2-40B4-BE49-F238E27FC236}">
                  <a16:creationId xmlns:a16="http://schemas.microsoft.com/office/drawing/2014/main" id="{D67D505F-0A15-4DF7-A96B-1E7A553F26C2}"/>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42" name="Graphic 259" descr="Tools">
              <a:extLst>
                <a:ext uri="{FF2B5EF4-FFF2-40B4-BE49-F238E27FC236}">
                  <a16:creationId xmlns:a16="http://schemas.microsoft.com/office/drawing/2014/main" id="{35D70DA1-532B-4F37-BC57-B6978CED8BFB}"/>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143" name="Group 142">
            <a:extLst>
              <a:ext uri="{FF2B5EF4-FFF2-40B4-BE49-F238E27FC236}">
                <a16:creationId xmlns:a16="http://schemas.microsoft.com/office/drawing/2014/main" id="{021162BF-4BF6-47DA-A38B-6FA102978EAA}"/>
              </a:ext>
            </a:extLst>
          </p:cNvPr>
          <p:cNvGrpSpPr/>
          <p:nvPr/>
        </p:nvGrpSpPr>
        <p:grpSpPr>
          <a:xfrm>
            <a:off x="6144847" y="3619493"/>
            <a:ext cx="238089" cy="238089"/>
            <a:chOff x="5596681" y="4370982"/>
            <a:chExt cx="219053" cy="219053"/>
          </a:xfrm>
        </p:grpSpPr>
        <p:sp>
          <p:nvSpPr>
            <p:cNvPr id="144" name="Oval 261">
              <a:extLst>
                <a:ext uri="{FF2B5EF4-FFF2-40B4-BE49-F238E27FC236}">
                  <a16:creationId xmlns:a16="http://schemas.microsoft.com/office/drawing/2014/main" id="{93AE8F21-8600-41DD-B883-D22B50231945}"/>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45" name="Graphic 256" descr="Key">
              <a:extLst>
                <a:ext uri="{FF2B5EF4-FFF2-40B4-BE49-F238E27FC236}">
                  <a16:creationId xmlns:a16="http://schemas.microsoft.com/office/drawing/2014/main" id="{6E76C1B4-0E85-4EF5-AF92-E15BE371037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46" name="Group 145">
            <a:extLst>
              <a:ext uri="{FF2B5EF4-FFF2-40B4-BE49-F238E27FC236}">
                <a16:creationId xmlns:a16="http://schemas.microsoft.com/office/drawing/2014/main" id="{A324E0F0-6AF7-4443-94B7-381E07496F7E}"/>
              </a:ext>
            </a:extLst>
          </p:cNvPr>
          <p:cNvGrpSpPr/>
          <p:nvPr/>
        </p:nvGrpSpPr>
        <p:grpSpPr>
          <a:xfrm>
            <a:off x="7466628" y="3619493"/>
            <a:ext cx="238089" cy="238089"/>
            <a:chOff x="5596681" y="4370982"/>
            <a:chExt cx="219053" cy="219053"/>
          </a:xfrm>
        </p:grpSpPr>
        <p:sp>
          <p:nvSpPr>
            <p:cNvPr id="147" name="Oval 261">
              <a:extLst>
                <a:ext uri="{FF2B5EF4-FFF2-40B4-BE49-F238E27FC236}">
                  <a16:creationId xmlns:a16="http://schemas.microsoft.com/office/drawing/2014/main" id="{060DB95B-7DEF-41C6-9958-642E5BF9AABE}"/>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48" name="Graphic 256" descr="Key">
              <a:extLst>
                <a:ext uri="{FF2B5EF4-FFF2-40B4-BE49-F238E27FC236}">
                  <a16:creationId xmlns:a16="http://schemas.microsoft.com/office/drawing/2014/main" id="{0E650C52-B73C-4FB0-B191-074A237F643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49" name="Group 148">
            <a:extLst>
              <a:ext uri="{FF2B5EF4-FFF2-40B4-BE49-F238E27FC236}">
                <a16:creationId xmlns:a16="http://schemas.microsoft.com/office/drawing/2014/main" id="{5654A5C1-742E-43F1-80C6-29DE24BF97D4}"/>
              </a:ext>
            </a:extLst>
          </p:cNvPr>
          <p:cNvGrpSpPr/>
          <p:nvPr/>
        </p:nvGrpSpPr>
        <p:grpSpPr>
          <a:xfrm>
            <a:off x="8556907" y="3619493"/>
            <a:ext cx="238089" cy="238089"/>
            <a:chOff x="5596681" y="4370982"/>
            <a:chExt cx="219053" cy="219053"/>
          </a:xfrm>
        </p:grpSpPr>
        <p:sp>
          <p:nvSpPr>
            <p:cNvPr id="150" name="Oval 261">
              <a:extLst>
                <a:ext uri="{FF2B5EF4-FFF2-40B4-BE49-F238E27FC236}">
                  <a16:creationId xmlns:a16="http://schemas.microsoft.com/office/drawing/2014/main" id="{F201C8F7-80A6-490C-95CB-610E538244DA}"/>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51" name="Graphic 256" descr="Key">
              <a:extLst>
                <a:ext uri="{FF2B5EF4-FFF2-40B4-BE49-F238E27FC236}">
                  <a16:creationId xmlns:a16="http://schemas.microsoft.com/office/drawing/2014/main" id="{7AF6F0C1-3E18-4F57-AC7B-69CD6858586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52" name="Group 151">
            <a:extLst>
              <a:ext uri="{FF2B5EF4-FFF2-40B4-BE49-F238E27FC236}">
                <a16:creationId xmlns:a16="http://schemas.microsoft.com/office/drawing/2014/main" id="{AAE708E0-0E55-4945-9183-79255554A59B}"/>
              </a:ext>
            </a:extLst>
          </p:cNvPr>
          <p:cNvGrpSpPr/>
          <p:nvPr/>
        </p:nvGrpSpPr>
        <p:grpSpPr>
          <a:xfrm>
            <a:off x="9691159" y="3619493"/>
            <a:ext cx="238089" cy="238089"/>
            <a:chOff x="5596681" y="4370982"/>
            <a:chExt cx="219053" cy="219053"/>
          </a:xfrm>
        </p:grpSpPr>
        <p:sp>
          <p:nvSpPr>
            <p:cNvPr id="153" name="Oval 261">
              <a:extLst>
                <a:ext uri="{FF2B5EF4-FFF2-40B4-BE49-F238E27FC236}">
                  <a16:creationId xmlns:a16="http://schemas.microsoft.com/office/drawing/2014/main" id="{D032FCB0-93E3-4033-86C6-1545C8B6BFFA}"/>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54" name="Graphic 256" descr="Key">
              <a:extLst>
                <a:ext uri="{FF2B5EF4-FFF2-40B4-BE49-F238E27FC236}">
                  <a16:creationId xmlns:a16="http://schemas.microsoft.com/office/drawing/2014/main" id="{E02E20AC-3266-4C1C-A5A8-63BB52E2145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55" name="Group 154">
            <a:extLst>
              <a:ext uri="{FF2B5EF4-FFF2-40B4-BE49-F238E27FC236}">
                <a16:creationId xmlns:a16="http://schemas.microsoft.com/office/drawing/2014/main" id="{6ED6AACD-CE24-49FD-82FC-864B012185A6}"/>
              </a:ext>
            </a:extLst>
          </p:cNvPr>
          <p:cNvGrpSpPr/>
          <p:nvPr/>
        </p:nvGrpSpPr>
        <p:grpSpPr>
          <a:xfrm>
            <a:off x="10910208" y="3619493"/>
            <a:ext cx="238089" cy="238089"/>
            <a:chOff x="5596681" y="4370982"/>
            <a:chExt cx="219053" cy="219053"/>
          </a:xfrm>
        </p:grpSpPr>
        <p:sp>
          <p:nvSpPr>
            <p:cNvPr id="156" name="Oval 261">
              <a:extLst>
                <a:ext uri="{FF2B5EF4-FFF2-40B4-BE49-F238E27FC236}">
                  <a16:creationId xmlns:a16="http://schemas.microsoft.com/office/drawing/2014/main" id="{3F2108F1-D676-41AD-B9EA-1C14A753252C}"/>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57" name="Graphic 256" descr="Key">
              <a:extLst>
                <a:ext uri="{FF2B5EF4-FFF2-40B4-BE49-F238E27FC236}">
                  <a16:creationId xmlns:a16="http://schemas.microsoft.com/office/drawing/2014/main" id="{6C86D052-A1F4-4559-90CB-F28F4AA81D4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58" name="Group 157">
            <a:extLst>
              <a:ext uri="{FF2B5EF4-FFF2-40B4-BE49-F238E27FC236}">
                <a16:creationId xmlns:a16="http://schemas.microsoft.com/office/drawing/2014/main" id="{CDA6A184-086C-4C56-A2CA-5958319DE51F}"/>
              </a:ext>
            </a:extLst>
          </p:cNvPr>
          <p:cNvGrpSpPr/>
          <p:nvPr/>
        </p:nvGrpSpPr>
        <p:grpSpPr>
          <a:xfrm>
            <a:off x="4905330" y="3656698"/>
            <a:ext cx="238089" cy="238089"/>
            <a:chOff x="7392213" y="5423333"/>
            <a:chExt cx="289746" cy="289746"/>
          </a:xfrm>
        </p:grpSpPr>
        <p:sp>
          <p:nvSpPr>
            <p:cNvPr id="159" name="Oval 261">
              <a:extLst>
                <a:ext uri="{FF2B5EF4-FFF2-40B4-BE49-F238E27FC236}">
                  <a16:creationId xmlns:a16="http://schemas.microsoft.com/office/drawing/2014/main" id="{28B40EDE-74E4-48E1-8847-91E3A0122A3B}"/>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60" name="Graphic 259" descr="Tools">
              <a:extLst>
                <a:ext uri="{FF2B5EF4-FFF2-40B4-BE49-F238E27FC236}">
                  <a16:creationId xmlns:a16="http://schemas.microsoft.com/office/drawing/2014/main" id="{7DF79A37-C812-496F-93B4-8B3E5C38136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161" name="Group 160">
            <a:extLst>
              <a:ext uri="{FF2B5EF4-FFF2-40B4-BE49-F238E27FC236}">
                <a16:creationId xmlns:a16="http://schemas.microsoft.com/office/drawing/2014/main" id="{ECD11962-5245-401A-830A-5CCE39F31621}"/>
              </a:ext>
            </a:extLst>
          </p:cNvPr>
          <p:cNvGrpSpPr/>
          <p:nvPr/>
        </p:nvGrpSpPr>
        <p:grpSpPr>
          <a:xfrm>
            <a:off x="4898515" y="4305122"/>
            <a:ext cx="238089" cy="238089"/>
            <a:chOff x="5596681" y="4370982"/>
            <a:chExt cx="219053" cy="219053"/>
          </a:xfrm>
        </p:grpSpPr>
        <p:sp>
          <p:nvSpPr>
            <p:cNvPr id="162" name="Oval 261">
              <a:extLst>
                <a:ext uri="{FF2B5EF4-FFF2-40B4-BE49-F238E27FC236}">
                  <a16:creationId xmlns:a16="http://schemas.microsoft.com/office/drawing/2014/main" id="{770D944F-E256-4E74-8685-BC8651526174}"/>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63" name="Graphic 256" descr="Key">
              <a:extLst>
                <a:ext uri="{FF2B5EF4-FFF2-40B4-BE49-F238E27FC236}">
                  <a16:creationId xmlns:a16="http://schemas.microsoft.com/office/drawing/2014/main" id="{4B735620-173A-4C01-B5E8-252E146B64B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64" name="Group 163">
            <a:extLst>
              <a:ext uri="{FF2B5EF4-FFF2-40B4-BE49-F238E27FC236}">
                <a16:creationId xmlns:a16="http://schemas.microsoft.com/office/drawing/2014/main" id="{16B77169-D84F-4635-A531-80C5EB9EF9A9}"/>
              </a:ext>
            </a:extLst>
          </p:cNvPr>
          <p:cNvGrpSpPr/>
          <p:nvPr/>
        </p:nvGrpSpPr>
        <p:grpSpPr>
          <a:xfrm>
            <a:off x="5732461" y="4305122"/>
            <a:ext cx="238089" cy="238089"/>
            <a:chOff x="5596681" y="4370982"/>
            <a:chExt cx="219053" cy="219053"/>
          </a:xfrm>
        </p:grpSpPr>
        <p:sp>
          <p:nvSpPr>
            <p:cNvPr id="165" name="Oval 261">
              <a:extLst>
                <a:ext uri="{FF2B5EF4-FFF2-40B4-BE49-F238E27FC236}">
                  <a16:creationId xmlns:a16="http://schemas.microsoft.com/office/drawing/2014/main" id="{6BE86B27-3EAE-4068-A66D-A6261456F3F7}"/>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66" name="Graphic 256" descr="Key">
              <a:extLst>
                <a:ext uri="{FF2B5EF4-FFF2-40B4-BE49-F238E27FC236}">
                  <a16:creationId xmlns:a16="http://schemas.microsoft.com/office/drawing/2014/main" id="{D72D965F-ED54-48E2-A587-F47472F1A4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67" name="Group 166">
            <a:extLst>
              <a:ext uri="{FF2B5EF4-FFF2-40B4-BE49-F238E27FC236}">
                <a16:creationId xmlns:a16="http://schemas.microsoft.com/office/drawing/2014/main" id="{BD3316AC-463F-4B3B-BA86-0EBCE5B99B25}"/>
              </a:ext>
            </a:extLst>
          </p:cNvPr>
          <p:cNvGrpSpPr/>
          <p:nvPr/>
        </p:nvGrpSpPr>
        <p:grpSpPr>
          <a:xfrm>
            <a:off x="6606890" y="4305122"/>
            <a:ext cx="238089" cy="238089"/>
            <a:chOff x="5596681" y="4370982"/>
            <a:chExt cx="219053" cy="219053"/>
          </a:xfrm>
        </p:grpSpPr>
        <p:sp>
          <p:nvSpPr>
            <p:cNvPr id="168" name="Oval 261">
              <a:extLst>
                <a:ext uri="{FF2B5EF4-FFF2-40B4-BE49-F238E27FC236}">
                  <a16:creationId xmlns:a16="http://schemas.microsoft.com/office/drawing/2014/main" id="{A580FE59-2B1E-4D9F-87FD-C9C0593B5136}"/>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69" name="Graphic 256" descr="Key">
              <a:extLst>
                <a:ext uri="{FF2B5EF4-FFF2-40B4-BE49-F238E27FC236}">
                  <a16:creationId xmlns:a16="http://schemas.microsoft.com/office/drawing/2014/main" id="{7CD66731-A571-42EC-82D6-3285E1D407F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70" name="Group 169">
            <a:extLst>
              <a:ext uri="{FF2B5EF4-FFF2-40B4-BE49-F238E27FC236}">
                <a16:creationId xmlns:a16="http://schemas.microsoft.com/office/drawing/2014/main" id="{6714A388-F5E3-41B4-B33E-90C0B5BE99FF}"/>
              </a:ext>
            </a:extLst>
          </p:cNvPr>
          <p:cNvGrpSpPr/>
          <p:nvPr/>
        </p:nvGrpSpPr>
        <p:grpSpPr>
          <a:xfrm>
            <a:off x="7478339" y="4305122"/>
            <a:ext cx="238089" cy="238089"/>
            <a:chOff x="5596681" y="4370982"/>
            <a:chExt cx="219053" cy="219053"/>
          </a:xfrm>
        </p:grpSpPr>
        <p:sp>
          <p:nvSpPr>
            <p:cNvPr id="171" name="Oval 261">
              <a:extLst>
                <a:ext uri="{FF2B5EF4-FFF2-40B4-BE49-F238E27FC236}">
                  <a16:creationId xmlns:a16="http://schemas.microsoft.com/office/drawing/2014/main" id="{995B8589-CA9E-4F1A-903D-79B4D14E7E01}"/>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72" name="Graphic 256" descr="Key">
              <a:extLst>
                <a:ext uri="{FF2B5EF4-FFF2-40B4-BE49-F238E27FC236}">
                  <a16:creationId xmlns:a16="http://schemas.microsoft.com/office/drawing/2014/main" id="{7E8AD46A-6F92-4A23-AEE0-4C11579B169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73" name="Group 172">
            <a:extLst>
              <a:ext uri="{FF2B5EF4-FFF2-40B4-BE49-F238E27FC236}">
                <a16:creationId xmlns:a16="http://schemas.microsoft.com/office/drawing/2014/main" id="{88480A08-5096-428A-87AA-0D8D2C529BF9}"/>
              </a:ext>
            </a:extLst>
          </p:cNvPr>
          <p:cNvGrpSpPr/>
          <p:nvPr/>
        </p:nvGrpSpPr>
        <p:grpSpPr>
          <a:xfrm>
            <a:off x="8461084" y="4305122"/>
            <a:ext cx="238089" cy="238089"/>
            <a:chOff x="5596681" y="4370982"/>
            <a:chExt cx="219053" cy="219053"/>
          </a:xfrm>
        </p:grpSpPr>
        <p:sp>
          <p:nvSpPr>
            <p:cNvPr id="174" name="Oval 261">
              <a:extLst>
                <a:ext uri="{FF2B5EF4-FFF2-40B4-BE49-F238E27FC236}">
                  <a16:creationId xmlns:a16="http://schemas.microsoft.com/office/drawing/2014/main" id="{4B2A6E07-7770-4CE6-A208-EFEED742146D}"/>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75" name="Graphic 256" descr="Key">
              <a:extLst>
                <a:ext uri="{FF2B5EF4-FFF2-40B4-BE49-F238E27FC236}">
                  <a16:creationId xmlns:a16="http://schemas.microsoft.com/office/drawing/2014/main" id="{D3F3B8C9-C1F1-4E0F-A513-6875D4F9BADF}"/>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76" name="Group 175">
            <a:extLst>
              <a:ext uri="{FF2B5EF4-FFF2-40B4-BE49-F238E27FC236}">
                <a16:creationId xmlns:a16="http://schemas.microsoft.com/office/drawing/2014/main" id="{E56A8B4C-B676-44F2-9247-8CF27ABB1F4D}"/>
              </a:ext>
            </a:extLst>
          </p:cNvPr>
          <p:cNvGrpSpPr/>
          <p:nvPr/>
        </p:nvGrpSpPr>
        <p:grpSpPr>
          <a:xfrm>
            <a:off x="9295030" y="4305122"/>
            <a:ext cx="238089" cy="238089"/>
            <a:chOff x="5596681" y="4370982"/>
            <a:chExt cx="219053" cy="219053"/>
          </a:xfrm>
        </p:grpSpPr>
        <p:sp>
          <p:nvSpPr>
            <p:cNvPr id="177" name="Oval 261">
              <a:extLst>
                <a:ext uri="{FF2B5EF4-FFF2-40B4-BE49-F238E27FC236}">
                  <a16:creationId xmlns:a16="http://schemas.microsoft.com/office/drawing/2014/main" id="{9F02B7D3-E39C-4F09-8FED-2891FEAA418B}"/>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78" name="Graphic 256" descr="Key">
              <a:extLst>
                <a:ext uri="{FF2B5EF4-FFF2-40B4-BE49-F238E27FC236}">
                  <a16:creationId xmlns:a16="http://schemas.microsoft.com/office/drawing/2014/main" id="{ED9A1ADC-78F4-4660-A856-B00FEB6CDC9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79" name="Group 178">
            <a:extLst>
              <a:ext uri="{FF2B5EF4-FFF2-40B4-BE49-F238E27FC236}">
                <a16:creationId xmlns:a16="http://schemas.microsoft.com/office/drawing/2014/main" id="{552EA387-98AC-416F-8804-05050D613850}"/>
              </a:ext>
            </a:extLst>
          </p:cNvPr>
          <p:cNvGrpSpPr/>
          <p:nvPr/>
        </p:nvGrpSpPr>
        <p:grpSpPr>
          <a:xfrm>
            <a:off x="10169459" y="4305122"/>
            <a:ext cx="238089" cy="238089"/>
            <a:chOff x="5596681" y="4370982"/>
            <a:chExt cx="219053" cy="219053"/>
          </a:xfrm>
        </p:grpSpPr>
        <p:sp>
          <p:nvSpPr>
            <p:cNvPr id="180" name="Oval 261">
              <a:extLst>
                <a:ext uri="{FF2B5EF4-FFF2-40B4-BE49-F238E27FC236}">
                  <a16:creationId xmlns:a16="http://schemas.microsoft.com/office/drawing/2014/main" id="{7DD4AA14-66E2-4794-A81F-1A6FB2C3A690}"/>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81" name="Graphic 256" descr="Key">
              <a:extLst>
                <a:ext uri="{FF2B5EF4-FFF2-40B4-BE49-F238E27FC236}">
                  <a16:creationId xmlns:a16="http://schemas.microsoft.com/office/drawing/2014/main" id="{7FA851C0-F202-496E-A779-F96134EABE3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82" name="Group 181">
            <a:extLst>
              <a:ext uri="{FF2B5EF4-FFF2-40B4-BE49-F238E27FC236}">
                <a16:creationId xmlns:a16="http://schemas.microsoft.com/office/drawing/2014/main" id="{1C1B2552-ED68-42E2-955D-7A36C77C0A9F}"/>
              </a:ext>
            </a:extLst>
          </p:cNvPr>
          <p:cNvGrpSpPr/>
          <p:nvPr/>
        </p:nvGrpSpPr>
        <p:grpSpPr>
          <a:xfrm>
            <a:off x="11040908" y="4305122"/>
            <a:ext cx="238089" cy="238089"/>
            <a:chOff x="5596681" y="4370982"/>
            <a:chExt cx="219053" cy="219053"/>
          </a:xfrm>
        </p:grpSpPr>
        <p:sp>
          <p:nvSpPr>
            <p:cNvPr id="183" name="Oval 261">
              <a:extLst>
                <a:ext uri="{FF2B5EF4-FFF2-40B4-BE49-F238E27FC236}">
                  <a16:creationId xmlns:a16="http://schemas.microsoft.com/office/drawing/2014/main" id="{8E66D352-825C-42DB-BFE4-89F230023104}"/>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84" name="Graphic 256" descr="Key">
              <a:extLst>
                <a:ext uri="{FF2B5EF4-FFF2-40B4-BE49-F238E27FC236}">
                  <a16:creationId xmlns:a16="http://schemas.microsoft.com/office/drawing/2014/main" id="{81A5BA15-A639-4101-AA12-4007291028D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85" name="Group 184">
            <a:extLst>
              <a:ext uri="{FF2B5EF4-FFF2-40B4-BE49-F238E27FC236}">
                <a16:creationId xmlns:a16="http://schemas.microsoft.com/office/drawing/2014/main" id="{26D58FE2-36A1-4646-B16C-17246326B790}"/>
              </a:ext>
            </a:extLst>
          </p:cNvPr>
          <p:cNvGrpSpPr/>
          <p:nvPr/>
        </p:nvGrpSpPr>
        <p:grpSpPr>
          <a:xfrm>
            <a:off x="4827123" y="4960640"/>
            <a:ext cx="238089" cy="238089"/>
            <a:chOff x="5596681" y="4370982"/>
            <a:chExt cx="219053" cy="219053"/>
          </a:xfrm>
        </p:grpSpPr>
        <p:sp>
          <p:nvSpPr>
            <p:cNvPr id="186" name="Oval 261">
              <a:extLst>
                <a:ext uri="{FF2B5EF4-FFF2-40B4-BE49-F238E27FC236}">
                  <a16:creationId xmlns:a16="http://schemas.microsoft.com/office/drawing/2014/main" id="{D587BB87-1056-484E-842E-C9F717E8B215}"/>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87" name="Graphic 256" descr="Key">
              <a:extLst>
                <a:ext uri="{FF2B5EF4-FFF2-40B4-BE49-F238E27FC236}">
                  <a16:creationId xmlns:a16="http://schemas.microsoft.com/office/drawing/2014/main" id="{CE8A52CA-226D-4326-B491-B7289D3116E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88" name="Group 187">
            <a:extLst>
              <a:ext uri="{FF2B5EF4-FFF2-40B4-BE49-F238E27FC236}">
                <a16:creationId xmlns:a16="http://schemas.microsoft.com/office/drawing/2014/main" id="{8701784E-4C41-44CB-B04C-4EDDD6721067}"/>
              </a:ext>
            </a:extLst>
          </p:cNvPr>
          <p:cNvGrpSpPr/>
          <p:nvPr/>
        </p:nvGrpSpPr>
        <p:grpSpPr>
          <a:xfrm>
            <a:off x="5415232" y="4960640"/>
            <a:ext cx="238089" cy="238089"/>
            <a:chOff x="5596681" y="4370982"/>
            <a:chExt cx="219053" cy="219053"/>
          </a:xfrm>
        </p:grpSpPr>
        <p:sp>
          <p:nvSpPr>
            <p:cNvPr id="189" name="Oval 261">
              <a:extLst>
                <a:ext uri="{FF2B5EF4-FFF2-40B4-BE49-F238E27FC236}">
                  <a16:creationId xmlns:a16="http://schemas.microsoft.com/office/drawing/2014/main" id="{7ACFFD44-0989-4FB1-821A-2078FC9DE70B}"/>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90" name="Graphic 256" descr="Key">
              <a:extLst>
                <a:ext uri="{FF2B5EF4-FFF2-40B4-BE49-F238E27FC236}">
                  <a16:creationId xmlns:a16="http://schemas.microsoft.com/office/drawing/2014/main" id="{836156AF-4C21-4300-8544-0CC4ABEA2FA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91" name="Group 190">
            <a:extLst>
              <a:ext uri="{FF2B5EF4-FFF2-40B4-BE49-F238E27FC236}">
                <a16:creationId xmlns:a16="http://schemas.microsoft.com/office/drawing/2014/main" id="{12CFB3FB-AA82-453B-BAC6-578E1553F775}"/>
              </a:ext>
            </a:extLst>
          </p:cNvPr>
          <p:cNvGrpSpPr/>
          <p:nvPr/>
        </p:nvGrpSpPr>
        <p:grpSpPr>
          <a:xfrm>
            <a:off x="6249813" y="4967425"/>
            <a:ext cx="238089" cy="238089"/>
            <a:chOff x="5596681" y="4370982"/>
            <a:chExt cx="219053" cy="219053"/>
          </a:xfrm>
        </p:grpSpPr>
        <p:sp>
          <p:nvSpPr>
            <p:cNvPr id="192" name="Oval 261">
              <a:extLst>
                <a:ext uri="{FF2B5EF4-FFF2-40B4-BE49-F238E27FC236}">
                  <a16:creationId xmlns:a16="http://schemas.microsoft.com/office/drawing/2014/main" id="{ECE7CD4E-F0F9-4164-B900-243658F8EF1F}"/>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93" name="Graphic 256" descr="Key">
              <a:extLst>
                <a:ext uri="{FF2B5EF4-FFF2-40B4-BE49-F238E27FC236}">
                  <a16:creationId xmlns:a16="http://schemas.microsoft.com/office/drawing/2014/main" id="{055B115B-2001-4468-8FF6-017858AE80B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94" name="Group 193">
            <a:extLst>
              <a:ext uri="{FF2B5EF4-FFF2-40B4-BE49-F238E27FC236}">
                <a16:creationId xmlns:a16="http://schemas.microsoft.com/office/drawing/2014/main" id="{9DD5119A-586A-4701-AE1A-AD1CDF64A6CC}"/>
              </a:ext>
            </a:extLst>
          </p:cNvPr>
          <p:cNvGrpSpPr/>
          <p:nvPr/>
        </p:nvGrpSpPr>
        <p:grpSpPr>
          <a:xfrm>
            <a:off x="7180657" y="4960640"/>
            <a:ext cx="238089" cy="238089"/>
            <a:chOff x="5596681" y="4370982"/>
            <a:chExt cx="219053" cy="219053"/>
          </a:xfrm>
        </p:grpSpPr>
        <p:sp>
          <p:nvSpPr>
            <p:cNvPr id="195" name="Oval 261">
              <a:extLst>
                <a:ext uri="{FF2B5EF4-FFF2-40B4-BE49-F238E27FC236}">
                  <a16:creationId xmlns:a16="http://schemas.microsoft.com/office/drawing/2014/main" id="{DD239623-0687-4ADC-9545-B17C10930622}"/>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96" name="Graphic 256" descr="Key">
              <a:extLst>
                <a:ext uri="{FF2B5EF4-FFF2-40B4-BE49-F238E27FC236}">
                  <a16:creationId xmlns:a16="http://schemas.microsoft.com/office/drawing/2014/main" id="{C3A269EF-A133-4893-B4E0-F0370D3ACD2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197" name="Group 196">
            <a:extLst>
              <a:ext uri="{FF2B5EF4-FFF2-40B4-BE49-F238E27FC236}">
                <a16:creationId xmlns:a16="http://schemas.microsoft.com/office/drawing/2014/main" id="{F0C42FD4-7D8C-4937-A0EE-EA68C99CBD8F}"/>
              </a:ext>
            </a:extLst>
          </p:cNvPr>
          <p:cNvGrpSpPr/>
          <p:nvPr/>
        </p:nvGrpSpPr>
        <p:grpSpPr>
          <a:xfrm>
            <a:off x="7939903" y="4960640"/>
            <a:ext cx="238089" cy="238089"/>
            <a:chOff x="5596681" y="4370982"/>
            <a:chExt cx="219053" cy="219053"/>
          </a:xfrm>
        </p:grpSpPr>
        <p:sp>
          <p:nvSpPr>
            <p:cNvPr id="198" name="Oval 261">
              <a:extLst>
                <a:ext uri="{FF2B5EF4-FFF2-40B4-BE49-F238E27FC236}">
                  <a16:creationId xmlns:a16="http://schemas.microsoft.com/office/drawing/2014/main" id="{8DD16179-5569-4571-A6FA-BFFE7CBB74A8}"/>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199" name="Graphic 256" descr="Key">
              <a:extLst>
                <a:ext uri="{FF2B5EF4-FFF2-40B4-BE49-F238E27FC236}">
                  <a16:creationId xmlns:a16="http://schemas.microsoft.com/office/drawing/2014/main" id="{0F6DE1C9-CA66-421D-A336-86248DB5FB0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200" name="Group 199">
            <a:extLst>
              <a:ext uri="{FF2B5EF4-FFF2-40B4-BE49-F238E27FC236}">
                <a16:creationId xmlns:a16="http://schemas.microsoft.com/office/drawing/2014/main" id="{DC4BE61E-C84A-449A-9991-6F0FFC312BB8}"/>
              </a:ext>
            </a:extLst>
          </p:cNvPr>
          <p:cNvGrpSpPr/>
          <p:nvPr/>
        </p:nvGrpSpPr>
        <p:grpSpPr>
          <a:xfrm>
            <a:off x="8728129" y="4960640"/>
            <a:ext cx="238089" cy="238089"/>
            <a:chOff x="5596681" y="4370982"/>
            <a:chExt cx="219053" cy="219053"/>
          </a:xfrm>
        </p:grpSpPr>
        <p:sp>
          <p:nvSpPr>
            <p:cNvPr id="201" name="Oval 261">
              <a:extLst>
                <a:ext uri="{FF2B5EF4-FFF2-40B4-BE49-F238E27FC236}">
                  <a16:creationId xmlns:a16="http://schemas.microsoft.com/office/drawing/2014/main" id="{DCC68F06-B491-4604-81EB-BC1405EC3CB4}"/>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202" name="Graphic 256" descr="Key">
              <a:extLst>
                <a:ext uri="{FF2B5EF4-FFF2-40B4-BE49-F238E27FC236}">
                  <a16:creationId xmlns:a16="http://schemas.microsoft.com/office/drawing/2014/main" id="{0B6BF0B8-2534-4589-A973-6988535B6FDF}"/>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203" name="Group 202">
            <a:extLst>
              <a:ext uri="{FF2B5EF4-FFF2-40B4-BE49-F238E27FC236}">
                <a16:creationId xmlns:a16="http://schemas.microsoft.com/office/drawing/2014/main" id="{E6CB27B8-2D8A-4F8B-9C59-8ABC06F26AA3}"/>
              </a:ext>
            </a:extLst>
          </p:cNvPr>
          <p:cNvGrpSpPr/>
          <p:nvPr/>
        </p:nvGrpSpPr>
        <p:grpSpPr>
          <a:xfrm>
            <a:off x="9517467" y="4960640"/>
            <a:ext cx="238089" cy="238089"/>
            <a:chOff x="5596681" y="4370982"/>
            <a:chExt cx="219053" cy="219053"/>
          </a:xfrm>
        </p:grpSpPr>
        <p:sp>
          <p:nvSpPr>
            <p:cNvPr id="204" name="Oval 261">
              <a:extLst>
                <a:ext uri="{FF2B5EF4-FFF2-40B4-BE49-F238E27FC236}">
                  <a16:creationId xmlns:a16="http://schemas.microsoft.com/office/drawing/2014/main" id="{7D80FC99-001F-4B43-BFA7-C0C5C912036A}"/>
                </a:ext>
              </a:extLst>
            </p:cNvPr>
            <p:cNvSpPr/>
            <p:nvPr/>
          </p:nvSpPr>
          <p:spPr bwMode="gray">
            <a:xfrm>
              <a:off x="5596681" y="4370982"/>
              <a:ext cx="219053" cy="219053"/>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205" name="Graphic 256" descr="Key">
              <a:extLst>
                <a:ext uri="{FF2B5EF4-FFF2-40B4-BE49-F238E27FC236}">
                  <a16:creationId xmlns:a16="http://schemas.microsoft.com/office/drawing/2014/main" id="{3740A2D9-2663-4232-A5B3-559148C5889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33466" y="4394519"/>
              <a:ext cx="167867" cy="167867"/>
            </a:xfrm>
            <a:prstGeom prst="rect">
              <a:avLst/>
            </a:prstGeom>
          </p:spPr>
        </p:pic>
      </p:grpSp>
      <p:grpSp>
        <p:nvGrpSpPr>
          <p:cNvPr id="206" name="Group 205">
            <a:extLst>
              <a:ext uri="{FF2B5EF4-FFF2-40B4-BE49-F238E27FC236}">
                <a16:creationId xmlns:a16="http://schemas.microsoft.com/office/drawing/2014/main" id="{BBAFE9FB-92DB-4208-B6F9-3A025BCF2BC6}"/>
              </a:ext>
            </a:extLst>
          </p:cNvPr>
          <p:cNvGrpSpPr/>
          <p:nvPr/>
        </p:nvGrpSpPr>
        <p:grpSpPr>
          <a:xfrm>
            <a:off x="10456319" y="4981011"/>
            <a:ext cx="238089" cy="238089"/>
            <a:chOff x="7392213" y="6164431"/>
            <a:chExt cx="289746" cy="289746"/>
          </a:xfrm>
        </p:grpSpPr>
        <p:sp>
          <p:nvSpPr>
            <p:cNvPr id="207" name="Oval 261">
              <a:extLst>
                <a:ext uri="{FF2B5EF4-FFF2-40B4-BE49-F238E27FC236}">
                  <a16:creationId xmlns:a16="http://schemas.microsoft.com/office/drawing/2014/main" id="{EC900AA8-211A-4EE2-850D-F0A906976245}"/>
                </a:ext>
              </a:extLst>
            </p:cNvPr>
            <p:cNvSpPr/>
            <p:nvPr/>
          </p:nvSpPr>
          <p:spPr bwMode="gray">
            <a:xfrm>
              <a:off x="7392213" y="6164431"/>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208" name="Graphic 262" descr="Shopping cart">
              <a:extLst>
                <a:ext uri="{FF2B5EF4-FFF2-40B4-BE49-F238E27FC236}">
                  <a16:creationId xmlns:a16="http://schemas.microsoft.com/office/drawing/2014/main" id="{35060D2F-CA0D-4258-A874-59E33E5B00F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1966" y="6199488"/>
              <a:ext cx="212229" cy="212229"/>
            </a:xfrm>
            <a:prstGeom prst="rect">
              <a:avLst/>
            </a:prstGeom>
          </p:spPr>
        </p:pic>
      </p:grpSp>
      <p:grpSp>
        <p:nvGrpSpPr>
          <p:cNvPr id="209" name="Group 208">
            <a:extLst>
              <a:ext uri="{FF2B5EF4-FFF2-40B4-BE49-F238E27FC236}">
                <a16:creationId xmlns:a16="http://schemas.microsoft.com/office/drawing/2014/main" id="{F0C68330-A93B-46EA-B9C5-9AC6B7470BCA}"/>
              </a:ext>
            </a:extLst>
          </p:cNvPr>
          <p:cNvGrpSpPr/>
          <p:nvPr/>
        </p:nvGrpSpPr>
        <p:grpSpPr>
          <a:xfrm>
            <a:off x="10205546" y="4979486"/>
            <a:ext cx="238089" cy="238089"/>
            <a:chOff x="7392213" y="5423333"/>
            <a:chExt cx="289746" cy="289746"/>
          </a:xfrm>
        </p:grpSpPr>
        <p:sp>
          <p:nvSpPr>
            <p:cNvPr id="210" name="Oval 261">
              <a:extLst>
                <a:ext uri="{FF2B5EF4-FFF2-40B4-BE49-F238E27FC236}">
                  <a16:creationId xmlns:a16="http://schemas.microsoft.com/office/drawing/2014/main" id="{B8C2E3AA-AA50-4CBC-BECD-953795E72B98}"/>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211" name="Graphic 259" descr="Tools">
              <a:extLst>
                <a:ext uri="{FF2B5EF4-FFF2-40B4-BE49-F238E27FC236}">
                  <a16:creationId xmlns:a16="http://schemas.microsoft.com/office/drawing/2014/main" id="{725CF672-DE11-4634-AFF8-86D2F477716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sp>
        <p:nvSpPr>
          <p:cNvPr id="212" name="Title 1">
            <a:extLst>
              <a:ext uri="{FF2B5EF4-FFF2-40B4-BE49-F238E27FC236}">
                <a16:creationId xmlns:a16="http://schemas.microsoft.com/office/drawing/2014/main" id="{175EE1FB-A2ED-4E74-B4B1-F4CCE8046B2C}"/>
              </a:ext>
            </a:extLst>
          </p:cNvPr>
          <p:cNvSpPr txBox="1">
            <a:spLocks/>
          </p:cNvSpPr>
          <p:nvPr/>
        </p:nvSpPr>
        <p:spPr bwMode="gray">
          <a:xfrm>
            <a:off x="617257" y="1441208"/>
            <a:ext cx="1779173" cy="393863"/>
          </a:xfrm>
          <a:prstGeom prst="rect">
            <a:avLst/>
          </a:prstGeom>
          <a:noFill/>
        </p:spPr>
        <p:txBody>
          <a:bodyPr vert="horz" lIns="0" tIns="0" rIns="0" bIns="0" rtlCol="0" anchor="ctr" anchorCtr="0">
            <a:noAutofit/>
          </a:bodyPr>
          <a:lstStyle>
            <a:lvl1pPr algn="l" rtl="0" eaLnBrk="1" fontAlgn="base" hangingPunct="1">
              <a:lnSpc>
                <a:spcPct val="80000"/>
              </a:lnSpc>
              <a:spcBef>
                <a:spcPct val="0"/>
              </a:spcBef>
              <a:spcAft>
                <a:spcPct val="0"/>
              </a:spcAft>
              <a:defRPr sz="1400"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a:lstStyle>
          <a:p>
            <a:pPr marL="0" marR="0" lvl="0" indent="0" algn="l" defTabSz="1206707" rtl="0" eaLnBrk="1" fontAlgn="base" latinLnBrk="0" hangingPunct="1">
              <a:lnSpc>
                <a:spcPct val="100000"/>
              </a:lnSpc>
              <a:spcBef>
                <a:spcPct val="0"/>
              </a:spcBef>
              <a:spcAft>
                <a:spcPct val="0"/>
              </a:spcAft>
              <a:buClrTx/>
              <a:buSzTx/>
              <a:buFontTx/>
              <a:buNone/>
              <a:tabLst/>
              <a:defRPr/>
            </a:pPr>
            <a:r>
              <a:rPr kumimoji="0" lang="en-US" sz="1323" b="1" i="0" u="none" strike="noStrike" kern="100" cap="all" spc="26" normalizeH="0" baseline="0" noProof="0">
                <a:ln>
                  <a:noFill/>
                </a:ln>
                <a:solidFill>
                  <a:prstClr val="black"/>
                </a:solidFill>
                <a:effectLst/>
                <a:uLnTx/>
                <a:uFillTx/>
                <a:latin typeface="adineue TEXT Black"/>
                <a:ea typeface="+mj-ea"/>
                <a:cs typeface="+mj-cs"/>
              </a:rPr>
              <a:t>TECH INVESTMENT </a:t>
            </a:r>
            <a:br>
              <a:rPr kumimoji="0" lang="en-US" sz="1323" b="1" i="0" u="none" strike="noStrike" kern="100" cap="all" spc="26" normalizeH="0" baseline="0" noProof="0">
                <a:ln>
                  <a:noFill/>
                </a:ln>
                <a:solidFill>
                  <a:prstClr val="black"/>
                </a:solidFill>
                <a:effectLst/>
                <a:uLnTx/>
                <a:uFillTx/>
                <a:latin typeface="adineue TEXT Black"/>
                <a:ea typeface="+mj-ea"/>
                <a:cs typeface="+mj-cs"/>
              </a:rPr>
            </a:br>
            <a:r>
              <a:rPr kumimoji="0" lang="en-US" sz="1323" b="1" i="0" u="none" strike="noStrike" kern="100" cap="all" spc="26" normalizeH="0" baseline="0" noProof="0">
                <a:ln>
                  <a:noFill/>
                </a:ln>
                <a:solidFill>
                  <a:prstClr val="black"/>
                </a:solidFill>
                <a:effectLst/>
                <a:uLnTx/>
                <a:uFillTx/>
                <a:latin typeface="adineue TEXT Black"/>
                <a:ea typeface="+mj-ea"/>
                <a:cs typeface="+mj-cs"/>
              </a:rPr>
              <a:t>STRATEGY</a:t>
            </a:r>
          </a:p>
        </p:txBody>
      </p:sp>
      <p:pic>
        <p:nvPicPr>
          <p:cNvPr id="213" name="Graphic 212" descr="Safe">
            <a:extLst>
              <a:ext uri="{FF2B5EF4-FFF2-40B4-BE49-F238E27FC236}">
                <a16:creationId xmlns:a16="http://schemas.microsoft.com/office/drawing/2014/main" id="{E09986E7-ED0E-4C7E-A0F3-2D2A5346A22A}"/>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7524" y="1462026"/>
            <a:ext cx="320492" cy="320492"/>
          </a:xfrm>
          <a:prstGeom prst="rect">
            <a:avLst/>
          </a:prstGeom>
        </p:spPr>
      </p:pic>
      <p:sp>
        <p:nvSpPr>
          <p:cNvPr id="214" name="TextBox 26">
            <a:extLst>
              <a:ext uri="{FF2B5EF4-FFF2-40B4-BE49-F238E27FC236}">
                <a16:creationId xmlns:a16="http://schemas.microsoft.com/office/drawing/2014/main" id="{864284A3-6A7B-4C0E-8B28-B9042702EC62}"/>
              </a:ext>
            </a:extLst>
          </p:cNvPr>
          <p:cNvSpPr txBox="1"/>
          <p:nvPr/>
        </p:nvSpPr>
        <p:spPr>
          <a:xfrm>
            <a:off x="265152" y="2160574"/>
            <a:ext cx="241899" cy="149836"/>
          </a:xfrm>
          <a:prstGeom prst="rect">
            <a:avLst/>
          </a:prstGeom>
          <a:solidFill>
            <a:srgbClr val="C00000"/>
          </a:solidFill>
          <a:ln w="6350" cmpd="sng">
            <a:noFill/>
          </a:ln>
        </p:spPr>
        <p:style>
          <a:lnRef idx="0">
            <a:scrgbClr r="0" g="0" b="0"/>
          </a:lnRef>
          <a:fillRef idx="0">
            <a:scrgbClr r="0" g="0" b="0"/>
          </a:fillRef>
          <a:effectRef idx="0">
            <a:scrgbClr r="0" g="0" b="0"/>
          </a:effectRef>
          <a:fontRef idx="minor">
            <a:schemeClr val="dk1"/>
          </a:fontRef>
        </p:style>
        <p:txBody>
          <a:bodyPr wrap="square" lIns="0" tIns="47498" rIns="0" bIns="0" rtlCol="0" anchor="t" anchorCtr="0"/>
          <a:lstStyle>
            <a:defPPr>
              <a:defRPr lang="en-DE"/>
            </a:defPPr>
            <a:lvl1pPr indent="0" algn="ctr">
              <a:defRPr sz="800" b="1">
                <a:solidFill>
                  <a:schemeClr val="bg1"/>
                </a:solidFill>
                <a:cs typeface="AdihausDIN" panose="020B0504020101020102"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1215248" rtl="0" eaLnBrk="1" fontAlgn="base" latinLnBrk="0" hangingPunct="1">
              <a:lnSpc>
                <a:spcPct val="100000"/>
              </a:lnSpc>
              <a:spcBef>
                <a:spcPct val="0"/>
              </a:spcBef>
              <a:spcAft>
                <a:spcPct val="0"/>
              </a:spcAft>
              <a:buClrTx/>
              <a:buSzTx/>
              <a:buFontTx/>
              <a:buNone/>
              <a:tabLst/>
              <a:defRPr/>
            </a:pPr>
            <a:endParaRPr kumimoji="0" lang="en-US" sz="529" b="1" i="0" u="none" strike="noStrike" kern="1200" cap="none" spc="0" normalizeH="0" baseline="0" noProof="0">
              <a:ln>
                <a:noFill/>
              </a:ln>
              <a:solidFill>
                <a:prstClr val="black"/>
              </a:solidFill>
              <a:effectLst/>
              <a:uLnTx/>
              <a:uFillTx/>
              <a:latin typeface="Calibri" panose="020F0502020204030204"/>
              <a:ea typeface="+mn-ea"/>
              <a:cs typeface="AdihausDIN" panose="020B0504020101020102" pitchFamily="34" charset="0"/>
            </a:endParaRPr>
          </a:p>
        </p:txBody>
      </p:sp>
      <p:sp>
        <p:nvSpPr>
          <p:cNvPr id="215" name="TextBox 26">
            <a:extLst>
              <a:ext uri="{FF2B5EF4-FFF2-40B4-BE49-F238E27FC236}">
                <a16:creationId xmlns:a16="http://schemas.microsoft.com/office/drawing/2014/main" id="{3B68B3F2-A958-45BA-9B7B-1EB3ABDB8B42}"/>
              </a:ext>
            </a:extLst>
          </p:cNvPr>
          <p:cNvSpPr txBox="1"/>
          <p:nvPr/>
        </p:nvSpPr>
        <p:spPr>
          <a:xfrm>
            <a:off x="264991" y="3577960"/>
            <a:ext cx="241899" cy="149836"/>
          </a:xfrm>
          <a:prstGeom prst="rect">
            <a:avLst/>
          </a:prstGeom>
          <a:solidFill>
            <a:srgbClr val="6F8DB9"/>
          </a:solidFill>
          <a:ln w="6350" cmpd="sng">
            <a:noFill/>
          </a:ln>
        </p:spPr>
        <p:style>
          <a:lnRef idx="0">
            <a:scrgbClr r="0" g="0" b="0"/>
          </a:lnRef>
          <a:fillRef idx="0">
            <a:scrgbClr r="0" g="0" b="0"/>
          </a:fillRef>
          <a:effectRef idx="0">
            <a:scrgbClr r="0" g="0" b="0"/>
          </a:effectRef>
          <a:fontRef idx="minor">
            <a:schemeClr val="dk1"/>
          </a:fontRef>
        </p:style>
        <p:txBody>
          <a:bodyPr wrap="square" lIns="0" tIns="47498" rIns="0" bIns="0" rtlCol="0" anchor="t" anchorCtr="0"/>
          <a:lstStyle>
            <a:defPPr>
              <a:defRPr lang="en-US"/>
            </a:defPPr>
            <a:lvl1pPr indent="0" algn="ctr">
              <a:defRPr sz="600" b="1">
                <a:solidFill>
                  <a:schemeClr val="tx1"/>
                </a:solidFill>
                <a:cs typeface="AdihausDIN" panose="020B0504020101020102"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1215248" rtl="0" eaLnBrk="1" fontAlgn="base" latinLnBrk="0" hangingPunct="1">
              <a:lnSpc>
                <a:spcPct val="100000"/>
              </a:lnSpc>
              <a:spcBef>
                <a:spcPct val="0"/>
              </a:spcBef>
              <a:spcAft>
                <a:spcPct val="0"/>
              </a:spcAft>
              <a:buClrTx/>
              <a:buSzTx/>
              <a:buFontTx/>
              <a:buNone/>
              <a:tabLst/>
              <a:defRPr/>
            </a:pPr>
            <a:endParaRPr kumimoji="0" lang="en-US" sz="529" b="1" i="0" u="none" strike="noStrike" kern="1200" cap="none" spc="0" normalizeH="0" baseline="0" noProof="0">
              <a:ln>
                <a:noFill/>
              </a:ln>
              <a:solidFill>
                <a:prstClr val="black"/>
              </a:solidFill>
              <a:effectLst/>
              <a:uLnTx/>
              <a:uFillTx/>
              <a:latin typeface="Calibri" panose="020F0502020204030204"/>
              <a:ea typeface="+mn-ea"/>
              <a:cs typeface="AdihausDIN" panose="020B0504020101020102" pitchFamily="34" charset="0"/>
            </a:endParaRPr>
          </a:p>
        </p:txBody>
      </p:sp>
      <p:sp>
        <p:nvSpPr>
          <p:cNvPr id="216" name="TextBox 26">
            <a:extLst>
              <a:ext uri="{FF2B5EF4-FFF2-40B4-BE49-F238E27FC236}">
                <a16:creationId xmlns:a16="http://schemas.microsoft.com/office/drawing/2014/main" id="{91A1CB0C-6921-4CFB-B456-E2613D7CEE14}"/>
              </a:ext>
            </a:extLst>
          </p:cNvPr>
          <p:cNvSpPr txBox="1"/>
          <p:nvPr/>
        </p:nvSpPr>
        <p:spPr>
          <a:xfrm>
            <a:off x="275842" y="4912748"/>
            <a:ext cx="241899" cy="149836"/>
          </a:xfrm>
          <a:prstGeom prst="rect">
            <a:avLst/>
          </a:prstGeom>
          <a:solidFill>
            <a:schemeClr val="bg2">
              <a:lumMod val="75000"/>
            </a:schemeClr>
          </a:solidFill>
          <a:ln w="6350" cmpd="sng">
            <a:noFill/>
          </a:ln>
        </p:spPr>
        <p:style>
          <a:lnRef idx="0">
            <a:scrgbClr r="0" g="0" b="0"/>
          </a:lnRef>
          <a:fillRef idx="0">
            <a:scrgbClr r="0" g="0" b="0"/>
          </a:fillRef>
          <a:effectRef idx="0">
            <a:scrgbClr r="0" g="0" b="0"/>
          </a:effectRef>
          <a:fontRef idx="minor">
            <a:schemeClr val="dk1"/>
          </a:fontRef>
        </p:style>
        <p:txBody>
          <a:bodyPr wrap="square" lIns="0" tIns="47498" rIns="0" bIns="0" rtlCol="0" anchor="t"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1215248" rtl="0" eaLnBrk="1" fontAlgn="base" latinLnBrk="0" hangingPunct="1">
              <a:lnSpc>
                <a:spcPct val="100000"/>
              </a:lnSpc>
              <a:spcBef>
                <a:spcPct val="0"/>
              </a:spcBef>
              <a:spcAft>
                <a:spcPct val="0"/>
              </a:spcAft>
              <a:buClrTx/>
              <a:buSzTx/>
              <a:buFontTx/>
              <a:buNone/>
              <a:tabLst/>
              <a:defRPr/>
            </a:pPr>
            <a:endParaRPr kumimoji="0" lang="en-US" sz="529" b="1" i="0" u="none" strike="noStrike" kern="1200" cap="none" spc="0" normalizeH="0" baseline="0" noProof="0">
              <a:ln>
                <a:noFill/>
              </a:ln>
              <a:solidFill>
                <a:prstClr val="black"/>
              </a:solidFill>
              <a:effectLst/>
              <a:uLnTx/>
              <a:uFillTx/>
              <a:latin typeface="Calibri" panose="020F0502020204030204"/>
              <a:ea typeface="+mn-ea"/>
              <a:cs typeface="AdihausDIN" panose="020B0504020101020102" pitchFamily="34" charset="0"/>
            </a:endParaRPr>
          </a:p>
        </p:txBody>
      </p:sp>
      <p:sp>
        <p:nvSpPr>
          <p:cNvPr id="217" name="TextBox 216">
            <a:extLst>
              <a:ext uri="{FF2B5EF4-FFF2-40B4-BE49-F238E27FC236}">
                <a16:creationId xmlns:a16="http://schemas.microsoft.com/office/drawing/2014/main" id="{F53A3ECB-5FCF-41CB-8DD3-35E15C998634}"/>
              </a:ext>
            </a:extLst>
          </p:cNvPr>
          <p:cNvSpPr txBox="1"/>
          <p:nvPr/>
        </p:nvSpPr>
        <p:spPr bwMode="gray">
          <a:xfrm>
            <a:off x="542793" y="2103931"/>
            <a:ext cx="2228214" cy="1063739"/>
          </a:xfrm>
          <a:prstGeom prst="rect">
            <a:avLst/>
          </a:prstGeom>
          <a:noFill/>
          <a:ln>
            <a:noFill/>
          </a:ln>
        </p:spPr>
        <p:txBody>
          <a:bodyPr vert="horz" wrap="square" lIns="95236" tIns="47618" rIns="95236" bIns="47618" rtlCol="0" anchor="t" anchorCtr="0">
            <a:spAutoFit/>
          </a:bodyPr>
          <a:lstStyle/>
          <a:p>
            <a:pPr marL="0" marR="0" lvl="0" indent="0" algn="l" defTabSz="1216675" rtl="0" eaLnBrk="1" fontAlgn="base" latinLnBrk="0" hangingPunct="1">
              <a:lnSpc>
                <a:spcPct val="90000"/>
              </a:lnSpc>
              <a:spcBef>
                <a:spcPct val="0"/>
              </a:spcBef>
              <a:spcAft>
                <a:spcPts val="397"/>
              </a:spcAft>
              <a:buClrTx/>
              <a:buSzTx/>
              <a:buFontTx/>
              <a:buNone/>
              <a:tabLst/>
              <a:defRPr/>
            </a:pPr>
            <a:r>
              <a:rPr kumimoji="0" lang="en-US" sz="1323" b="1" i="0" u="none" strike="noStrike" kern="1200" cap="none" spc="0" normalizeH="0" baseline="0" noProof="0">
                <a:ln>
                  <a:noFill/>
                </a:ln>
                <a:solidFill>
                  <a:srgbClr val="D72332"/>
                </a:solidFill>
                <a:effectLst/>
                <a:uLnTx/>
                <a:uFillTx/>
                <a:latin typeface="Calibri" panose="020F0502020204030204"/>
                <a:ea typeface="+mn-ea"/>
                <a:cs typeface="Arial" charset="0"/>
              </a:rPr>
              <a:t>WIN</a:t>
            </a:r>
          </a:p>
          <a:p>
            <a:pPr marL="0" marR="0" lvl="0" indent="0" algn="l" defTabSz="1216675" rtl="0" eaLnBrk="1" fontAlgn="base" latinLnBrk="0" hangingPunct="1">
              <a:lnSpc>
                <a:spcPct val="90000"/>
              </a:lnSpc>
              <a:spcBef>
                <a:spcPct val="0"/>
              </a:spcBef>
              <a:spcAft>
                <a:spcPct val="0"/>
              </a:spcAft>
              <a:buClrTx/>
              <a:buSzTx/>
              <a:buFontTx/>
              <a:buNone/>
              <a:tabLst/>
              <a:defRPr/>
            </a:pPr>
            <a:r>
              <a:rPr kumimoji="0" lang="en-US" sz="1323" b="0" i="0" u="none" strike="noStrike" kern="1200" cap="none" spc="0" normalizeH="0" baseline="0" noProof="0">
                <a:ln>
                  <a:noFill/>
                </a:ln>
                <a:solidFill>
                  <a:prstClr val="black"/>
                </a:solidFill>
                <a:effectLst/>
                <a:uLnTx/>
                <a:uFillTx/>
                <a:latin typeface="Calibri" panose="020F0502020204030204"/>
                <a:ea typeface="+mn-ea"/>
                <a:cs typeface="Arial" charset="0"/>
              </a:rPr>
              <a:t>Prioritize invest to create differentiated competitive advantage by </a:t>
            </a:r>
            <a:r>
              <a:rPr kumimoji="0" lang="en-US" sz="1323" b="1" i="0" u="none" strike="noStrike" kern="1200" cap="none" spc="0" normalizeH="0" baseline="0" noProof="0">
                <a:ln>
                  <a:noFill/>
                </a:ln>
                <a:solidFill>
                  <a:prstClr val="black"/>
                </a:solidFill>
                <a:effectLst/>
                <a:uLnTx/>
                <a:uFillTx/>
                <a:latin typeface="Calibri" panose="020F0502020204030204"/>
                <a:ea typeface="+mn-ea"/>
                <a:cs typeface="Arial" charset="0"/>
              </a:rPr>
              <a:t>engineering </a:t>
            </a:r>
            <a:br>
              <a:rPr kumimoji="0" lang="en-US" sz="1323" b="1" i="0" u="none" strike="noStrike" kern="1200" cap="none" spc="0" normalizeH="0" baseline="0" noProof="0">
                <a:ln>
                  <a:noFill/>
                </a:ln>
                <a:solidFill>
                  <a:prstClr val="black"/>
                </a:solidFill>
                <a:effectLst/>
                <a:uLnTx/>
                <a:uFillTx/>
                <a:latin typeface="Calibri" panose="020F0502020204030204"/>
                <a:ea typeface="+mn-ea"/>
                <a:cs typeface="Arial" charset="0"/>
              </a:rPr>
            </a:br>
            <a:r>
              <a:rPr kumimoji="0" lang="en-US" sz="1323" b="1" i="0" u="none" strike="noStrike" kern="1200" cap="none" spc="0" normalizeH="0" baseline="0" noProof="0">
                <a:ln>
                  <a:noFill/>
                </a:ln>
                <a:solidFill>
                  <a:prstClr val="black"/>
                </a:solidFill>
                <a:effectLst/>
                <a:uLnTx/>
                <a:uFillTx/>
                <a:latin typeface="Calibri" panose="020F0502020204030204"/>
                <a:ea typeface="+mn-ea"/>
                <a:cs typeface="Arial" charset="0"/>
              </a:rPr>
              <a:t>best-in-class solutions</a:t>
            </a:r>
          </a:p>
        </p:txBody>
      </p:sp>
      <p:sp>
        <p:nvSpPr>
          <p:cNvPr id="218" name="TextBox 217">
            <a:extLst>
              <a:ext uri="{FF2B5EF4-FFF2-40B4-BE49-F238E27FC236}">
                <a16:creationId xmlns:a16="http://schemas.microsoft.com/office/drawing/2014/main" id="{9523C920-8188-487B-B3E5-F1F7663E9FE5}"/>
              </a:ext>
            </a:extLst>
          </p:cNvPr>
          <p:cNvSpPr txBox="1"/>
          <p:nvPr/>
        </p:nvSpPr>
        <p:spPr bwMode="gray">
          <a:xfrm>
            <a:off x="531843" y="3518986"/>
            <a:ext cx="2150155" cy="1063739"/>
          </a:xfrm>
          <a:prstGeom prst="rect">
            <a:avLst/>
          </a:prstGeom>
          <a:noFill/>
          <a:ln>
            <a:noFill/>
          </a:ln>
        </p:spPr>
        <p:txBody>
          <a:bodyPr vert="horz" wrap="square" lIns="95236" tIns="47618" rIns="95236" bIns="47618" rtlCol="0" anchor="t" anchorCtr="0">
            <a:spAutoFit/>
          </a:bodyPr>
          <a:lstStyle/>
          <a:p>
            <a:pPr marL="0" marR="0" lvl="0" indent="0" algn="l" defTabSz="1216675" rtl="0" eaLnBrk="1" fontAlgn="base" latinLnBrk="0" hangingPunct="1">
              <a:lnSpc>
                <a:spcPct val="90000"/>
              </a:lnSpc>
              <a:spcBef>
                <a:spcPct val="0"/>
              </a:spcBef>
              <a:spcAft>
                <a:spcPts val="397"/>
              </a:spcAft>
              <a:buClrTx/>
              <a:buSzTx/>
              <a:buFontTx/>
              <a:buNone/>
              <a:tabLst/>
              <a:defRPr/>
            </a:pPr>
            <a:r>
              <a:rPr kumimoji="0" lang="en-US" sz="1323" b="1" i="0" u="none" strike="noStrike" kern="1200" cap="none" spc="0" normalizeH="0" baseline="0" noProof="0">
                <a:ln>
                  <a:noFill/>
                </a:ln>
                <a:solidFill>
                  <a:srgbClr val="6581AB"/>
                </a:solidFill>
                <a:effectLst/>
                <a:uLnTx/>
                <a:uFillTx/>
                <a:latin typeface="Calibri" panose="020F0502020204030204"/>
                <a:ea typeface="+mn-ea"/>
                <a:cs typeface="Arial" charset="0"/>
              </a:rPr>
              <a:t>COMPETE</a:t>
            </a:r>
          </a:p>
          <a:p>
            <a:pPr marL="0" marR="0" lvl="0" indent="0" algn="l" defTabSz="1216675" rtl="0" eaLnBrk="1" fontAlgn="base" latinLnBrk="0" hangingPunct="1">
              <a:lnSpc>
                <a:spcPct val="90000"/>
              </a:lnSpc>
              <a:spcBef>
                <a:spcPct val="0"/>
              </a:spcBef>
              <a:spcAft>
                <a:spcPts val="397"/>
              </a:spcAft>
              <a:buClrTx/>
              <a:buSzTx/>
              <a:buFontTx/>
              <a:buNone/>
              <a:tabLst/>
              <a:defRPr/>
            </a:pPr>
            <a:r>
              <a:rPr kumimoji="0" lang="en-US" sz="1323" b="0" i="0" u="none" strike="noStrike" kern="1200" cap="none" spc="0" normalizeH="0" baseline="0" noProof="0">
                <a:ln>
                  <a:noFill/>
                </a:ln>
                <a:solidFill>
                  <a:prstClr val="black"/>
                </a:solidFill>
                <a:effectLst/>
                <a:uLnTx/>
                <a:uFillTx/>
                <a:latin typeface="Calibri" panose="020F0502020204030204"/>
                <a:ea typeface="+mn-ea"/>
                <a:cs typeface="Arial" charset="0"/>
              </a:rPr>
              <a:t>Constrain costs by leveraging market leading </a:t>
            </a:r>
            <a:r>
              <a:rPr kumimoji="0" lang="en-US" sz="1323" b="1" i="0" u="none" strike="noStrike" kern="1200" cap="none" spc="0" normalizeH="0" baseline="0" noProof="0">
                <a:ln>
                  <a:noFill/>
                </a:ln>
                <a:solidFill>
                  <a:prstClr val="black"/>
                </a:solidFill>
                <a:effectLst/>
                <a:uLnTx/>
                <a:uFillTx/>
                <a:latin typeface="Calibri" panose="020F0502020204030204"/>
                <a:ea typeface="+mn-ea"/>
                <a:cs typeface="Arial" charset="0"/>
              </a:rPr>
              <a:t>3</a:t>
            </a:r>
            <a:r>
              <a:rPr kumimoji="0" lang="en-US" sz="1323" b="1" i="0" u="none" strike="noStrike" kern="1200" cap="none" spc="0" normalizeH="0" baseline="30000" noProof="0">
                <a:ln>
                  <a:noFill/>
                </a:ln>
                <a:solidFill>
                  <a:prstClr val="black"/>
                </a:solidFill>
                <a:effectLst/>
                <a:uLnTx/>
                <a:uFillTx/>
                <a:latin typeface="Calibri" panose="020F0502020204030204"/>
                <a:ea typeface="+mn-ea"/>
                <a:cs typeface="Arial" charset="0"/>
              </a:rPr>
              <a:t>rd</a:t>
            </a:r>
            <a:r>
              <a:rPr kumimoji="0" lang="en-US" sz="1323" b="1" i="0" u="none" strike="noStrike" kern="1200" cap="none" spc="0" normalizeH="0" baseline="0" noProof="0">
                <a:ln>
                  <a:noFill/>
                </a:ln>
                <a:solidFill>
                  <a:prstClr val="black"/>
                </a:solidFill>
                <a:effectLst/>
                <a:uLnTx/>
                <a:uFillTx/>
                <a:latin typeface="Calibri" panose="020F0502020204030204"/>
                <a:ea typeface="+mn-ea"/>
                <a:cs typeface="Arial" charset="0"/>
              </a:rPr>
              <a:t>-party solutions with limited customization</a:t>
            </a:r>
          </a:p>
        </p:txBody>
      </p:sp>
      <p:sp>
        <p:nvSpPr>
          <p:cNvPr id="219" name="TextBox 218">
            <a:extLst>
              <a:ext uri="{FF2B5EF4-FFF2-40B4-BE49-F238E27FC236}">
                <a16:creationId xmlns:a16="http://schemas.microsoft.com/office/drawing/2014/main" id="{14F011C5-79EF-4D18-8FF0-8102F69FDA21}"/>
              </a:ext>
            </a:extLst>
          </p:cNvPr>
          <p:cNvSpPr txBox="1"/>
          <p:nvPr/>
        </p:nvSpPr>
        <p:spPr bwMode="gray">
          <a:xfrm>
            <a:off x="521910" y="4849939"/>
            <a:ext cx="2138768" cy="880483"/>
          </a:xfrm>
          <a:prstGeom prst="rect">
            <a:avLst/>
          </a:prstGeom>
          <a:noFill/>
          <a:ln>
            <a:noFill/>
          </a:ln>
        </p:spPr>
        <p:txBody>
          <a:bodyPr vert="horz" wrap="square" lIns="95236" tIns="47618" rIns="95236" bIns="47618" rtlCol="0" anchor="t" anchorCtr="0">
            <a:spAutoFit/>
          </a:bodyPr>
          <a:lstStyle/>
          <a:p>
            <a:pPr marL="0" marR="0" lvl="0" indent="0" algn="l" defTabSz="1216675" rtl="0" eaLnBrk="1" fontAlgn="base" latinLnBrk="0" hangingPunct="1">
              <a:lnSpc>
                <a:spcPct val="90000"/>
              </a:lnSpc>
              <a:spcBef>
                <a:spcPct val="0"/>
              </a:spcBef>
              <a:spcAft>
                <a:spcPts val="397"/>
              </a:spcAft>
              <a:buClrTx/>
              <a:buSzTx/>
              <a:buFontTx/>
              <a:buNone/>
              <a:tabLst/>
              <a:defRPr/>
            </a:pPr>
            <a:r>
              <a:rPr kumimoji="0" lang="en-US" sz="1323" b="1" i="0" u="none" strike="noStrike" kern="1200" cap="none" spc="0" normalizeH="0" baseline="0" noProof="0">
                <a:ln>
                  <a:noFill/>
                </a:ln>
                <a:solidFill>
                  <a:srgbClr val="7F7F7F"/>
                </a:solidFill>
                <a:effectLst/>
                <a:uLnTx/>
                <a:uFillTx/>
                <a:latin typeface="Calibri" panose="020F0502020204030204"/>
                <a:ea typeface="+mn-ea"/>
                <a:cs typeface="Arial" charset="0"/>
              </a:rPr>
              <a:t>FOUNDATIONAL</a:t>
            </a:r>
          </a:p>
          <a:p>
            <a:pPr marL="0" marR="0" lvl="0" indent="0" algn="l" defTabSz="1216675" rtl="0" eaLnBrk="1" fontAlgn="base" latinLnBrk="0" hangingPunct="1">
              <a:lnSpc>
                <a:spcPct val="90000"/>
              </a:lnSpc>
              <a:spcBef>
                <a:spcPct val="0"/>
              </a:spcBef>
              <a:spcAft>
                <a:spcPts val="397"/>
              </a:spcAft>
              <a:buClrTx/>
              <a:buSzTx/>
              <a:buFontTx/>
              <a:buNone/>
              <a:tabLst/>
              <a:defRPr/>
            </a:pPr>
            <a:r>
              <a:rPr kumimoji="0" lang="en-US" sz="1323" b="0" i="0" u="none" strike="noStrike" kern="1200" cap="none" spc="0" normalizeH="0" baseline="0" noProof="0">
                <a:ln>
                  <a:noFill/>
                </a:ln>
                <a:solidFill>
                  <a:prstClr val="black"/>
                </a:solidFill>
                <a:effectLst/>
                <a:uLnTx/>
                <a:uFillTx/>
                <a:latin typeface="Calibri" panose="020F0502020204030204"/>
                <a:ea typeface="+mn-ea"/>
                <a:cs typeface="Arial" charset="0"/>
              </a:rPr>
              <a:t>Evaluate spend through lens of </a:t>
            </a:r>
            <a:r>
              <a:rPr kumimoji="0" lang="en-US" sz="1323" b="1" i="0" u="none" strike="noStrike" kern="1200" cap="none" spc="0" normalizeH="0" baseline="0" noProof="0">
                <a:ln>
                  <a:noFill/>
                </a:ln>
                <a:solidFill>
                  <a:prstClr val="black"/>
                </a:solidFill>
                <a:effectLst/>
                <a:uLnTx/>
                <a:uFillTx/>
                <a:latin typeface="Calibri" panose="020F0502020204030204"/>
                <a:ea typeface="+mn-ea"/>
                <a:cs typeface="Arial" charset="0"/>
              </a:rPr>
              <a:t>maximizing business &amp; tech cost efficiencies</a:t>
            </a:r>
          </a:p>
        </p:txBody>
      </p:sp>
      <p:grpSp>
        <p:nvGrpSpPr>
          <p:cNvPr id="220" name="Group 219">
            <a:extLst>
              <a:ext uri="{FF2B5EF4-FFF2-40B4-BE49-F238E27FC236}">
                <a16:creationId xmlns:a16="http://schemas.microsoft.com/office/drawing/2014/main" id="{0B51B9FD-3294-4232-87A8-60261F352144}"/>
              </a:ext>
            </a:extLst>
          </p:cNvPr>
          <p:cNvGrpSpPr/>
          <p:nvPr/>
        </p:nvGrpSpPr>
        <p:grpSpPr>
          <a:xfrm>
            <a:off x="6548496" y="4967830"/>
            <a:ext cx="238089" cy="238089"/>
            <a:chOff x="7392213" y="5423333"/>
            <a:chExt cx="289746" cy="289746"/>
          </a:xfrm>
        </p:grpSpPr>
        <p:sp>
          <p:nvSpPr>
            <p:cNvPr id="221" name="Oval 261">
              <a:extLst>
                <a:ext uri="{FF2B5EF4-FFF2-40B4-BE49-F238E27FC236}">
                  <a16:creationId xmlns:a16="http://schemas.microsoft.com/office/drawing/2014/main" id="{25117960-BADB-45EF-B3F1-E523BF463962}"/>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222" name="Graphic 259" descr="Tools">
              <a:extLst>
                <a:ext uri="{FF2B5EF4-FFF2-40B4-BE49-F238E27FC236}">
                  <a16:creationId xmlns:a16="http://schemas.microsoft.com/office/drawing/2014/main" id="{683B32CD-F20D-4E7F-8F32-E78F1CFB8078}"/>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grpSp>
        <p:nvGrpSpPr>
          <p:cNvPr id="223" name="Group 222">
            <a:extLst>
              <a:ext uri="{FF2B5EF4-FFF2-40B4-BE49-F238E27FC236}">
                <a16:creationId xmlns:a16="http://schemas.microsoft.com/office/drawing/2014/main" id="{EA83EE7B-147F-44D8-B45C-4FD9112DCDF5}"/>
              </a:ext>
            </a:extLst>
          </p:cNvPr>
          <p:cNvGrpSpPr/>
          <p:nvPr/>
        </p:nvGrpSpPr>
        <p:grpSpPr>
          <a:xfrm>
            <a:off x="5734266" y="4967830"/>
            <a:ext cx="238089" cy="238089"/>
            <a:chOff x="7392213" y="5423333"/>
            <a:chExt cx="289746" cy="289746"/>
          </a:xfrm>
        </p:grpSpPr>
        <p:sp>
          <p:nvSpPr>
            <p:cNvPr id="224" name="Oval 261">
              <a:extLst>
                <a:ext uri="{FF2B5EF4-FFF2-40B4-BE49-F238E27FC236}">
                  <a16:creationId xmlns:a16="http://schemas.microsoft.com/office/drawing/2014/main" id="{0FE1E4E2-C402-41EF-B3A2-EF4E4BE35AE7}"/>
                </a:ext>
              </a:extLst>
            </p:cNvPr>
            <p:cNvSpPr/>
            <p:nvPr/>
          </p:nvSpPr>
          <p:spPr bwMode="gray">
            <a:xfrm>
              <a:off x="7392213" y="5423333"/>
              <a:ext cx="289746" cy="289746"/>
            </a:xfrm>
            <a:prstGeom prst="ellipse">
              <a:avLst/>
            </a:prstGeom>
            <a:solidFill>
              <a:schemeClr val="accent4"/>
            </a:solidFill>
            <a:ln w="12700" cap="sq">
              <a:solidFill>
                <a:schemeClr val="bg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010" tIns="95010" rIns="95010" bIns="95010" numCol="1" spcCol="0" rtlCol="0" fromWordArt="0" anchor="t" anchorCtr="0" forceAA="0" compatLnSpc="1">
              <a:prstTxWarp prst="textNoShape">
                <a:avLst/>
              </a:prstTxWarp>
              <a:noAutofit/>
            </a:bodyPr>
            <a:lstStyle/>
            <a:p>
              <a:pPr marL="0" marR="0" lvl="0" indent="0" algn="ctr" defTabSz="1215248" rtl="0" eaLnBrk="1" fontAlgn="base" latinLnBrk="0" hangingPunct="1">
                <a:lnSpc>
                  <a:spcPct val="90000"/>
                </a:lnSpc>
                <a:spcBef>
                  <a:spcPct val="0"/>
                </a:spcBef>
                <a:spcAft>
                  <a:spcPts val="792"/>
                </a:spcAft>
                <a:buClrTx/>
                <a:buSzTx/>
                <a:buFontTx/>
                <a:buNone/>
                <a:tabLst/>
                <a:defRPr/>
              </a:pPr>
              <a:endParaRPr kumimoji="0" lang="de-DE" sz="794" b="0"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pic>
          <p:nvPicPr>
            <p:cNvPr id="225" name="Graphic 259" descr="Tools">
              <a:extLst>
                <a:ext uri="{FF2B5EF4-FFF2-40B4-BE49-F238E27FC236}">
                  <a16:creationId xmlns:a16="http://schemas.microsoft.com/office/drawing/2014/main" id="{1E54BF32-30B9-4F11-A2AF-319F305820E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932" y="5472610"/>
              <a:ext cx="237868" cy="183282"/>
            </a:xfrm>
            <a:prstGeom prst="rect">
              <a:avLst/>
            </a:prstGeom>
          </p:spPr>
        </p:pic>
      </p:grpSp>
      <p:sp>
        <p:nvSpPr>
          <p:cNvPr id="229" name="Title 1">
            <a:extLst>
              <a:ext uri="{FF2B5EF4-FFF2-40B4-BE49-F238E27FC236}">
                <a16:creationId xmlns:a16="http://schemas.microsoft.com/office/drawing/2014/main" id="{B7CACFBA-EC95-5645-9DEA-EB2FB413F632}"/>
              </a:ext>
            </a:extLst>
          </p:cNvPr>
          <p:cNvSpPr txBox="1">
            <a:spLocks/>
          </p:cNvSpPr>
          <p:nvPr/>
        </p:nvSpPr>
        <p:spPr bwMode="gray">
          <a:xfrm>
            <a:off x="380672" y="382168"/>
            <a:ext cx="10286541" cy="761182"/>
          </a:xfrm>
          <a:prstGeom prst="rect">
            <a:avLst/>
          </a:prstGeom>
        </p:spPr>
        <p:txBody>
          <a:bodyPr vert="horz" lIns="0" tIns="0" rIns="0" bIns="0" rtlCol="0" anchor="t" anchorCtr="0">
            <a:noAutofit/>
          </a:bodyPr>
          <a:lstStyle>
            <a:lvl1pPr algn="l" rtl="0" eaLnBrk="1" fontAlgn="base" hangingPunct="1">
              <a:lnSpc>
                <a:spcPct val="80000"/>
              </a:lnSpc>
              <a:spcBef>
                <a:spcPct val="0"/>
              </a:spcBef>
              <a:spcAft>
                <a:spcPct val="0"/>
              </a:spcAft>
              <a:defRPr sz="1852" b="0" i="0" kern="1200" cap="all">
                <a:solidFill>
                  <a:schemeClr val="tx1"/>
                </a:solidFill>
                <a:latin typeface="adineue TEXT Black" panose="020B0A03020201060004"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a:lstStyle>
          <a:p>
            <a:pPr marL="0" marR="0" lvl="0" indent="0" algn="l" defTabSz="914400" rtl="0" eaLnBrk="1" fontAlgn="base" latinLnBrk="0" hangingPunct="1">
              <a:lnSpc>
                <a:spcPct val="80000"/>
              </a:lnSpc>
              <a:spcBef>
                <a:spcPct val="0"/>
              </a:spcBef>
              <a:spcAft>
                <a:spcPct val="0"/>
              </a:spcAft>
              <a:buClrTx/>
              <a:buSzTx/>
              <a:buFontTx/>
              <a:buNone/>
              <a:tabLst/>
              <a:defRPr/>
            </a:pPr>
            <a:r>
              <a:rPr kumimoji="0" lang="en-US" sz="1852" b="0" i="0" u="none" strike="noStrike" kern="1200" cap="all" spc="0" normalizeH="0" baseline="0" noProof="0" dirty="0">
                <a:ln>
                  <a:noFill/>
                </a:ln>
                <a:solidFill>
                  <a:sysClr val="windowText" lastClr="000000"/>
                </a:solidFill>
                <a:effectLst/>
                <a:uLnTx/>
                <a:uFillTx/>
                <a:latin typeface="adineue TEXT Black" panose="020B0A03020201060004" pitchFamily="34" charset="0"/>
                <a:ea typeface="+mj-ea"/>
                <a:cs typeface="+mj-cs"/>
              </a:rPr>
              <a:t>OUR PRODUCT DOMAIN MAP AS BASE OF OUR DECISIONS</a:t>
            </a:r>
          </a:p>
        </p:txBody>
      </p:sp>
      <p:sp>
        <p:nvSpPr>
          <p:cNvPr id="4" name="Rectangle 3">
            <a:extLst>
              <a:ext uri="{FF2B5EF4-FFF2-40B4-BE49-F238E27FC236}">
                <a16:creationId xmlns:a16="http://schemas.microsoft.com/office/drawing/2014/main" id="{B5E7EEFA-BFD1-B745-9603-44121130852D}"/>
              </a:ext>
            </a:extLst>
          </p:cNvPr>
          <p:cNvSpPr/>
          <p:nvPr/>
        </p:nvSpPr>
        <p:spPr>
          <a:xfrm>
            <a:off x="4235458" y="4625451"/>
            <a:ext cx="3462174" cy="676917"/>
          </a:xfrm>
          <a:custGeom>
            <a:avLst/>
            <a:gdLst>
              <a:gd name="connsiteX0" fmla="*/ 0 w 3462174"/>
              <a:gd name="connsiteY0" fmla="*/ 0 h 676917"/>
              <a:gd name="connsiteX1" fmla="*/ 542407 w 3462174"/>
              <a:gd name="connsiteY1" fmla="*/ 0 h 676917"/>
              <a:gd name="connsiteX2" fmla="*/ 1015571 w 3462174"/>
              <a:gd name="connsiteY2" fmla="*/ 0 h 676917"/>
              <a:gd name="connsiteX3" fmla="*/ 1661844 w 3462174"/>
              <a:gd name="connsiteY3" fmla="*/ 0 h 676917"/>
              <a:gd name="connsiteX4" fmla="*/ 2204251 w 3462174"/>
              <a:gd name="connsiteY4" fmla="*/ 0 h 676917"/>
              <a:gd name="connsiteX5" fmla="*/ 2746658 w 3462174"/>
              <a:gd name="connsiteY5" fmla="*/ 0 h 676917"/>
              <a:gd name="connsiteX6" fmla="*/ 3462174 w 3462174"/>
              <a:gd name="connsiteY6" fmla="*/ 0 h 676917"/>
              <a:gd name="connsiteX7" fmla="*/ 3462174 w 3462174"/>
              <a:gd name="connsiteY7" fmla="*/ 324920 h 676917"/>
              <a:gd name="connsiteX8" fmla="*/ 3462174 w 3462174"/>
              <a:gd name="connsiteY8" fmla="*/ 676917 h 676917"/>
              <a:gd name="connsiteX9" fmla="*/ 2954388 w 3462174"/>
              <a:gd name="connsiteY9" fmla="*/ 676917 h 676917"/>
              <a:gd name="connsiteX10" fmla="*/ 2377359 w 3462174"/>
              <a:gd name="connsiteY10" fmla="*/ 676917 h 676917"/>
              <a:gd name="connsiteX11" fmla="*/ 1800330 w 3462174"/>
              <a:gd name="connsiteY11" fmla="*/ 676917 h 676917"/>
              <a:gd name="connsiteX12" fmla="*/ 1257923 w 3462174"/>
              <a:gd name="connsiteY12" fmla="*/ 676917 h 676917"/>
              <a:gd name="connsiteX13" fmla="*/ 611651 w 3462174"/>
              <a:gd name="connsiteY13" fmla="*/ 676917 h 676917"/>
              <a:gd name="connsiteX14" fmla="*/ 0 w 3462174"/>
              <a:gd name="connsiteY14" fmla="*/ 676917 h 676917"/>
              <a:gd name="connsiteX15" fmla="*/ 0 w 3462174"/>
              <a:gd name="connsiteY15" fmla="*/ 351997 h 676917"/>
              <a:gd name="connsiteX16" fmla="*/ 0 w 3462174"/>
              <a:gd name="connsiteY16" fmla="*/ 0 h 67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62174" h="676917" extrusionOk="0">
                <a:moveTo>
                  <a:pt x="0" y="0"/>
                </a:moveTo>
                <a:cubicBezTo>
                  <a:pt x="259119" y="-14347"/>
                  <a:pt x="335986" y="53555"/>
                  <a:pt x="542407" y="0"/>
                </a:cubicBezTo>
                <a:cubicBezTo>
                  <a:pt x="748828" y="-53555"/>
                  <a:pt x="807472" y="24247"/>
                  <a:pt x="1015571" y="0"/>
                </a:cubicBezTo>
                <a:cubicBezTo>
                  <a:pt x="1223670" y="-24247"/>
                  <a:pt x="1348612" y="10799"/>
                  <a:pt x="1661844" y="0"/>
                </a:cubicBezTo>
                <a:cubicBezTo>
                  <a:pt x="1975076" y="-10799"/>
                  <a:pt x="2072860" y="15243"/>
                  <a:pt x="2204251" y="0"/>
                </a:cubicBezTo>
                <a:cubicBezTo>
                  <a:pt x="2335642" y="-15243"/>
                  <a:pt x="2602799" y="59784"/>
                  <a:pt x="2746658" y="0"/>
                </a:cubicBezTo>
                <a:cubicBezTo>
                  <a:pt x="2890517" y="-59784"/>
                  <a:pt x="3308101" y="7167"/>
                  <a:pt x="3462174" y="0"/>
                </a:cubicBezTo>
                <a:cubicBezTo>
                  <a:pt x="3497461" y="139814"/>
                  <a:pt x="3454743" y="237085"/>
                  <a:pt x="3462174" y="324920"/>
                </a:cubicBezTo>
                <a:cubicBezTo>
                  <a:pt x="3469605" y="412755"/>
                  <a:pt x="3427977" y="600256"/>
                  <a:pt x="3462174" y="676917"/>
                </a:cubicBezTo>
                <a:cubicBezTo>
                  <a:pt x="3311073" y="724673"/>
                  <a:pt x="3134549" y="624040"/>
                  <a:pt x="2954388" y="676917"/>
                </a:cubicBezTo>
                <a:cubicBezTo>
                  <a:pt x="2774227" y="729794"/>
                  <a:pt x="2526355" y="609953"/>
                  <a:pt x="2377359" y="676917"/>
                </a:cubicBezTo>
                <a:cubicBezTo>
                  <a:pt x="2228363" y="743881"/>
                  <a:pt x="2053074" y="635732"/>
                  <a:pt x="1800330" y="676917"/>
                </a:cubicBezTo>
                <a:cubicBezTo>
                  <a:pt x="1547586" y="718102"/>
                  <a:pt x="1479210" y="670295"/>
                  <a:pt x="1257923" y="676917"/>
                </a:cubicBezTo>
                <a:cubicBezTo>
                  <a:pt x="1036636" y="683539"/>
                  <a:pt x="811993" y="658680"/>
                  <a:pt x="611651" y="676917"/>
                </a:cubicBezTo>
                <a:cubicBezTo>
                  <a:pt x="411309" y="695154"/>
                  <a:pt x="235357" y="664546"/>
                  <a:pt x="0" y="676917"/>
                </a:cubicBezTo>
                <a:cubicBezTo>
                  <a:pt x="-22981" y="555784"/>
                  <a:pt x="15381" y="434882"/>
                  <a:pt x="0" y="351997"/>
                </a:cubicBezTo>
                <a:cubicBezTo>
                  <a:pt x="-15381" y="269112"/>
                  <a:pt x="41338" y="136924"/>
                  <a:pt x="0" y="0"/>
                </a:cubicBezTo>
                <a:close/>
              </a:path>
            </a:pathLst>
          </a:custGeom>
          <a:noFill/>
          <a:ln w="28575">
            <a:solidFill>
              <a:srgbClr val="92D05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Rectangle 230">
            <a:extLst>
              <a:ext uri="{FF2B5EF4-FFF2-40B4-BE49-F238E27FC236}">
                <a16:creationId xmlns:a16="http://schemas.microsoft.com/office/drawing/2014/main" id="{4E76D54F-145E-174C-A085-E91E83A6F96F}"/>
              </a:ext>
            </a:extLst>
          </p:cNvPr>
          <p:cNvSpPr/>
          <p:nvPr/>
        </p:nvSpPr>
        <p:spPr>
          <a:xfrm>
            <a:off x="4235458" y="1587944"/>
            <a:ext cx="4630817" cy="1159330"/>
          </a:xfrm>
          <a:custGeom>
            <a:avLst/>
            <a:gdLst>
              <a:gd name="connsiteX0" fmla="*/ 0 w 4630817"/>
              <a:gd name="connsiteY0" fmla="*/ 0 h 1159330"/>
              <a:gd name="connsiteX1" fmla="*/ 532544 w 4630817"/>
              <a:gd name="connsiteY1" fmla="*/ 0 h 1159330"/>
              <a:gd name="connsiteX2" fmla="*/ 972472 w 4630817"/>
              <a:gd name="connsiteY2" fmla="*/ 0 h 1159330"/>
              <a:gd name="connsiteX3" fmla="*/ 1643940 w 4630817"/>
              <a:gd name="connsiteY3" fmla="*/ 0 h 1159330"/>
              <a:gd name="connsiteX4" fmla="*/ 2176484 w 4630817"/>
              <a:gd name="connsiteY4" fmla="*/ 0 h 1159330"/>
              <a:gd name="connsiteX5" fmla="*/ 2709028 w 4630817"/>
              <a:gd name="connsiteY5" fmla="*/ 0 h 1159330"/>
              <a:gd name="connsiteX6" fmla="*/ 3380496 w 4630817"/>
              <a:gd name="connsiteY6" fmla="*/ 0 h 1159330"/>
              <a:gd name="connsiteX7" fmla="*/ 3866732 w 4630817"/>
              <a:gd name="connsiteY7" fmla="*/ 0 h 1159330"/>
              <a:gd name="connsiteX8" fmla="*/ 4630817 w 4630817"/>
              <a:gd name="connsiteY8" fmla="*/ 0 h 1159330"/>
              <a:gd name="connsiteX9" fmla="*/ 4630817 w 4630817"/>
              <a:gd name="connsiteY9" fmla="*/ 602852 h 1159330"/>
              <a:gd name="connsiteX10" fmla="*/ 4630817 w 4630817"/>
              <a:gd name="connsiteY10" fmla="*/ 1159330 h 1159330"/>
              <a:gd name="connsiteX11" fmla="*/ 4051965 w 4630817"/>
              <a:gd name="connsiteY11" fmla="*/ 1159330 h 1159330"/>
              <a:gd name="connsiteX12" fmla="*/ 3519421 w 4630817"/>
              <a:gd name="connsiteY12" fmla="*/ 1159330 h 1159330"/>
              <a:gd name="connsiteX13" fmla="*/ 2847952 w 4630817"/>
              <a:gd name="connsiteY13" fmla="*/ 1159330 h 1159330"/>
              <a:gd name="connsiteX14" fmla="*/ 2176484 w 4630817"/>
              <a:gd name="connsiteY14" fmla="*/ 1159330 h 1159330"/>
              <a:gd name="connsiteX15" fmla="*/ 1690248 w 4630817"/>
              <a:gd name="connsiteY15" fmla="*/ 1159330 h 1159330"/>
              <a:gd name="connsiteX16" fmla="*/ 1111396 w 4630817"/>
              <a:gd name="connsiteY16" fmla="*/ 1159330 h 1159330"/>
              <a:gd name="connsiteX17" fmla="*/ 0 w 4630817"/>
              <a:gd name="connsiteY17" fmla="*/ 1159330 h 1159330"/>
              <a:gd name="connsiteX18" fmla="*/ 0 w 4630817"/>
              <a:gd name="connsiteY18" fmla="*/ 579665 h 1159330"/>
              <a:gd name="connsiteX19" fmla="*/ 0 w 4630817"/>
              <a:gd name="connsiteY19" fmla="*/ 0 h 115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0817" h="1159330" extrusionOk="0">
                <a:moveTo>
                  <a:pt x="0" y="0"/>
                </a:moveTo>
                <a:cubicBezTo>
                  <a:pt x="256516" y="-26803"/>
                  <a:pt x="360702" y="42267"/>
                  <a:pt x="532544" y="0"/>
                </a:cubicBezTo>
                <a:cubicBezTo>
                  <a:pt x="704386" y="-42267"/>
                  <a:pt x="851642" y="6264"/>
                  <a:pt x="972472" y="0"/>
                </a:cubicBezTo>
                <a:cubicBezTo>
                  <a:pt x="1093302" y="-6264"/>
                  <a:pt x="1471849" y="45072"/>
                  <a:pt x="1643940" y="0"/>
                </a:cubicBezTo>
                <a:cubicBezTo>
                  <a:pt x="1816031" y="-45072"/>
                  <a:pt x="1952112" y="17631"/>
                  <a:pt x="2176484" y="0"/>
                </a:cubicBezTo>
                <a:cubicBezTo>
                  <a:pt x="2400856" y="-17631"/>
                  <a:pt x="2447745" y="1126"/>
                  <a:pt x="2709028" y="0"/>
                </a:cubicBezTo>
                <a:cubicBezTo>
                  <a:pt x="2970311" y="-1126"/>
                  <a:pt x="3195441" y="62146"/>
                  <a:pt x="3380496" y="0"/>
                </a:cubicBezTo>
                <a:cubicBezTo>
                  <a:pt x="3565551" y="-62146"/>
                  <a:pt x="3738586" y="33975"/>
                  <a:pt x="3866732" y="0"/>
                </a:cubicBezTo>
                <a:cubicBezTo>
                  <a:pt x="3994878" y="-33975"/>
                  <a:pt x="4467898" y="52010"/>
                  <a:pt x="4630817" y="0"/>
                </a:cubicBezTo>
                <a:cubicBezTo>
                  <a:pt x="4639637" y="296064"/>
                  <a:pt x="4621133" y="347401"/>
                  <a:pt x="4630817" y="602852"/>
                </a:cubicBezTo>
                <a:cubicBezTo>
                  <a:pt x="4640501" y="858303"/>
                  <a:pt x="4587057" y="1013726"/>
                  <a:pt x="4630817" y="1159330"/>
                </a:cubicBezTo>
                <a:cubicBezTo>
                  <a:pt x="4505673" y="1228714"/>
                  <a:pt x="4176104" y="1157417"/>
                  <a:pt x="4051965" y="1159330"/>
                </a:cubicBezTo>
                <a:cubicBezTo>
                  <a:pt x="3927826" y="1161243"/>
                  <a:pt x="3717866" y="1152041"/>
                  <a:pt x="3519421" y="1159330"/>
                </a:cubicBezTo>
                <a:cubicBezTo>
                  <a:pt x="3320976" y="1166619"/>
                  <a:pt x="3114452" y="1105496"/>
                  <a:pt x="2847952" y="1159330"/>
                </a:cubicBezTo>
                <a:cubicBezTo>
                  <a:pt x="2581452" y="1213164"/>
                  <a:pt x="2314000" y="1120680"/>
                  <a:pt x="2176484" y="1159330"/>
                </a:cubicBezTo>
                <a:cubicBezTo>
                  <a:pt x="2038968" y="1197980"/>
                  <a:pt x="1858546" y="1138448"/>
                  <a:pt x="1690248" y="1159330"/>
                </a:cubicBezTo>
                <a:cubicBezTo>
                  <a:pt x="1521950" y="1180212"/>
                  <a:pt x="1364223" y="1130173"/>
                  <a:pt x="1111396" y="1159330"/>
                </a:cubicBezTo>
                <a:cubicBezTo>
                  <a:pt x="858569" y="1188487"/>
                  <a:pt x="427452" y="1087670"/>
                  <a:pt x="0" y="1159330"/>
                </a:cubicBezTo>
                <a:cubicBezTo>
                  <a:pt x="-25491" y="970934"/>
                  <a:pt x="37582" y="842191"/>
                  <a:pt x="0" y="579665"/>
                </a:cubicBezTo>
                <a:cubicBezTo>
                  <a:pt x="-37582" y="317140"/>
                  <a:pt x="51541" y="244151"/>
                  <a:pt x="0" y="0"/>
                </a:cubicBezTo>
                <a:close/>
              </a:path>
            </a:pathLst>
          </a:custGeom>
          <a:noFill/>
          <a:ln w="28575">
            <a:solidFill>
              <a:srgbClr val="92D050"/>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237">
            <a:extLst>
              <a:ext uri="{FF2B5EF4-FFF2-40B4-BE49-F238E27FC236}">
                <a16:creationId xmlns:a16="http://schemas.microsoft.com/office/drawing/2014/main" id="{1639F248-EE58-1043-8D53-6E49A16E1160}"/>
              </a:ext>
            </a:extLst>
          </p:cNvPr>
          <p:cNvSpPr/>
          <p:nvPr/>
        </p:nvSpPr>
        <p:spPr>
          <a:xfrm>
            <a:off x="4253948" y="1510748"/>
            <a:ext cx="7421217" cy="3843130"/>
          </a:xfrm>
          <a:custGeom>
            <a:avLst/>
            <a:gdLst>
              <a:gd name="connsiteX0" fmla="*/ 4691269 w 7421217"/>
              <a:gd name="connsiteY0" fmla="*/ 13252 h 3843130"/>
              <a:gd name="connsiteX1" fmla="*/ 7407965 w 7421217"/>
              <a:gd name="connsiteY1" fmla="*/ 0 h 3843130"/>
              <a:gd name="connsiteX2" fmla="*/ 7421217 w 7421217"/>
              <a:gd name="connsiteY2" fmla="*/ 3843130 h 3843130"/>
              <a:gd name="connsiteX3" fmla="*/ 3458817 w 7421217"/>
              <a:gd name="connsiteY3" fmla="*/ 3816626 h 3843130"/>
              <a:gd name="connsiteX4" fmla="*/ 3472069 w 7421217"/>
              <a:gd name="connsiteY4" fmla="*/ 3074504 h 3843130"/>
              <a:gd name="connsiteX5" fmla="*/ 0 w 7421217"/>
              <a:gd name="connsiteY5" fmla="*/ 3101009 h 3843130"/>
              <a:gd name="connsiteX6" fmla="*/ 13252 w 7421217"/>
              <a:gd name="connsiteY6" fmla="*/ 1232452 h 3843130"/>
              <a:gd name="connsiteX7" fmla="*/ 4638261 w 7421217"/>
              <a:gd name="connsiteY7" fmla="*/ 1258956 h 3843130"/>
              <a:gd name="connsiteX8" fmla="*/ 4691269 w 7421217"/>
              <a:gd name="connsiteY8" fmla="*/ 13252 h 384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1217" h="3843130">
                <a:moveTo>
                  <a:pt x="4691269" y="13252"/>
                </a:moveTo>
                <a:lnTo>
                  <a:pt x="7407965" y="0"/>
                </a:lnTo>
                <a:cubicBezTo>
                  <a:pt x="7412382" y="1281043"/>
                  <a:pt x="7416800" y="2562087"/>
                  <a:pt x="7421217" y="3843130"/>
                </a:cubicBezTo>
                <a:lnTo>
                  <a:pt x="3458817" y="3816626"/>
                </a:lnTo>
                <a:lnTo>
                  <a:pt x="3472069" y="3074504"/>
                </a:lnTo>
                <a:lnTo>
                  <a:pt x="0" y="3101009"/>
                </a:lnTo>
                <a:cubicBezTo>
                  <a:pt x="4417" y="2478157"/>
                  <a:pt x="8835" y="1855304"/>
                  <a:pt x="13252" y="1232452"/>
                </a:cubicBezTo>
                <a:lnTo>
                  <a:pt x="4638261" y="1258956"/>
                </a:lnTo>
                <a:lnTo>
                  <a:pt x="4691269" y="13252"/>
                </a:lnTo>
                <a:close/>
              </a:path>
            </a:pathLst>
          </a:custGeom>
          <a:solidFill>
            <a:srgbClr val="7F7F7F">
              <a:alpha val="7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Down Arrow 1">
            <a:extLst>
              <a:ext uri="{FF2B5EF4-FFF2-40B4-BE49-F238E27FC236}">
                <a16:creationId xmlns:a16="http://schemas.microsoft.com/office/drawing/2014/main" id="{7AC33F1F-6159-5C4E-81AF-12D79DA7DDF4}"/>
              </a:ext>
            </a:extLst>
          </p:cNvPr>
          <p:cNvSpPr/>
          <p:nvPr/>
        </p:nvSpPr>
        <p:spPr>
          <a:xfrm rot="10800000">
            <a:off x="5585865" y="2995492"/>
            <a:ext cx="888693" cy="1371600"/>
          </a:xfrm>
          <a:prstGeom prst="downArrow">
            <a:avLst/>
          </a:prstGeom>
          <a:solidFill>
            <a:srgbClr val="A5FD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661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1"/>
                                        </p:tgtEl>
                                        <p:attrNameLst>
                                          <p:attrName>style.visibility</p:attrName>
                                        </p:attrNameLst>
                                      </p:cBhvr>
                                      <p:to>
                                        <p:strVal val="visible"/>
                                      </p:to>
                                    </p:set>
                                    <p:animEffect transition="in" filter="fade">
                                      <p:cBhvr>
                                        <p:cTn id="7" dur="500"/>
                                        <p:tgtEl>
                                          <p:spTgt spid="2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500"/>
                                        <p:tgtEl>
                                          <p:spTgt spid="2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31" grpId="0" animBg="1"/>
      <p:bldP spid="238" grpId="0" animBg="1"/>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7914F7-F970-954E-B469-3B2289725500}"/>
              </a:ext>
            </a:extLst>
          </p:cNvPr>
          <p:cNvSpPr/>
          <p:nvPr/>
        </p:nvSpPr>
        <p:spPr>
          <a:xfrm>
            <a:off x="3157538" y="2000250"/>
            <a:ext cx="4471987" cy="2228850"/>
          </a:xfrm>
          <a:prstGeom prst="rect">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3200" b="0" i="0" u="none" strike="noStrike" kern="1200" cap="none" spc="0" normalizeH="0" baseline="0" noProof="0" dirty="0">
                <a:ln>
                  <a:noFill/>
                </a:ln>
                <a:solidFill>
                  <a:srgbClr val="FF0000"/>
                </a:solidFill>
                <a:effectLst/>
                <a:uLnTx/>
                <a:uFillTx/>
                <a:latin typeface="Calibri" panose="020F0502020204030204"/>
                <a:ea typeface="+mn-ea"/>
                <a:cs typeface="+mn-cs"/>
              </a:rPr>
              <a:t>OWN THE GAME SLIDE 1 - OVERVIEW</a:t>
            </a:r>
          </a:p>
        </p:txBody>
      </p:sp>
      <p:pic>
        <p:nvPicPr>
          <p:cNvPr id="4" name="Picture 3" descr="A picture containing graphical user interface&#10;&#10;Description automatically generated">
            <a:extLst>
              <a:ext uri="{FF2B5EF4-FFF2-40B4-BE49-F238E27FC236}">
                <a16:creationId xmlns:a16="http://schemas.microsoft.com/office/drawing/2014/main" id="{D4E7637E-A544-F14E-B539-4A782B514B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9915171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etter&#10;&#10;Description automatically generated">
            <a:extLst>
              <a:ext uri="{FF2B5EF4-FFF2-40B4-BE49-F238E27FC236}">
                <a16:creationId xmlns:a16="http://schemas.microsoft.com/office/drawing/2014/main" id="{AE2D20B5-6086-44D3-93B8-14B77D2167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83" y="722"/>
            <a:ext cx="12189434" cy="6856557"/>
          </a:xfrm>
          <a:prstGeom prst="rect">
            <a:avLst/>
          </a:prstGeom>
        </p:spPr>
      </p:pic>
      <p:pic>
        <p:nvPicPr>
          <p:cNvPr id="3" name="Picture 2" descr="A picture containing timeline&#10;&#10;Description automatically generated">
            <a:extLst>
              <a:ext uri="{FF2B5EF4-FFF2-40B4-BE49-F238E27FC236}">
                <a16:creationId xmlns:a16="http://schemas.microsoft.com/office/drawing/2014/main" id="{864601F5-B6D8-2144-A85F-69A8B3F07FF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714477"/>
            <a:ext cx="3805877" cy="5996509"/>
          </a:xfrm>
          <a:prstGeom prst="rect">
            <a:avLst/>
          </a:prstGeom>
        </p:spPr>
      </p:pic>
    </p:spTree>
    <p:extLst>
      <p:ext uri="{BB962C8B-B14F-4D97-AF65-F5344CB8AC3E}">
        <p14:creationId xmlns:p14="http://schemas.microsoft.com/office/powerpoint/2010/main" val="1060829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ext&#10;&#10;Description automatically generated">
            <a:extLst>
              <a:ext uri="{FF2B5EF4-FFF2-40B4-BE49-F238E27FC236}">
                <a16:creationId xmlns:a16="http://schemas.microsoft.com/office/drawing/2014/main" id="{29FDAE6B-9DD7-442C-84B3-2D5B6CA9282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83" y="721"/>
            <a:ext cx="12189434" cy="6861737"/>
          </a:xfrm>
          <a:prstGeom prst="rect">
            <a:avLst/>
          </a:prstGeom>
        </p:spPr>
      </p:pic>
    </p:spTree>
    <p:extLst>
      <p:ext uri="{BB962C8B-B14F-4D97-AF65-F5344CB8AC3E}">
        <p14:creationId xmlns:p14="http://schemas.microsoft.com/office/powerpoint/2010/main" val="1560301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Title 31">
            <a:extLst>
              <a:ext uri="{FF2B5EF4-FFF2-40B4-BE49-F238E27FC236}">
                <a16:creationId xmlns:a16="http://schemas.microsoft.com/office/drawing/2014/main" id="{3A6AA1CC-DDC4-9F46-B0AB-DD9A02F4B216}"/>
              </a:ext>
            </a:extLst>
          </p:cNvPr>
          <p:cNvSpPr>
            <a:spLocks noGrp="1"/>
          </p:cNvSpPr>
          <p:nvPr>
            <p:ph type="title"/>
          </p:nvPr>
        </p:nvSpPr>
        <p:spPr>
          <a:xfrm>
            <a:off x="381875" y="381456"/>
            <a:ext cx="10284376" cy="380943"/>
          </a:xfrm>
        </p:spPr>
        <p:txBody>
          <a:bodyPr/>
          <a:lstStyle/>
          <a:p>
            <a:r>
              <a:rPr lang="en-US" dirty="0"/>
              <a:t>Right sourcing | OPERATING MODEL </a:t>
            </a:r>
            <a:r>
              <a:rPr lang="en-US" dirty="0">
                <a:solidFill>
                  <a:srgbClr val="C00000"/>
                </a:solidFill>
              </a:rPr>
              <a:t>TAYLORED FOR ADIDAS</a:t>
            </a:r>
          </a:p>
        </p:txBody>
      </p:sp>
      <p:sp>
        <p:nvSpPr>
          <p:cNvPr id="195" name="Text Placeholder 2">
            <a:extLst>
              <a:ext uri="{FF2B5EF4-FFF2-40B4-BE49-F238E27FC236}">
                <a16:creationId xmlns:a16="http://schemas.microsoft.com/office/drawing/2014/main" id="{AE9FD4BC-0843-FB48-B67A-6685393983F0}"/>
              </a:ext>
            </a:extLst>
          </p:cNvPr>
          <p:cNvSpPr txBox="1">
            <a:spLocks/>
          </p:cNvSpPr>
          <p:nvPr/>
        </p:nvSpPr>
        <p:spPr bwMode="gray">
          <a:xfrm>
            <a:off x="381873" y="784273"/>
            <a:ext cx="10284378" cy="358028"/>
          </a:xfrm>
          <a:prstGeom prst="rect">
            <a:avLst/>
          </a:prstGeom>
        </p:spPr>
        <p:txBody>
          <a:bodyPr vert="horz" lIns="0" tIns="0" rIns="0" bIns="0" rtlCol="0">
            <a:noAutofit/>
          </a:bodyPr>
          <a:lstStyle>
            <a:lvl1pPr algn="l" rtl="0" eaLnBrk="1" fontAlgn="base" hangingPunct="1">
              <a:lnSpc>
                <a:spcPct val="75000"/>
              </a:lnSpc>
              <a:spcBef>
                <a:spcPct val="0"/>
              </a:spcBef>
              <a:spcAft>
                <a:spcPts val="600"/>
              </a:spcAft>
              <a:buSzPct val="90000"/>
              <a:buFont typeface="AdihausDIN" pitchFamily="34" charset="0"/>
              <a:defRPr sz="1800" b="0" kern="1200" cap="all" baseline="0">
                <a:solidFill>
                  <a:schemeClr val="tx1"/>
                </a:solidFill>
                <a:latin typeface="+mj-lt"/>
                <a:ea typeface="+mn-ea"/>
                <a:cs typeface="AdihausDIN" panose="020B0504020101020102" pitchFamily="34" charset="0"/>
              </a:defRPr>
            </a:lvl1pPr>
            <a:lvl2pPr marL="180769" indent="-180769" algn="l" rtl="0" eaLnBrk="1" fontAlgn="base" hangingPunct="1">
              <a:lnSpc>
                <a:spcPct val="90000"/>
              </a:lnSpc>
              <a:spcBef>
                <a:spcPct val="0"/>
              </a:spcBef>
              <a:spcAft>
                <a:spcPts val="600"/>
              </a:spcAft>
              <a:buSzPct val="90000"/>
              <a:buFont typeface="Wingdings" pitchFamily="2" charset="2"/>
              <a:buChar char="§"/>
              <a:defRPr sz="1200" kern="1200" cap="none" baseline="0">
                <a:solidFill>
                  <a:schemeClr val="tx1"/>
                </a:solidFill>
                <a:latin typeface="+mn-lt"/>
                <a:ea typeface="+mn-ea"/>
                <a:cs typeface="AdihausDIN" panose="020B0504020101020102" pitchFamily="34" charset="0"/>
              </a:defRPr>
            </a:lvl2pPr>
            <a:lvl3pPr marL="181386" indent="-181386" algn="l" rtl="0" eaLnBrk="1" fontAlgn="base" hangingPunct="1">
              <a:lnSpc>
                <a:spcPct val="90000"/>
              </a:lnSpc>
              <a:spcBef>
                <a:spcPct val="0"/>
              </a:spcBef>
              <a:spcAft>
                <a:spcPts val="600"/>
              </a:spcAft>
              <a:buSzPct val="90000"/>
              <a:buFont typeface="+mj-lt"/>
              <a:buAutoNum type="arabicPeriod"/>
              <a:defRPr sz="1200" kern="1200">
                <a:solidFill>
                  <a:schemeClr val="tx1"/>
                </a:solidFill>
                <a:latin typeface="+mn-lt"/>
                <a:ea typeface="+mn-ea"/>
                <a:cs typeface="AdihausDIN" panose="020B0504020101020102" pitchFamily="34" charset="0"/>
              </a:defRPr>
            </a:lvl3pPr>
            <a:lvl4pPr marL="358338" indent="-180769" algn="l" rtl="0" eaLnBrk="1" fontAlgn="base" hangingPunct="1">
              <a:lnSpc>
                <a:spcPct val="90000"/>
              </a:lnSpc>
              <a:spcBef>
                <a:spcPct val="0"/>
              </a:spcBef>
              <a:spcAft>
                <a:spcPts val="600"/>
              </a:spcAft>
              <a:buSzPct val="90000"/>
              <a:buFont typeface="AdihausDIN" panose="020B0504020101020102" pitchFamily="34" charset="0"/>
              <a:buChar char="–"/>
              <a:defRPr sz="1200" kern="1200" cap="none" baseline="0">
                <a:solidFill>
                  <a:schemeClr val="tx1"/>
                </a:solidFill>
                <a:latin typeface="+mn-lt"/>
                <a:ea typeface="+mn-ea"/>
                <a:cs typeface="AdihausDIN" panose="020B0504020101020102" pitchFamily="34" charset="0"/>
              </a:defRPr>
            </a:lvl4pPr>
            <a:lvl5pPr marL="361538" indent="-180769" algn="l" rtl="0" eaLnBrk="1" fontAlgn="base" hangingPunct="1">
              <a:lnSpc>
                <a:spcPct val="90000"/>
              </a:lnSpc>
              <a:spcBef>
                <a:spcPct val="0"/>
              </a:spcBef>
              <a:spcAft>
                <a:spcPts val="600"/>
              </a:spcAft>
              <a:buSzPct val="90000"/>
              <a:buFont typeface="+mj-lt"/>
              <a:buAutoNum type="alphaLcPeriod"/>
              <a:tabLst>
                <a:tab pos="990230" algn="l"/>
              </a:tabLst>
              <a:defRPr sz="1200" kern="1200">
                <a:solidFill>
                  <a:schemeClr val="tx1"/>
                </a:solidFill>
                <a:latin typeface="+mn-lt"/>
                <a:ea typeface="+mn-ea"/>
                <a:cs typeface="AdihausDIN" panose="020B0504020101020102" pitchFamily="34" charset="0"/>
              </a:defRPr>
            </a:lvl5pPr>
            <a:lvl6pPr marL="0" indent="0" algn="l" defTabSz="921477" rtl="0" eaLnBrk="1" latinLnBrk="0" hangingPunct="1">
              <a:lnSpc>
                <a:spcPct val="75000"/>
              </a:lnSpc>
              <a:spcBef>
                <a:spcPts val="1200"/>
              </a:spcBef>
              <a:spcAft>
                <a:spcPts val="600"/>
              </a:spcAft>
              <a:buClrTx/>
              <a:buSzPct val="90000"/>
              <a:buFont typeface="Wingdings" pitchFamily="2" charset="2"/>
              <a:buNone/>
              <a:tabLst>
                <a:tab pos="990269" algn="l"/>
              </a:tabLst>
              <a:defRPr lang="en-US" sz="1800" b="1" i="0" kern="1200" cap="all" spc="20" baseline="0" noProof="0" dirty="0">
                <a:solidFill>
                  <a:schemeClr val="tx1"/>
                </a:solidFill>
                <a:latin typeface="+mj-lt"/>
                <a:ea typeface="+mn-ea"/>
                <a:cs typeface="AdihausDIN" panose="020B0504020101020102" pitchFamily="34" charset="0"/>
              </a:defRPr>
            </a:lvl6pPr>
            <a:lvl7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i="0" kern="1200" cap="none" baseline="0">
                <a:solidFill>
                  <a:schemeClr val="tx2"/>
                </a:solidFill>
                <a:latin typeface="+mn-lt"/>
                <a:ea typeface="+mn-ea"/>
                <a:cs typeface="AdihausDIN" panose="020B0504020101020102" pitchFamily="34" charset="0"/>
              </a:defRPr>
            </a:lvl7pPr>
            <a:lvl8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8pPr>
            <a:lvl9pPr marL="0" indent="0" algn="l" defTabSz="921477" rtl="0" eaLnBrk="1" latinLnBrk="0" hangingPunct="1">
              <a:lnSpc>
                <a:spcPct val="90000"/>
              </a:lnSpc>
              <a:spcBef>
                <a:spcPts val="0"/>
              </a:spcBef>
              <a:spcAft>
                <a:spcPts val="600"/>
              </a:spcAft>
              <a:buClrTx/>
              <a:buSzPct val="90000"/>
              <a:buFont typeface="Wingdings" pitchFamily="2" charset="2"/>
              <a:buNone/>
              <a:tabLst>
                <a:tab pos="990269" algn="l"/>
              </a:tabLst>
              <a:defRPr sz="600" b="0" kern="1200">
                <a:solidFill>
                  <a:schemeClr val="tx2"/>
                </a:solidFill>
                <a:latin typeface="AdihausDIN" panose="020B0504020101020102" pitchFamily="34" charset="0"/>
                <a:ea typeface="+mn-ea"/>
                <a:cs typeface="AdihausDIN" panose="020B0504020101020102" pitchFamily="34" charset="0"/>
              </a:defRPr>
            </a:lvl9pPr>
          </a:lstStyle>
          <a:p>
            <a:pPr marL="0" marR="0" lvl="0" indent="0" algn="l" defTabSz="1209477" rtl="0" eaLnBrk="1" fontAlgn="base" latinLnBrk="0" hangingPunct="1">
              <a:lnSpc>
                <a:spcPct val="80000"/>
              </a:lnSpc>
              <a:spcBef>
                <a:spcPct val="0"/>
              </a:spcBef>
              <a:spcAft>
                <a:spcPct val="0"/>
              </a:spcAft>
              <a:buClrTx/>
              <a:buSzTx/>
              <a:buFont typeface="AdihausDIN" pitchFamily="34" charset="0"/>
              <a:buNone/>
              <a:tabLst/>
              <a:defRPr/>
            </a:pPr>
            <a:r>
              <a:rPr kumimoji="0" lang="en-US" sz="2381" b="1" i="0" u="none" strike="noStrike" kern="1200" cap="all" spc="0" normalizeH="0" baseline="0" noProof="0">
                <a:ln>
                  <a:noFill/>
                </a:ln>
                <a:solidFill>
                  <a:srgbClr val="C00000"/>
                </a:solidFill>
                <a:effectLst/>
                <a:uLnTx/>
                <a:uFillTx/>
                <a:latin typeface="adineue PRO Cond"/>
                <a:ea typeface="+mn-ea"/>
                <a:cs typeface="AdihausDIN" panose="020B0504020101020102" pitchFamily="34" charset="0"/>
              </a:rPr>
              <a:t>ORGANIZATIOINS ARE LIVING CREATURES </a:t>
            </a:r>
            <a:r>
              <a:rPr kumimoji="0" lang="en-US" sz="2381" b="1" i="0" u="none" strike="noStrike" kern="1200" cap="all" spc="0" normalizeH="0" baseline="0" noProof="0">
                <a:ln>
                  <a:noFill/>
                </a:ln>
                <a:solidFill>
                  <a:prstClr val="black"/>
                </a:solidFill>
                <a:effectLst/>
                <a:uLnTx/>
                <a:uFillTx/>
                <a:latin typeface="adineue PRO Cond"/>
                <a:ea typeface="+mn-ea"/>
                <a:cs typeface="AdihausDIN" panose="020B0504020101020102" pitchFamily="34" charset="0"/>
              </a:rPr>
              <a:t>ADAPTED TO THE HUB VISION AND THE REALITY OF EACH MARKET</a:t>
            </a:r>
          </a:p>
        </p:txBody>
      </p:sp>
      <p:grpSp>
        <p:nvGrpSpPr>
          <p:cNvPr id="197" name="Group 196">
            <a:extLst>
              <a:ext uri="{FF2B5EF4-FFF2-40B4-BE49-F238E27FC236}">
                <a16:creationId xmlns:a16="http://schemas.microsoft.com/office/drawing/2014/main" id="{E7B93B0A-95B4-F843-ACE1-4ABB3EEF1353}"/>
              </a:ext>
            </a:extLst>
          </p:cNvPr>
          <p:cNvGrpSpPr/>
          <p:nvPr/>
        </p:nvGrpSpPr>
        <p:grpSpPr>
          <a:xfrm>
            <a:off x="413333" y="2885621"/>
            <a:ext cx="3406626" cy="2728387"/>
            <a:chOff x="536549" y="2769002"/>
            <a:chExt cx="2165555" cy="1734404"/>
          </a:xfrm>
        </p:grpSpPr>
        <p:grpSp>
          <p:nvGrpSpPr>
            <p:cNvPr id="198" name="Group 197">
              <a:extLst>
                <a:ext uri="{FF2B5EF4-FFF2-40B4-BE49-F238E27FC236}">
                  <a16:creationId xmlns:a16="http://schemas.microsoft.com/office/drawing/2014/main" id="{D76ACE37-96B8-874C-AC8B-F1D319A688D1}"/>
                </a:ext>
              </a:extLst>
            </p:cNvPr>
            <p:cNvGrpSpPr/>
            <p:nvPr/>
          </p:nvGrpSpPr>
          <p:grpSpPr>
            <a:xfrm>
              <a:off x="1031242" y="3108427"/>
              <a:ext cx="1135356" cy="1011854"/>
              <a:chOff x="104216" y="3122283"/>
              <a:chExt cx="2026184" cy="1830016"/>
            </a:xfrm>
          </p:grpSpPr>
          <p:sp>
            <p:nvSpPr>
              <p:cNvPr id="203" name="Triangle 17">
                <a:extLst>
                  <a:ext uri="{FF2B5EF4-FFF2-40B4-BE49-F238E27FC236}">
                    <a16:creationId xmlns:a16="http://schemas.microsoft.com/office/drawing/2014/main" id="{8DC26D65-031A-C745-8067-AC8872EE5F20}"/>
                  </a:ext>
                </a:extLst>
              </p:cNvPr>
              <p:cNvSpPr/>
              <p:nvPr/>
            </p:nvSpPr>
            <p:spPr bwMode="gray">
              <a:xfrm>
                <a:off x="329909" y="3342978"/>
                <a:ext cx="1613037" cy="1390547"/>
              </a:xfrm>
              <a:prstGeom prst="triangle">
                <a:avLst/>
              </a:prstGeom>
              <a:noFill/>
              <a:ln w="12700" cap="sq">
                <a:solidFill>
                  <a:schemeClr val="bg1">
                    <a:lumMod val="50000"/>
                  </a:schemeClr>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90000"/>
                  </a:lnSpc>
                  <a:spcBef>
                    <a:spcPct val="0"/>
                  </a:spcBef>
                  <a:spcAft>
                    <a:spcPts val="794"/>
                  </a:spcAft>
                  <a:buClrTx/>
                  <a:buSzTx/>
                  <a:buFontTx/>
                  <a:buNone/>
                  <a:tabLst/>
                  <a:defRPr/>
                </a:pPr>
                <a:endParaRPr kumimoji="0" lang="en-US" sz="2645"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endParaRPr>
              </a:p>
            </p:txBody>
          </p:sp>
          <p:sp>
            <p:nvSpPr>
              <p:cNvPr id="204" name="Oval 203">
                <a:extLst>
                  <a:ext uri="{FF2B5EF4-FFF2-40B4-BE49-F238E27FC236}">
                    <a16:creationId xmlns:a16="http://schemas.microsoft.com/office/drawing/2014/main" id="{9B9F19FD-C396-584D-A215-131EE41022C7}"/>
                  </a:ext>
                </a:extLst>
              </p:cNvPr>
              <p:cNvSpPr/>
              <p:nvPr/>
            </p:nvSpPr>
            <p:spPr bwMode="gray">
              <a:xfrm>
                <a:off x="1690933" y="4512832"/>
                <a:ext cx="439467" cy="439467"/>
              </a:xfrm>
              <a:prstGeom prst="ellipse">
                <a:avLst/>
              </a:prstGeom>
              <a:solidFill>
                <a:srgbClr val="D72332"/>
              </a:solidFill>
              <a:ln w="38100" cap="sq">
                <a:solidFill>
                  <a:srgbClr val="F2F2F2"/>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90000"/>
                  </a:lnSpc>
                  <a:spcBef>
                    <a:spcPct val="0"/>
                  </a:spcBef>
                  <a:spcAft>
                    <a:spcPts val="794"/>
                  </a:spcAft>
                  <a:buClrTx/>
                  <a:buSzTx/>
                  <a:buFontTx/>
                  <a:buNone/>
                  <a:tabLst/>
                  <a:defRPr/>
                </a:pPr>
                <a:r>
                  <a:rPr kumimoji="0" lang="en-US" sz="1323"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rPr>
                  <a:t>3</a:t>
                </a:r>
              </a:p>
            </p:txBody>
          </p:sp>
          <p:sp>
            <p:nvSpPr>
              <p:cNvPr id="205" name="Oval 204">
                <a:extLst>
                  <a:ext uri="{FF2B5EF4-FFF2-40B4-BE49-F238E27FC236}">
                    <a16:creationId xmlns:a16="http://schemas.microsoft.com/office/drawing/2014/main" id="{ADB6050B-8B0F-BB4B-BA41-C19581D7E1E2}"/>
                  </a:ext>
                </a:extLst>
              </p:cNvPr>
              <p:cNvSpPr/>
              <p:nvPr/>
            </p:nvSpPr>
            <p:spPr bwMode="gray">
              <a:xfrm>
                <a:off x="104216" y="4512829"/>
                <a:ext cx="439467" cy="439469"/>
              </a:xfrm>
              <a:prstGeom prst="ellipse">
                <a:avLst/>
              </a:prstGeom>
              <a:solidFill>
                <a:srgbClr val="D72332"/>
              </a:solidFill>
              <a:ln w="38100" cap="sq">
                <a:solidFill>
                  <a:srgbClr val="F2F2F2"/>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90000"/>
                  </a:lnSpc>
                  <a:spcBef>
                    <a:spcPct val="0"/>
                  </a:spcBef>
                  <a:spcAft>
                    <a:spcPts val="794"/>
                  </a:spcAft>
                  <a:buClrTx/>
                  <a:buSzTx/>
                  <a:buFontTx/>
                  <a:buNone/>
                  <a:tabLst/>
                  <a:defRPr/>
                </a:pPr>
                <a:r>
                  <a:rPr kumimoji="0" lang="en-US" sz="1323"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rPr>
                  <a:t>2</a:t>
                </a:r>
              </a:p>
            </p:txBody>
          </p:sp>
          <p:sp>
            <p:nvSpPr>
              <p:cNvPr id="206" name="Oval 205">
                <a:extLst>
                  <a:ext uri="{FF2B5EF4-FFF2-40B4-BE49-F238E27FC236}">
                    <a16:creationId xmlns:a16="http://schemas.microsoft.com/office/drawing/2014/main" id="{9CAFD6FE-E319-7748-8333-8DFD8670BF66}"/>
                  </a:ext>
                </a:extLst>
              </p:cNvPr>
              <p:cNvSpPr/>
              <p:nvPr/>
            </p:nvSpPr>
            <p:spPr bwMode="gray">
              <a:xfrm>
                <a:off x="916694" y="3122283"/>
                <a:ext cx="439467" cy="439469"/>
              </a:xfrm>
              <a:prstGeom prst="ellipse">
                <a:avLst/>
              </a:prstGeom>
              <a:solidFill>
                <a:srgbClr val="D72332"/>
              </a:solidFill>
              <a:ln w="38100" cap="sq">
                <a:solidFill>
                  <a:srgbClr val="F2F2F2"/>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5236" tIns="95236" rIns="95236" bIns="95236" numCol="1" spcCol="0" rtlCol="0" fromWordArt="0" anchor="ctr" anchorCtr="0" forceAA="0" compatLnSpc="1">
                <a:prstTxWarp prst="textNoShape">
                  <a:avLst/>
                </a:prstTxWarp>
                <a:noAutofit/>
              </a:bodyPr>
              <a:lstStyle/>
              <a:p>
                <a:pPr marL="0" marR="0" lvl="0" indent="0" algn="ctr" defTabSz="1216675" rtl="0" eaLnBrk="1" fontAlgn="base" latinLnBrk="0" hangingPunct="1">
                  <a:lnSpc>
                    <a:spcPct val="90000"/>
                  </a:lnSpc>
                  <a:spcBef>
                    <a:spcPct val="0"/>
                  </a:spcBef>
                  <a:spcAft>
                    <a:spcPts val="794"/>
                  </a:spcAft>
                  <a:buClrTx/>
                  <a:buSzTx/>
                  <a:buFontTx/>
                  <a:buNone/>
                  <a:tabLst/>
                  <a:defRPr/>
                </a:pPr>
                <a:r>
                  <a:rPr kumimoji="0" lang="en-US" sz="1323" b="1" i="0" u="none" strike="noStrike" kern="1200" cap="none" spc="0" normalizeH="0" baseline="0" noProof="0">
                    <a:ln>
                      <a:noFill/>
                    </a:ln>
                    <a:solidFill>
                      <a:prstClr val="white"/>
                    </a:solidFill>
                    <a:effectLst/>
                    <a:uLnTx/>
                    <a:uFillTx/>
                    <a:latin typeface="AdihausDIN"/>
                    <a:ea typeface="+mn-ea"/>
                    <a:cs typeface="AdihausDIN Cn" panose="020B0506020101010102" pitchFamily="34" charset="0"/>
                  </a:rPr>
                  <a:t>1</a:t>
                </a:r>
              </a:p>
            </p:txBody>
          </p:sp>
        </p:grpSp>
        <p:sp>
          <p:nvSpPr>
            <p:cNvPr id="199" name="Rectangle 198">
              <a:extLst>
                <a:ext uri="{FF2B5EF4-FFF2-40B4-BE49-F238E27FC236}">
                  <a16:creationId xmlns:a16="http://schemas.microsoft.com/office/drawing/2014/main" id="{4B956DF8-8A22-1E4E-9381-DFE24BB466CC}"/>
                </a:ext>
              </a:extLst>
            </p:cNvPr>
            <p:cNvSpPr/>
            <p:nvPr/>
          </p:nvSpPr>
          <p:spPr>
            <a:xfrm>
              <a:off x="629575" y="2769002"/>
              <a:ext cx="1938691" cy="465770"/>
            </a:xfrm>
            <a:prstGeom prst="rect">
              <a:avLst/>
            </a:prstGeom>
          </p:spPr>
          <p:txBody>
            <a:bodyPr wrap="square" lIns="0" tIns="0" rIns="0" bIns="0" anchor="ctr">
              <a:spAutoFit/>
            </a:bodyPr>
            <a:lstStyle/>
            <a:p>
              <a:pPr marL="0" marR="0" lvl="0" indent="0" algn="ctr" defTabSz="1216675" rtl="0" eaLnBrk="1" fontAlgn="base" latinLnBrk="0" hangingPunct="1">
                <a:lnSpc>
                  <a:spcPct val="100000"/>
                </a:lnSpc>
                <a:spcBef>
                  <a:spcPct val="0"/>
                </a:spcBef>
                <a:spcAft>
                  <a:spcPct val="0"/>
                </a:spcAft>
                <a:buClrTx/>
                <a:buSzTx/>
                <a:buFontTx/>
                <a:buNone/>
                <a:tabLst/>
                <a:defRPr/>
              </a:pPr>
              <a:r>
                <a:rPr kumimoji="0" lang="en-US" sz="1587" b="1" i="0" u="none" strike="noStrike" kern="1200" cap="none" spc="0" normalizeH="0" baseline="0" noProof="0">
                  <a:ln>
                    <a:noFill/>
                  </a:ln>
                  <a:solidFill>
                    <a:prstClr val="black"/>
                  </a:solidFill>
                  <a:effectLst/>
                  <a:uLnTx/>
                  <a:uFillTx/>
                  <a:latin typeface="AdihausDIN" pitchFamily="34" charset="0"/>
                  <a:ea typeface="+mn-ea"/>
                  <a:cs typeface="Arial" charset="0"/>
                </a:rPr>
                <a:t>Product</a:t>
              </a:r>
            </a:p>
            <a:p>
              <a:pPr marL="0" marR="0" lvl="0" indent="0" algn="ctr" defTabSz="1216675" rtl="0" eaLnBrk="1" fontAlgn="base" latinLnBrk="0" hangingPunct="1">
                <a:lnSpc>
                  <a:spcPct val="100000"/>
                </a:lnSpc>
                <a:spcBef>
                  <a:spcPct val="0"/>
                </a:spcBef>
                <a:spcAft>
                  <a:spcPct val="0"/>
                </a:spcAft>
                <a:buClrTx/>
                <a:buSzTx/>
                <a:buFontTx/>
                <a:buNone/>
                <a:tabLst/>
                <a:defRPr/>
              </a:pPr>
              <a:r>
                <a:rPr kumimoji="0" lang="en-US" sz="1587" b="0" i="0" u="none" strike="noStrike" kern="1200" cap="none" spc="0" normalizeH="0" baseline="0" noProof="0">
                  <a:ln>
                    <a:noFill/>
                  </a:ln>
                  <a:solidFill>
                    <a:prstClr val="black"/>
                  </a:solidFill>
                  <a:effectLst/>
                  <a:uLnTx/>
                  <a:uFillTx/>
                  <a:latin typeface="AdihausDIN" pitchFamily="34" charset="0"/>
                  <a:ea typeface="+mn-ea"/>
                  <a:cs typeface="Arial" charset="0"/>
                </a:rPr>
                <a:t>Product led</a:t>
              </a:r>
            </a:p>
            <a:p>
              <a:pPr marL="0" marR="0" lvl="0" indent="0" algn="ctr" defTabSz="1216675" rtl="0" eaLnBrk="1" fontAlgn="base" latinLnBrk="0" hangingPunct="1">
                <a:lnSpc>
                  <a:spcPct val="100000"/>
                </a:lnSpc>
                <a:spcBef>
                  <a:spcPct val="0"/>
                </a:spcBef>
                <a:spcAft>
                  <a:spcPct val="0"/>
                </a:spcAft>
                <a:buClrTx/>
                <a:buSzTx/>
                <a:buFontTx/>
                <a:buNone/>
                <a:tabLst/>
                <a:defRPr/>
              </a:pPr>
              <a:endParaRPr kumimoji="0" lang="en-US" sz="1587" b="0" i="0" u="none" strike="noStrike" kern="1200" cap="none" spc="0" normalizeH="0" baseline="0" noProof="0">
                <a:ln>
                  <a:noFill/>
                </a:ln>
                <a:solidFill>
                  <a:prstClr val="black"/>
                </a:solidFill>
                <a:effectLst/>
                <a:uLnTx/>
                <a:uFillTx/>
                <a:latin typeface="AdihausDIN" pitchFamily="34" charset="0"/>
                <a:ea typeface="+mn-ea"/>
                <a:cs typeface="Arial" charset="0"/>
              </a:endParaRPr>
            </a:p>
          </p:txBody>
        </p:sp>
        <p:sp>
          <p:nvSpPr>
            <p:cNvPr id="200" name="Rectangle 199">
              <a:extLst>
                <a:ext uri="{FF2B5EF4-FFF2-40B4-BE49-F238E27FC236}">
                  <a16:creationId xmlns:a16="http://schemas.microsoft.com/office/drawing/2014/main" id="{3D2D1930-6B81-DB40-9BB4-224D5FB43FEC}"/>
                </a:ext>
              </a:extLst>
            </p:cNvPr>
            <p:cNvSpPr/>
            <p:nvPr/>
          </p:nvSpPr>
          <p:spPr>
            <a:xfrm>
              <a:off x="1670440" y="4192893"/>
              <a:ext cx="1031664" cy="310513"/>
            </a:xfrm>
            <a:prstGeom prst="rect">
              <a:avLst/>
            </a:prstGeom>
          </p:spPr>
          <p:txBody>
            <a:bodyPr wrap="square" lIns="0" tIns="0" rIns="0" bIns="0" anchor="ctr">
              <a:spAutoFit/>
            </a:bodyPr>
            <a:lstStyle/>
            <a:p>
              <a:pPr marL="0" marR="0" lvl="0" indent="0" algn="ctr" defTabSz="1216675" rtl="0" eaLnBrk="1" fontAlgn="base" latinLnBrk="0" hangingPunct="1">
                <a:lnSpc>
                  <a:spcPct val="100000"/>
                </a:lnSpc>
                <a:spcBef>
                  <a:spcPct val="0"/>
                </a:spcBef>
                <a:spcAft>
                  <a:spcPct val="0"/>
                </a:spcAft>
                <a:buClrTx/>
                <a:buSzTx/>
                <a:buFontTx/>
                <a:buNone/>
                <a:tabLst/>
                <a:defRPr/>
              </a:pPr>
              <a:r>
                <a:rPr kumimoji="0" lang="en-US" sz="1587" b="1" i="0" u="none" strike="noStrike" kern="1200" cap="none" spc="0" normalizeH="0" baseline="0" noProof="0">
                  <a:ln>
                    <a:noFill/>
                  </a:ln>
                  <a:solidFill>
                    <a:prstClr val="black"/>
                  </a:solidFill>
                  <a:effectLst/>
                  <a:uLnTx/>
                  <a:uFillTx/>
                  <a:latin typeface="AdihausDIN" pitchFamily="34" charset="0"/>
                  <a:ea typeface="+mn-ea"/>
                  <a:cs typeface="Arial" charset="0"/>
                </a:rPr>
                <a:t>Hub</a:t>
              </a:r>
            </a:p>
            <a:p>
              <a:pPr marL="0" marR="0" lvl="0" indent="0" algn="ctr" defTabSz="1216675" rtl="0" eaLnBrk="1" fontAlgn="base" latinLnBrk="0" hangingPunct="1">
                <a:lnSpc>
                  <a:spcPct val="100000"/>
                </a:lnSpc>
                <a:spcBef>
                  <a:spcPct val="0"/>
                </a:spcBef>
                <a:spcAft>
                  <a:spcPct val="0"/>
                </a:spcAft>
                <a:buClrTx/>
                <a:buSzTx/>
                <a:buFontTx/>
                <a:buNone/>
                <a:tabLst/>
                <a:defRPr/>
              </a:pPr>
              <a:r>
                <a:rPr kumimoji="0" lang="en-US" sz="1587" b="0" i="0" u="none" strike="noStrike" kern="1200" cap="none" spc="0" normalizeH="0" baseline="0" noProof="0">
                  <a:ln>
                    <a:noFill/>
                  </a:ln>
                  <a:solidFill>
                    <a:prstClr val="black"/>
                  </a:solidFill>
                  <a:effectLst/>
                  <a:uLnTx/>
                  <a:uFillTx/>
                  <a:latin typeface="AdihausDIN" pitchFamily="34" charset="0"/>
                  <a:ea typeface="+mn-ea"/>
                  <a:cs typeface="Arial" charset="0"/>
                </a:rPr>
                <a:t>Operating model</a:t>
              </a:r>
            </a:p>
          </p:txBody>
        </p:sp>
        <p:sp>
          <p:nvSpPr>
            <p:cNvPr id="201" name="Rectangle 200">
              <a:extLst>
                <a:ext uri="{FF2B5EF4-FFF2-40B4-BE49-F238E27FC236}">
                  <a16:creationId xmlns:a16="http://schemas.microsoft.com/office/drawing/2014/main" id="{CE1903F3-BBEE-BA49-94F7-B0CEC25A27CE}"/>
                </a:ext>
              </a:extLst>
            </p:cNvPr>
            <p:cNvSpPr/>
            <p:nvPr/>
          </p:nvSpPr>
          <p:spPr>
            <a:xfrm>
              <a:off x="536549" y="4185127"/>
              <a:ext cx="1064294" cy="310513"/>
            </a:xfrm>
            <a:prstGeom prst="rect">
              <a:avLst/>
            </a:prstGeom>
          </p:spPr>
          <p:txBody>
            <a:bodyPr wrap="square" lIns="0" tIns="0" rIns="0" bIns="0" anchor="ctr">
              <a:spAutoFit/>
            </a:bodyPr>
            <a:lstStyle/>
            <a:p>
              <a:pPr marL="0" marR="0" lvl="0" indent="0" algn="ctr" defTabSz="1216675" rtl="0" eaLnBrk="1" fontAlgn="base" latinLnBrk="0" hangingPunct="1">
                <a:lnSpc>
                  <a:spcPct val="100000"/>
                </a:lnSpc>
                <a:spcBef>
                  <a:spcPct val="0"/>
                </a:spcBef>
                <a:spcAft>
                  <a:spcPct val="0"/>
                </a:spcAft>
                <a:buClrTx/>
                <a:buSzTx/>
                <a:buFontTx/>
                <a:buNone/>
                <a:tabLst/>
                <a:defRPr/>
              </a:pPr>
              <a:r>
                <a:rPr kumimoji="0" lang="en-US" sz="1587" b="1" i="0" u="none" strike="noStrike" kern="1200" cap="none" spc="0" normalizeH="0" baseline="0" noProof="0">
                  <a:ln>
                    <a:noFill/>
                  </a:ln>
                  <a:solidFill>
                    <a:prstClr val="black"/>
                  </a:solidFill>
                  <a:effectLst/>
                  <a:uLnTx/>
                  <a:uFillTx/>
                  <a:latin typeface="AdihausDIN" pitchFamily="34" charset="0"/>
                  <a:ea typeface="+mn-ea"/>
                  <a:cs typeface="Arial" charset="0"/>
                </a:rPr>
                <a:t>Capability</a:t>
              </a:r>
            </a:p>
            <a:p>
              <a:pPr marL="0" marR="0" lvl="0" indent="0" algn="ctr" defTabSz="1216675" rtl="0" eaLnBrk="1" fontAlgn="base" latinLnBrk="0" hangingPunct="1">
                <a:lnSpc>
                  <a:spcPct val="100000"/>
                </a:lnSpc>
                <a:spcBef>
                  <a:spcPct val="0"/>
                </a:spcBef>
                <a:spcAft>
                  <a:spcPct val="0"/>
                </a:spcAft>
                <a:buClrTx/>
                <a:buSzTx/>
                <a:buFontTx/>
                <a:buNone/>
                <a:tabLst/>
                <a:defRPr/>
              </a:pPr>
              <a:r>
                <a:rPr kumimoji="0" lang="en-US" sz="1587" b="0" i="0" u="none" strike="noStrike" kern="1200" cap="none" spc="0" normalizeH="0" baseline="0" noProof="0">
                  <a:ln>
                    <a:noFill/>
                  </a:ln>
                  <a:solidFill>
                    <a:prstClr val="black"/>
                  </a:solidFill>
                  <a:effectLst/>
                  <a:uLnTx/>
                  <a:uFillTx/>
                  <a:latin typeface="AdihausDIN" pitchFamily="34" charset="0"/>
                  <a:ea typeface="+mn-ea"/>
                  <a:cs typeface="Arial" charset="0"/>
                </a:rPr>
                <a:t>Chapter logic</a:t>
              </a:r>
            </a:p>
          </p:txBody>
        </p:sp>
      </p:grpSp>
      <p:pic>
        <p:nvPicPr>
          <p:cNvPr id="3" name="Graphic 2" descr="User with solid fill">
            <a:extLst>
              <a:ext uri="{FF2B5EF4-FFF2-40B4-BE49-F238E27FC236}">
                <a16:creationId xmlns:a16="http://schemas.microsoft.com/office/drawing/2014/main" id="{CDDC1D27-566A-DF4D-9E3E-15D8B59ABA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3125" y="3867643"/>
            <a:ext cx="976340" cy="976340"/>
          </a:xfrm>
          <a:prstGeom prst="rect">
            <a:avLst/>
          </a:prstGeom>
        </p:spPr>
      </p:pic>
      <p:sp>
        <p:nvSpPr>
          <p:cNvPr id="4" name="TextBox 3">
            <a:extLst>
              <a:ext uri="{FF2B5EF4-FFF2-40B4-BE49-F238E27FC236}">
                <a16:creationId xmlns:a16="http://schemas.microsoft.com/office/drawing/2014/main" id="{742738AA-29ED-BF4A-8119-2B9493393413}"/>
              </a:ext>
            </a:extLst>
          </p:cNvPr>
          <p:cNvSpPr txBox="1"/>
          <p:nvPr/>
        </p:nvSpPr>
        <p:spPr bwMode="gray">
          <a:xfrm>
            <a:off x="1906134" y="4398422"/>
            <a:ext cx="325104" cy="294204"/>
          </a:xfrm>
          <a:prstGeom prst="rect">
            <a:avLst/>
          </a:prstGeom>
          <a:noFill/>
        </p:spPr>
        <p:txBody>
          <a:bodyPr vert="horz" wrap="none" lIns="0" tIns="0" rIns="0" bIns="0" rtlCol="0" anchor="t" anchorCtr="0">
            <a:noAutofit/>
          </a:bodyPr>
          <a:lstStyle/>
          <a:p>
            <a:pPr marL="0" marR="0" lvl="0" indent="0" algn="l" defTabSz="1216675" rtl="0" eaLnBrk="1" fontAlgn="base" latinLnBrk="0" hangingPunct="1">
              <a:lnSpc>
                <a:spcPct val="90000"/>
              </a:lnSpc>
              <a:spcBef>
                <a:spcPct val="0"/>
              </a:spcBef>
              <a:spcAft>
                <a:spcPts val="794"/>
              </a:spcAft>
              <a:buClrTx/>
              <a:buSzPct val="90000"/>
              <a:buFontTx/>
              <a:buNone/>
              <a:tabLst/>
              <a:defRPr/>
            </a:pPr>
            <a:r>
              <a:rPr kumimoji="0" lang="en-DE" sz="2381" b="0" i="0" u="none" strike="noStrike" kern="1200" cap="none" spc="0" normalizeH="0" baseline="0" noProof="0">
                <a:ln>
                  <a:noFill/>
                </a:ln>
                <a:solidFill>
                  <a:prstClr val="white"/>
                </a:solidFill>
                <a:effectLst/>
                <a:uLnTx/>
                <a:uFillTx/>
                <a:latin typeface="AdihausDIN"/>
                <a:ea typeface="+mn-ea"/>
                <a:cs typeface="Arial" charset="0"/>
              </a:rPr>
              <a:t>&lt;/&gt;</a:t>
            </a:r>
          </a:p>
        </p:txBody>
      </p:sp>
      <p:sp>
        <p:nvSpPr>
          <p:cNvPr id="243" name="TextBox 242">
            <a:extLst>
              <a:ext uri="{FF2B5EF4-FFF2-40B4-BE49-F238E27FC236}">
                <a16:creationId xmlns:a16="http://schemas.microsoft.com/office/drawing/2014/main" id="{25685DD1-D336-9445-8A2B-F3750C60A154}"/>
              </a:ext>
            </a:extLst>
          </p:cNvPr>
          <p:cNvSpPr txBox="1"/>
          <p:nvPr/>
        </p:nvSpPr>
        <p:spPr bwMode="gray">
          <a:xfrm>
            <a:off x="1624206" y="1562141"/>
            <a:ext cx="2543784" cy="208024"/>
          </a:xfrm>
          <a:prstGeom prst="rect">
            <a:avLst/>
          </a:prstGeom>
          <a:noFill/>
        </p:spPr>
        <p:txBody>
          <a:bodyPr vert="horz" wrap="square" lIns="0" tIns="0" rIns="0" bIns="0" rtlCol="0" anchor="ctr" anchorCtr="0">
            <a:noAutofit/>
          </a:bodyPr>
          <a:lstStyle/>
          <a:p>
            <a:pPr marL="0" marR="0" lvl="0" indent="0" algn="l" defTabSz="1609296" rtl="0" eaLnBrk="1" fontAlgn="base" latinLnBrk="0" hangingPunct="1">
              <a:lnSpc>
                <a:spcPct val="100000"/>
              </a:lnSpc>
              <a:spcBef>
                <a:spcPct val="0"/>
              </a:spcBef>
              <a:spcAft>
                <a:spcPct val="0"/>
              </a:spcAft>
              <a:buClrTx/>
              <a:buSzTx/>
              <a:buFontTx/>
              <a:buNone/>
              <a:tabLst/>
              <a:defRPr/>
            </a:pPr>
            <a:r>
              <a:rPr kumimoji="0" lang="en-US" sz="1058" b="0" i="0" u="none" strike="noStrike" kern="1200" cap="all" spc="0" normalizeH="0" baseline="0" noProof="0">
                <a:ln>
                  <a:noFill/>
                </a:ln>
                <a:solidFill>
                  <a:prstClr val="black"/>
                </a:solidFill>
                <a:effectLst/>
                <a:uLnTx/>
                <a:uFillTx/>
                <a:latin typeface="adineue TEXT Black"/>
                <a:ea typeface="+mn-ea"/>
                <a:cs typeface="Arial" charset="0"/>
              </a:rPr>
              <a:t>Bring data &amp; technology expertise in-house</a:t>
            </a:r>
          </a:p>
        </p:txBody>
      </p:sp>
      <p:sp>
        <p:nvSpPr>
          <p:cNvPr id="244" name="TextBox 243">
            <a:extLst>
              <a:ext uri="{FF2B5EF4-FFF2-40B4-BE49-F238E27FC236}">
                <a16:creationId xmlns:a16="http://schemas.microsoft.com/office/drawing/2014/main" id="{FD35D620-C32C-1A4E-AE7D-095C23D45486}"/>
              </a:ext>
            </a:extLst>
          </p:cNvPr>
          <p:cNvSpPr txBox="1"/>
          <p:nvPr/>
        </p:nvSpPr>
        <p:spPr bwMode="gray">
          <a:xfrm>
            <a:off x="5011975" y="1534350"/>
            <a:ext cx="2606549" cy="263609"/>
          </a:xfrm>
          <a:prstGeom prst="rect">
            <a:avLst/>
          </a:prstGeom>
          <a:noFill/>
        </p:spPr>
        <p:txBody>
          <a:bodyPr vert="horz" wrap="square" lIns="0" tIns="0" rIns="0" bIns="0" rtlCol="0" anchor="ctr" anchorCtr="0">
            <a:noAutofit/>
          </a:bodyPr>
          <a:lstStyle/>
          <a:p>
            <a:pPr marL="0" marR="0" lvl="0" indent="0" algn="l" defTabSz="1609296" rtl="0" eaLnBrk="1" fontAlgn="base" latinLnBrk="0" hangingPunct="1">
              <a:lnSpc>
                <a:spcPct val="100000"/>
              </a:lnSpc>
              <a:spcBef>
                <a:spcPct val="0"/>
              </a:spcBef>
              <a:spcAft>
                <a:spcPct val="0"/>
              </a:spcAft>
              <a:buClrTx/>
              <a:buSzTx/>
              <a:buFontTx/>
              <a:buNone/>
              <a:tabLst/>
              <a:defRPr/>
            </a:pPr>
            <a:r>
              <a:rPr kumimoji="0" lang="en-US" sz="1058" b="0" i="0" u="none" strike="noStrike" kern="1200" cap="all" spc="0" normalizeH="0" baseline="0" noProof="0">
                <a:ln>
                  <a:noFill/>
                </a:ln>
                <a:solidFill>
                  <a:prstClr val="black"/>
                </a:solidFill>
                <a:effectLst/>
                <a:uLnTx/>
                <a:uFillTx/>
                <a:latin typeface="adineue TEXT Black"/>
                <a:ea typeface="+mn-ea"/>
                <a:cs typeface="Arial" charset="0"/>
              </a:rPr>
              <a:t>integrating Tech and Business to drive end-to-end accountability</a:t>
            </a:r>
          </a:p>
        </p:txBody>
      </p:sp>
      <p:sp>
        <p:nvSpPr>
          <p:cNvPr id="245" name="TextBox 244">
            <a:extLst>
              <a:ext uri="{FF2B5EF4-FFF2-40B4-BE49-F238E27FC236}">
                <a16:creationId xmlns:a16="http://schemas.microsoft.com/office/drawing/2014/main" id="{F200B24F-561F-AB4D-82AE-AEF5F12CE686}"/>
              </a:ext>
            </a:extLst>
          </p:cNvPr>
          <p:cNvSpPr txBox="1"/>
          <p:nvPr/>
        </p:nvSpPr>
        <p:spPr bwMode="gray">
          <a:xfrm>
            <a:off x="8709693" y="1562141"/>
            <a:ext cx="2596698" cy="208024"/>
          </a:xfrm>
          <a:prstGeom prst="rect">
            <a:avLst/>
          </a:prstGeom>
          <a:noFill/>
        </p:spPr>
        <p:txBody>
          <a:bodyPr vert="horz" wrap="square" lIns="0" tIns="0" rIns="0" bIns="0" rtlCol="0" anchor="ctr" anchorCtr="0">
            <a:noAutofit/>
          </a:bodyPr>
          <a:lstStyle/>
          <a:p>
            <a:pPr marL="0" marR="0" lvl="0" indent="0" algn="l" defTabSz="1609296" rtl="0" eaLnBrk="1" fontAlgn="base" latinLnBrk="0" hangingPunct="1">
              <a:lnSpc>
                <a:spcPct val="100000"/>
              </a:lnSpc>
              <a:spcBef>
                <a:spcPct val="0"/>
              </a:spcBef>
              <a:spcAft>
                <a:spcPct val="0"/>
              </a:spcAft>
              <a:buClrTx/>
              <a:buSzTx/>
              <a:buFontTx/>
              <a:buNone/>
              <a:tabLst/>
              <a:defRPr/>
            </a:pPr>
            <a:r>
              <a:rPr kumimoji="0" lang="en-US" sz="1058" b="0" i="0" u="none" strike="noStrike" kern="1200" cap="all" spc="0" normalizeH="0" baseline="0" noProof="0">
                <a:ln>
                  <a:noFill/>
                </a:ln>
                <a:solidFill>
                  <a:prstClr val="black"/>
                </a:solidFill>
                <a:effectLst/>
                <a:uLnTx/>
                <a:uFillTx/>
                <a:latin typeface="adineue TEXT Black"/>
                <a:ea typeface="+mn-ea"/>
                <a:cs typeface="Arial" charset="0"/>
              </a:rPr>
              <a:t>Empowered to shape global capability</a:t>
            </a:r>
          </a:p>
        </p:txBody>
      </p:sp>
      <p:grpSp>
        <p:nvGrpSpPr>
          <p:cNvPr id="246" name="Group 4">
            <a:extLst>
              <a:ext uri="{FF2B5EF4-FFF2-40B4-BE49-F238E27FC236}">
                <a16:creationId xmlns:a16="http://schemas.microsoft.com/office/drawing/2014/main" id="{332834F0-ED43-5B4C-A219-2008ACF6BBF9}"/>
              </a:ext>
            </a:extLst>
          </p:cNvPr>
          <p:cNvGrpSpPr>
            <a:grpSpLocks noChangeAspect="1"/>
          </p:cNvGrpSpPr>
          <p:nvPr/>
        </p:nvGrpSpPr>
        <p:grpSpPr bwMode="auto">
          <a:xfrm>
            <a:off x="1119235" y="1477041"/>
            <a:ext cx="378222" cy="378222"/>
            <a:chOff x="351" y="440"/>
            <a:chExt cx="426" cy="426"/>
          </a:xfrm>
          <a:solidFill>
            <a:srgbClr val="D22430"/>
          </a:solidFill>
        </p:grpSpPr>
        <p:sp>
          <p:nvSpPr>
            <p:cNvPr id="247" name="Freeform 5">
              <a:extLst>
                <a:ext uri="{FF2B5EF4-FFF2-40B4-BE49-F238E27FC236}">
                  <a16:creationId xmlns:a16="http://schemas.microsoft.com/office/drawing/2014/main" id="{A2CE59EB-23EE-7748-8B9E-0DF53EDD699D}"/>
                </a:ext>
              </a:extLst>
            </p:cNvPr>
            <p:cNvSpPr>
              <a:spLocks noEditPoints="1"/>
            </p:cNvSpPr>
            <p:nvPr/>
          </p:nvSpPr>
          <p:spPr bwMode="auto">
            <a:xfrm>
              <a:off x="422" y="511"/>
              <a:ext cx="284" cy="284"/>
            </a:xfrm>
            <a:custGeom>
              <a:avLst/>
              <a:gdLst>
                <a:gd name="T0" fmla="*/ 174 w 192"/>
                <a:gd name="T1" fmla="*/ 192 h 192"/>
                <a:gd name="T2" fmla="*/ 18 w 192"/>
                <a:gd name="T3" fmla="*/ 192 h 192"/>
                <a:gd name="T4" fmla="*/ 0 w 192"/>
                <a:gd name="T5" fmla="*/ 174 h 192"/>
                <a:gd name="T6" fmla="*/ 0 w 192"/>
                <a:gd name="T7" fmla="*/ 18 h 192"/>
                <a:gd name="T8" fmla="*/ 18 w 192"/>
                <a:gd name="T9" fmla="*/ 0 h 192"/>
                <a:gd name="T10" fmla="*/ 174 w 192"/>
                <a:gd name="T11" fmla="*/ 0 h 192"/>
                <a:gd name="T12" fmla="*/ 192 w 192"/>
                <a:gd name="T13" fmla="*/ 18 h 192"/>
                <a:gd name="T14" fmla="*/ 192 w 192"/>
                <a:gd name="T15" fmla="*/ 174 h 192"/>
                <a:gd name="T16" fmla="*/ 174 w 192"/>
                <a:gd name="T17" fmla="*/ 192 h 192"/>
                <a:gd name="T18" fmla="*/ 18 w 192"/>
                <a:gd name="T19" fmla="*/ 12 h 192"/>
                <a:gd name="T20" fmla="*/ 12 w 192"/>
                <a:gd name="T21" fmla="*/ 18 h 192"/>
                <a:gd name="T22" fmla="*/ 12 w 192"/>
                <a:gd name="T23" fmla="*/ 174 h 192"/>
                <a:gd name="T24" fmla="*/ 18 w 192"/>
                <a:gd name="T25" fmla="*/ 180 h 192"/>
                <a:gd name="T26" fmla="*/ 174 w 192"/>
                <a:gd name="T27" fmla="*/ 180 h 192"/>
                <a:gd name="T28" fmla="*/ 180 w 192"/>
                <a:gd name="T29" fmla="*/ 174 h 192"/>
                <a:gd name="T30" fmla="*/ 180 w 192"/>
                <a:gd name="T31" fmla="*/ 18 h 192"/>
                <a:gd name="T32" fmla="*/ 174 w 192"/>
                <a:gd name="T33" fmla="*/ 12 h 192"/>
                <a:gd name="T34" fmla="*/ 18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74" y="192"/>
                  </a:moveTo>
                  <a:cubicBezTo>
                    <a:pt x="18" y="192"/>
                    <a:pt x="18" y="192"/>
                    <a:pt x="18" y="192"/>
                  </a:cubicBezTo>
                  <a:cubicBezTo>
                    <a:pt x="8" y="192"/>
                    <a:pt x="0" y="184"/>
                    <a:pt x="0" y="174"/>
                  </a:cubicBezTo>
                  <a:cubicBezTo>
                    <a:pt x="0" y="18"/>
                    <a:pt x="0" y="18"/>
                    <a:pt x="0" y="18"/>
                  </a:cubicBezTo>
                  <a:cubicBezTo>
                    <a:pt x="0" y="9"/>
                    <a:pt x="8" y="0"/>
                    <a:pt x="18" y="0"/>
                  </a:cubicBezTo>
                  <a:cubicBezTo>
                    <a:pt x="174" y="0"/>
                    <a:pt x="174" y="0"/>
                    <a:pt x="174" y="0"/>
                  </a:cubicBezTo>
                  <a:cubicBezTo>
                    <a:pt x="184" y="0"/>
                    <a:pt x="192" y="9"/>
                    <a:pt x="192" y="18"/>
                  </a:cubicBezTo>
                  <a:cubicBezTo>
                    <a:pt x="192" y="174"/>
                    <a:pt x="192" y="174"/>
                    <a:pt x="192" y="174"/>
                  </a:cubicBezTo>
                  <a:cubicBezTo>
                    <a:pt x="192" y="184"/>
                    <a:pt x="184" y="192"/>
                    <a:pt x="174" y="192"/>
                  </a:cubicBezTo>
                  <a:close/>
                  <a:moveTo>
                    <a:pt x="18" y="12"/>
                  </a:moveTo>
                  <a:cubicBezTo>
                    <a:pt x="15" y="12"/>
                    <a:pt x="12" y="15"/>
                    <a:pt x="12" y="18"/>
                  </a:cubicBezTo>
                  <a:cubicBezTo>
                    <a:pt x="12" y="174"/>
                    <a:pt x="12" y="174"/>
                    <a:pt x="12" y="174"/>
                  </a:cubicBezTo>
                  <a:cubicBezTo>
                    <a:pt x="12" y="178"/>
                    <a:pt x="15" y="180"/>
                    <a:pt x="18" y="180"/>
                  </a:cubicBezTo>
                  <a:cubicBezTo>
                    <a:pt x="174" y="180"/>
                    <a:pt x="174" y="180"/>
                    <a:pt x="174" y="180"/>
                  </a:cubicBezTo>
                  <a:cubicBezTo>
                    <a:pt x="178" y="180"/>
                    <a:pt x="180" y="178"/>
                    <a:pt x="180" y="174"/>
                  </a:cubicBezTo>
                  <a:cubicBezTo>
                    <a:pt x="180" y="18"/>
                    <a:pt x="180" y="18"/>
                    <a:pt x="180" y="18"/>
                  </a:cubicBezTo>
                  <a:cubicBezTo>
                    <a:pt x="180" y="15"/>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48" name="Freeform 6">
              <a:extLst>
                <a:ext uri="{FF2B5EF4-FFF2-40B4-BE49-F238E27FC236}">
                  <a16:creationId xmlns:a16="http://schemas.microsoft.com/office/drawing/2014/main" id="{312E8A18-FF04-664B-8ADC-40FEFB550C80}"/>
                </a:ext>
              </a:extLst>
            </p:cNvPr>
            <p:cNvSpPr>
              <a:spLocks/>
            </p:cNvSpPr>
            <p:nvPr/>
          </p:nvSpPr>
          <p:spPr bwMode="auto">
            <a:xfrm>
              <a:off x="546"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49" name="Freeform 7">
              <a:extLst>
                <a:ext uri="{FF2B5EF4-FFF2-40B4-BE49-F238E27FC236}">
                  <a16:creationId xmlns:a16="http://schemas.microsoft.com/office/drawing/2014/main" id="{EF4CB743-B6F8-6343-89C5-48A1B597ED41}"/>
                </a:ext>
              </a:extLst>
            </p:cNvPr>
            <p:cNvSpPr>
              <a:spLocks/>
            </p:cNvSpPr>
            <p:nvPr/>
          </p:nvSpPr>
          <p:spPr bwMode="auto">
            <a:xfrm>
              <a:off x="47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0" name="Freeform 8">
              <a:extLst>
                <a:ext uri="{FF2B5EF4-FFF2-40B4-BE49-F238E27FC236}">
                  <a16:creationId xmlns:a16="http://schemas.microsoft.com/office/drawing/2014/main" id="{FD9A2713-C385-934A-8C42-134C6F3B2172}"/>
                </a:ext>
              </a:extLst>
            </p:cNvPr>
            <p:cNvSpPr>
              <a:spLocks/>
            </p:cNvSpPr>
            <p:nvPr/>
          </p:nvSpPr>
          <p:spPr bwMode="auto">
            <a:xfrm>
              <a:off x="63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1" name="Freeform 9">
              <a:extLst>
                <a:ext uri="{FF2B5EF4-FFF2-40B4-BE49-F238E27FC236}">
                  <a16:creationId xmlns:a16="http://schemas.microsoft.com/office/drawing/2014/main" id="{FA6C143B-1729-C240-AB94-3291EFC4D04F}"/>
                </a:ext>
              </a:extLst>
            </p:cNvPr>
            <p:cNvSpPr>
              <a:spLocks/>
            </p:cNvSpPr>
            <p:nvPr/>
          </p:nvSpPr>
          <p:spPr bwMode="auto">
            <a:xfrm>
              <a:off x="351" y="653"/>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2" name="Freeform 10">
              <a:extLst>
                <a:ext uri="{FF2B5EF4-FFF2-40B4-BE49-F238E27FC236}">
                  <a16:creationId xmlns:a16="http://schemas.microsoft.com/office/drawing/2014/main" id="{01DA72A1-C099-CC42-B5E0-3F13AD2289BE}"/>
                </a:ext>
              </a:extLst>
            </p:cNvPr>
            <p:cNvSpPr>
              <a:spLocks/>
            </p:cNvSpPr>
            <p:nvPr/>
          </p:nvSpPr>
          <p:spPr bwMode="auto">
            <a:xfrm>
              <a:off x="351"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3" name="Freeform 11">
              <a:extLst>
                <a:ext uri="{FF2B5EF4-FFF2-40B4-BE49-F238E27FC236}">
                  <a16:creationId xmlns:a16="http://schemas.microsoft.com/office/drawing/2014/main" id="{A1B54FAB-C601-FE48-9CAC-5B99F91B4036}"/>
                </a:ext>
              </a:extLst>
            </p:cNvPr>
            <p:cNvSpPr>
              <a:spLocks/>
            </p:cNvSpPr>
            <p:nvPr/>
          </p:nvSpPr>
          <p:spPr bwMode="auto">
            <a:xfrm>
              <a:off x="351"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4" name="Freeform 12">
              <a:extLst>
                <a:ext uri="{FF2B5EF4-FFF2-40B4-BE49-F238E27FC236}">
                  <a16:creationId xmlns:a16="http://schemas.microsoft.com/office/drawing/2014/main" id="{54224624-391F-5846-9CDD-D8F405784E20}"/>
                </a:ext>
              </a:extLst>
            </p:cNvPr>
            <p:cNvSpPr>
              <a:spLocks/>
            </p:cNvSpPr>
            <p:nvPr/>
          </p:nvSpPr>
          <p:spPr bwMode="auto">
            <a:xfrm>
              <a:off x="564"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5" name="Freeform 13">
              <a:extLst>
                <a:ext uri="{FF2B5EF4-FFF2-40B4-BE49-F238E27FC236}">
                  <a16:creationId xmlns:a16="http://schemas.microsoft.com/office/drawing/2014/main" id="{BEDD5681-AEE0-4041-8028-8834B0B7BBE3}"/>
                </a:ext>
              </a:extLst>
            </p:cNvPr>
            <p:cNvSpPr>
              <a:spLocks/>
            </p:cNvSpPr>
            <p:nvPr/>
          </p:nvSpPr>
          <p:spPr bwMode="auto">
            <a:xfrm>
              <a:off x="63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6" name="Freeform 14">
              <a:extLst>
                <a:ext uri="{FF2B5EF4-FFF2-40B4-BE49-F238E27FC236}">
                  <a16:creationId xmlns:a16="http://schemas.microsoft.com/office/drawing/2014/main" id="{FCAA949A-18AF-4744-BA30-84644FA3B16B}"/>
                </a:ext>
              </a:extLst>
            </p:cNvPr>
            <p:cNvSpPr>
              <a:spLocks/>
            </p:cNvSpPr>
            <p:nvPr/>
          </p:nvSpPr>
          <p:spPr bwMode="auto">
            <a:xfrm>
              <a:off x="47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7" name="Freeform 15">
              <a:extLst>
                <a:ext uri="{FF2B5EF4-FFF2-40B4-BE49-F238E27FC236}">
                  <a16:creationId xmlns:a16="http://schemas.microsoft.com/office/drawing/2014/main" id="{8E064B1E-39AA-4047-A3F8-06E8D450E7A2}"/>
                </a:ext>
              </a:extLst>
            </p:cNvPr>
            <p:cNvSpPr>
              <a:spLocks/>
            </p:cNvSpPr>
            <p:nvPr/>
          </p:nvSpPr>
          <p:spPr bwMode="auto">
            <a:xfrm>
              <a:off x="688" y="635"/>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8" name="Freeform 16">
              <a:extLst>
                <a:ext uri="{FF2B5EF4-FFF2-40B4-BE49-F238E27FC236}">
                  <a16:creationId xmlns:a16="http://schemas.microsoft.com/office/drawing/2014/main" id="{BD7E9C8B-ABAA-E544-9F2A-424EE9C58149}"/>
                </a:ext>
              </a:extLst>
            </p:cNvPr>
            <p:cNvSpPr>
              <a:spLocks/>
            </p:cNvSpPr>
            <p:nvPr/>
          </p:nvSpPr>
          <p:spPr bwMode="auto">
            <a:xfrm>
              <a:off x="688"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59" name="Freeform 17">
              <a:extLst>
                <a:ext uri="{FF2B5EF4-FFF2-40B4-BE49-F238E27FC236}">
                  <a16:creationId xmlns:a16="http://schemas.microsoft.com/office/drawing/2014/main" id="{9916E778-FEA3-184D-8BCF-D5034958259D}"/>
                </a:ext>
              </a:extLst>
            </p:cNvPr>
            <p:cNvSpPr>
              <a:spLocks/>
            </p:cNvSpPr>
            <p:nvPr/>
          </p:nvSpPr>
          <p:spPr bwMode="auto">
            <a:xfrm>
              <a:off x="688"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0" name="Freeform 18">
              <a:extLst>
                <a:ext uri="{FF2B5EF4-FFF2-40B4-BE49-F238E27FC236}">
                  <a16:creationId xmlns:a16="http://schemas.microsoft.com/office/drawing/2014/main" id="{C2970F45-DCD2-BF4B-B264-B2184BCD9F68}"/>
                </a:ext>
              </a:extLst>
            </p:cNvPr>
            <p:cNvSpPr>
              <a:spLocks noEditPoints="1"/>
            </p:cNvSpPr>
            <p:nvPr/>
          </p:nvSpPr>
          <p:spPr bwMode="auto">
            <a:xfrm>
              <a:off x="457" y="547"/>
              <a:ext cx="214" cy="213"/>
            </a:xfrm>
            <a:custGeom>
              <a:avLst/>
              <a:gdLst>
                <a:gd name="T0" fmla="*/ 114 w 144"/>
                <a:gd name="T1" fmla="*/ 144 h 144"/>
                <a:gd name="T2" fmla="*/ 30 w 144"/>
                <a:gd name="T3" fmla="*/ 144 h 144"/>
                <a:gd name="T4" fmla="*/ 0 w 144"/>
                <a:gd name="T5" fmla="*/ 114 h 144"/>
                <a:gd name="T6" fmla="*/ 0 w 144"/>
                <a:gd name="T7" fmla="*/ 30 h 144"/>
                <a:gd name="T8" fmla="*/ 30 w 144"/>
                <a:gd name="T9" fmla="*/ 0 h 144"/>
                <a:gd name="T10" fmla="*/ 114 w 144"/>
                <a:gd name="T11" fmla="*/ 0 h 144"/>
                <a:gd name="T12" fmla="*/ 144 w 144"/>
                <a:gd name="T13" fmla="*/ 30 h 144"/>
                <a:gd name="T14" fmla="*/ 144 w 144"/>
                <a:gd name="T15" fmla="*/ 114 h 144"/>
                <a:gd name="T16" fmla="*/ 114 w 144"/>
                <a:gd name="T17" fmla="*/ 144 h 144"/>
                <a:gd name="T18" fmla="*/ 30 w 144"/>
                <a:gd name="T19" fmla="*/ 12 h 144"/>
                <a:gd name="T20" fmla="*/ 12 w 144"/>
                <a:gd name="T21" fmla="*/ 30 h 144"/>
                <a:gd name="T22" fmla="*/ 12 w 144"/>
                <a:gd name="T23" fmla="*/ 114 h 144"/>
                <a:gd name="T24" fmla="*/ 30 w 144"/>
                <a:gd name="T25" fmla="*/ 132 h 144"/>
                <a:gd name="T26" fmla="*/ 114 w 144"/>
                <a:gd name="T27" fmla="*/ 132 h 144"/>
                <a:gd name="T28" fmla="*/ 132 w 144"/>
                <a:gd name="T29" fmla="*/ 114 h 144"/>
                <a:gd name="T30" fmla="*/ 132 w 144"/>
                <a:gd name="T31" fmla="*/ 30 h 144"/>
                <a:gd name="T32" fmla="*/ 114 w 144"/>
                <a:gd name="T33" fmla="*/ 12 h 144"/>
                <a:gd name="T34" fmla="*/ 30 w 144"/>
                <a:gd name="T3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4">
                  <a:moveTo>
                    <a:pt x="114" y="144"/>
                  </a:moveTo>
                  <a:cubicBezTo>
                    <a:pt x="30" y="144"/>
                    <a:pt x="30" y="144"/>
                    <a:pt x="30" y="144"/>
                  </a:cubicBezTo>
                  <a:cubicBezTo>
                    <a:pt x="14" y="144"/>
                    <a:pt x="0" y="131"/>
                    <a:pt x="0" y="114"/>
                  </a:cubicBezTo>
                  <a:cubicBezTo>
                    <a:pt x="0" y="30"/>
                    <a:pt x="0" y="30"/>
                    <a:pt x="0" y="30"/>
                  </a:cubicBezTo>
                  <a:cubicBezTo>
                    <a:pt x="0" y="14"/>
                    <a:pt x="14" y="0"/>
                    <a:pt x="30" y="0"/>
                  </a:cubicBezTo>
                  <a:cubicBezTo>
                    <a:pt x="114" y="0"/>
                    <a:pt x="114" y="0"/>
                    <a:pt x="114" y="0"/>
                  </a:cubicBezTo>
                  <a:cubicBezTo>
                    <a:pt x="131" y="0"/>
                    <a:pt x="144" y="14"/>
                    <a:pt x="144" y="30"/>
                  </a:cubicBezTo>
                  <a:cubicBezTo>
                    <a:pt x="144" y="114"/>
                    <a:pt x="144" y="114"/>
                    <a:pt x="144" y="114"/>
                  </a:cubicBezTo>
                  <a:cubicBezTo>
                    <a:pt x="144" y="131"/>
                    <a:pt x="131" y="144"/>
                    <a:pt x="114" y="144"/>
                  </a:cubicBezTo>
                  <a:close/>
                  <a:moveTo>
                    <a:pt x="30" y="12"/>
                  </a:moveTo>
                  <a:cubicBezTo>
                    <a:pt x="20" y="12"/>
                    <a:pt x="12" y="21"/>
                    <a:pt x="12" y="30"/>
                  </a:cubicBezTo>
                  <a:cubicBezTo>
                    <a:pt x="12" y="114"/>
                    <a:pt x="12" y="114"/>
                    <a:pt x="12" y="114"/>
                  </a:cubicBezTo>
                  <a:cubicBezTo>
                    <a:pt x="12" y="124"/>
                    <a:pt x="20" y="132"/>
                    <a:pt x="30" y="132"/>
                  </a:cubicBezTo>
                  <a:cubicBezTo>
                    <a:pt x="114" y="132"/>
                    <a:pt x="114" y="132"/>
                    <a:pt x="114" y="132"/>
                  </a:cubicBezTo>
                  <a:cubicBezTo>
                    <a:pt x="124" y="132"/>
                    <a:pt x="132" y="124"/>
                    <a:pt x="132" y="114"/>
                  </a:cubicBezTo>
                  <a:cubicBezTo>
                    <a:pt x="132" y="30"/>
                    <a:pt x="132" y="30"/>
                    <a:pt x="132" y="30"/>
                  </a:cubicBezTo>
                  <a:cubicBezTo>
                    <a:pt x="132" y="21"/>
                    <a:pt x="124" y="12"/>
                    <a:pt x="114"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1" name="Freeform 19">
              <a:extLst>
                <a:ext uri="{FF2B5EF4-FFF2-40B4-BE49-F238E27FC236}">
                  <a16:creationId xmlns:a16="http://schemas.microsoft.com/office/drawing/2014/main" id="{6CE696F6-4D96-7541-9AB4-6C054B1F5E4D}"/>
                </a:ext>
              </a:extLst>
            </p:cNvPr>
            <p:cNvSpPr>
              <a:spLocks/>
            </p:cNvSpPr>
            <p:nvPr/>
          </p:nvSpPr>
          <p:spPr bwMode="auto">
            <a:xfrm>
              <a:off x="511" y="60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2" name="Freeform 20">
              <a:extLst>
                <a:ext uri="{FF2B5EF4-FFF2-40B4-BE49-F238E27FC236}">
                  <a16:creationId xmlns:a16="http://schemas.microsoft.com/office/drawing/2014/main" id="{92F61E85-FF84-3443-BBB2-00A98F637825}"/>
                </a:ext>
              </a:extLst>
            </p:cNvPr>
            <p:cNvSpPr>
              <a:spLocks/>
            </p:cNvSpPr>
            <p:nvPr/>
          </p:nvSpPr>
          <p:spPr bwMode="auto">
            <a:xfrm>
              <a:off x="511" y="635"/>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3" name="Freeform 21">
              <a:extLst>
                <a:ext uri="{FF2B5EF4-FFF2-40B4-BE49-F238E27FC236}">
                  <a16:creationId xmlns:a16="http://schemas.microsoft.com/office/drawing/2014/main" id="{82E67CDD-625C-9547-A2E9-2E6DFEC2F901}"/>
                </a:ext>
              </a:extLst>
            </p:cNvPr>
            <p:cNvSpPr>
              <a:spLocks/>
            </p:cNvSpPr>
            <p:nvPr/>
          </p:nvSpPr>
          <p:spPr bwMode="auto">
            <a:xfrm>
              <a:off x="564" y="68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grpSp>
      <p:grpSp>
        <p:nvGrpSpPr>
          <p:cNvPr id="264" name="Group 54">
            <a:extLst>
              <a:ext uri="{FF2B5EF4-FFF2-40B4-BE49-F238E27FC236}">
                <a16:creationId xmlns:a16="http://schemas.microsoft.com/office/drawing/2014/main" id="{43133508-3667-354D-83B5-5D85B931E3DA}"/>
              </a:ext>
            </a:extLst>
          </p:cNvPr>
          <p:cNvGrpSpPr>
            <a:grpSpLocks noChangeAspect="1"/>
          </p:cNvGrpSpPr>
          <p:nvPr/>
        </p:nvGrpSpPr>
        <p:grpSpPr bwMode="auto">
          <a:xfrm>
            <a:off x="4484476" y="1477040"/>
            <a:ext cx="423341" cy="378220"/>
            <a:chOff x="6718" y="681"/>
            <a:chExt cx="441" cy="394"/>
          </a:xfrm>
          <a:solidFill>
            <a:srgbClr val="D22430"/>
          </a:solidFill>
        </p:grpSpPr>
        <p:sp>
          <p:nvSpPr>
            <p:cNvPr id="265" name="Freeform 55">
              <a:extLst>
                <a:ext uri="{FF2B5EF4-FFF2-40B4-BE49-F238E27FC236}">
                  <a16:creationId xmlns:a16="http://schemas.microsoft.com/office/drawing/2014/main" id="{055C0E1D-A3C9-B448-AC59-A64295DC4B00}"/>
                </a:ext>
              </a:extLst>
            </p:cNvPr>
            <p:cNvSpPr>
              <a:spLocks noEditPoints="1"/>
            </p:cNvSpPr>
            <p:nvPr/>
          </p:nvSpPr>
          <p:spPr bwMode="auto">
            <a:xfrm>
              <a:off x="6883" y="681"/>
              <a:ext cx="110"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7" y="72"/>
                    <a:pt x="0" y="55"/>
                    <a:pt x="0" y="36"/>
                  </a:cubicBezTo>
                  <a:cubicBezTo>
                    <a:pt x="0" y="16"/>
                    <a:pt x="17"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50" y="60"/>
                    <a:pt x="60" y="49"/>
                    <a:pt x="60" y="36"/>
                  </a:cubicBezTo>
                  <a:cubicBezTo>
                    <a:pt x="60" y="22"/>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6" name="Freeform 56">
              <a:extLst>
                <a:ext uri="{FF2B5EF4-FFF2-40B4-BE49-F238E27FC236}">
                  <a16:creationId xmlns:a16="http://schemas.microsoft.com/office/drawing/2014/main" id="{B65F7104-7AFC-D347-B410-B34AC7C853EA}"/>
                </a:ext>
              </a:extLst>
            </p:cNvPr>
            <p:cNvSpPr>
              <a:spLocks noEditPoints="1"/>
            </p:cNvSpPr>
            <p:nvPr/>
          </p:nvSpPr>
          <p:spPr bwMode="auto">
            <a:xfrm>
              <a:off x="7030" y="717"/>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7" name="Freeform 57">
              <a:extLst>
                <a:ext uri="{FF2B5EF4-FFF2-40B4-BE49-F238E27FC236}">
                  <a16:creationId xmlns:a16="http://schemas.microsoft.com/office/drawing/2014/main" id="{8CE869D6-116B-E740-835E-70BA2495B1A9}"/>
                </a:ext>
              </a:extLst>
            </p:cNvPr>
            <p:cNvSpPr>
              <a:spLocks noEditPoints="1"/>
            </p:cNvSpPr>
            <p:nvPr/>
          </p:nvSpPr>
          <p:spPr bwMode="auto">
            <a:xfrm>
              <a:off x="6773" y="717"/>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8" name="Freeform 58">
              <a:extLst>
                <a:ext uri="{FF2B5EF4-FFF2-40B4-BE49-F238E27FC236}">
                  <a16:creationId xmlns:a16="http://schemas.microsoft.com/office/drawing/2014/main" id="{A8C204A0-9455-6A4C-80E4-B6AD31D03440}"/>
                </a:ext>
              </a:extLst>
            </p:cNvPr>
            <p:cNvSpPr>
              <a:spLocks noEditPoints="1"/>
            </p:cNvSpPr>
            <p:nvPr/>
          </p:nvSpPr>
          <p:spPr bwMode="auto">
            <a:xfrm>
              <a:off x="6718" y="989"/>
              <a:ext cx="441" cy="86"/>
            </a:xfrm>
            <a:custGeom>
              <a:avLst/>
              <a:gdLst>
                <a:gd name="T0" fmla="*/ 144 w 288"/>
                <a:gd name="T1" fmla="*/ 58 h 58"/>
                <a:gd name="T2" fmla="*/ 0 w 288"/>
                <a:gd name="T3" fmla="*/ 28 h 58"/>
                <a:gd name="T4" fmla="*/ 83 w 288"/>
                <a:gd name="T5" fmla="*/ 0 h 58"/>
                <a:gd name="T6" fmla="*/ 90 w 288"/>
                <a:gd name="T7" fmla="*/ 6 h 58"/>
                <a:gd name="T8" fmla="*/ 84 w 288"/>
                <a:gd name="T9" fmla="*/ 12 h 58"/>
                <a:gd name="T10" fmla="*/ 13 w 288"/>
                <a:gd name="T11" fmla="*/ 28 h 58"/>
                <a:gd name="T12" fmla="*/ 144 w 288"/>
                <a:gd name="T13" fmla="*/ 46 h 58"/>
                <a:gd name="T14" fmla="*/ 276 w 288"/>
                <a:gd name="T15" fmla="*/ 28 h 58"/>
                <a:gd name="T16" fmla="*/ 204 w 288"/>
                <a:gd name="T17" fmla="*/ 12 h 58"/>
                <a:gd name="T18" fmla="*/ 198 w 288"/>
                <a:gd name="T19" fmla="*/ 6 h 58"/>
                <a:gd name="T20" fmla="*/ 205 w 288"/>
                <a:gd name="T21" fmla="*/ 0 h 58"/>
                <a:gd name="T22" fmla="*/ 288 w 288"/>
                <a:gd name="T23" fmla="*/ 28 h 58"/>
                <a:gd name="T24" fmla="*/ 144 w 288"/>
                <a:gd name="T25" fmla="*/ 58 h 58"/>
                <a:gd name="T26" fmla="*/ 277 w 288"/>
                <a:gd name="T27" fmla="*/ 28 h 58"/>
                <a:gd name="T28" fmla="*/ 277 w 288"/>
                <a:gd name="T29"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8">
                  <a:moveTo>
                    <a:pt x="144" y="58"/>
                  </a:moveTo>
                  <a:cubicBezTo>
                    <a:pt x="130" y="58"/>
                    <a:pt x="0" y="57"/>
                    <a:pt x="0" y="28"/>
                  </a:cubicBezTo>
                  <a:cubicBezTo>
                    <a:pt x="0" y="14"/>
                    <a:pt x="28" y="5"/>
                    <a:pt x="83" y="0"/>
                  </a:cubicBezTo>
                  <a:cubicBezTo>
                    <a:pt x="87" y="0"/>
                    <a:pt x="90" y="2"/>
                    <a:pt x="90" y="6"/>
                  </a:cubicBezTo>
                  <a:cubicBezTo>
                    <a:pt x="90" y="9"/>
                    <a:pt x="88" y="12"/>
                    <a:pt x="84" y="12"/>
                  </a:cubicBezTo>
                  <a:cubicBezTo>
                    <a:pt x="33" y="16"/>
                    <a:pt x="16" y="24"/>
                    <a:pt x="13" y="28"/>
                  </a:cubicBezTo>
                  <a:cubicBezTo>
                    <a:pt x="19" y="34"/>
                    <a:pt x="65" y="46"/>
                    <a:pt x="144" y="46"/>
                  </a:cubicBezTo>
                  <a:cubicBezTo>
                    <a:pt x="223" y="46"/>
                    <a:pt x="270" y="34"/>
                    <a:pt x="276" y="28"/>
                  </a:cubicBezTo>
                  <a:cubicBezTo>
                    <a:pt x="273" y="24"/>
                    <a:pt x="255" y="16"/>
                    <a:pt x="204" y="12"/>
                  </a:cubicBezTo>
                  <a:cubicBezTo>
                    <a:pt x="201" y="12"/>
                    <a:pt x="198" y="9"/>
                    <a:pt x="198" y="6"/>
                  </a:cubicBezTo>
                  <a:cubicBezTo>
                    <a:pt x="199" y="2"/>
                    <a:pt x="202" y="0"/>
                    <a:pt x="205" y="0"/>
                  </a:cubicBezTo>
                  <a:cubicBezTo>
                    <a:pt x="260" y="5"/>
                    <a:pt x="288" y="14"/>
                    <a:pt x="288" y="28"/>
                  </a:cubicBezTo>
                  <a:cubicBezTo>
                    <a:pt x="288" y="57"/>
                    <a:pt x="159" y="58"/>
                    <a:pt x="144" y="58"/>
                  </a:cubicBezTo>
                  <a:close/>
                  <a:moveTo>
                    <a:pt x="277" y="28"/>
                  </a:moveTo>
                  <a:cubicBezTo>
                    <a:pt x="277" y="28"/>
                    <a:pt x="277" y="28"/>
                    <a:pt x="27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69" name="Freeform 59">
              <a:extLst>
                <a:ext uri="{FF2B5EF4-FFF2-40B4-BE49-F238E27FC236}">
                  <a16:creationId xmlns:a16="http://schemas.microsoft.com/office/drawing/2014/main" id="{9637A8A6-884A-C24E-BBA2-61A76FBBB9AD}"/>
                </a:ext>
              </a:extLst>
            </p:cNvPr>
            <p:cNvSpPr>
              <a:spLocks noEditPoints="1"/>
            </p:cNvSpPr>
            <p:nvPr/>
          </p:nvSpPr>
          <p:spPr bwMode="auto">
            <a:xfrm>
              <a:off x="6883" y="806"/>
              <a:ext cx="110" cy="180"/>
            </a:xfrm>
            <a:custGeom>
              <a:avLst/>
              <a:gdLst>
                <a:gd name="T0" fmla="*/ 66 w 72"/>
                <a:gd name="T1" fmla="*/ 120 h 120"/>
                <a:gd name="T2" fmla="*/ 6 w 72"/>
                <a:gd name="T3" fmla="*/ 120 h 120"/>
                <a:gd name="T4" fmla="*/ 0 w 72"/>
                <a:gd name="T5" fmla="*/ 114 h 120"/>
                <a:gd name="T6" fmla="*/ 0 w 72"/>
                <a:gd name="T7" fmla="*/ 36 h 120"/>
                <a:gd name="T8" fmla="*/ 36 w 72"/>
                <a:gd name="T9" fmla="*/ 0 h 120"/>
                <a:gd name="T10" fmla="*/ 72 w 72"/>
                <a:gd name="T11" fmla="*/ 36 h 120"/>
                <a:gd name="T12" fmla="*/ 72 w 72"/>
                <a:gd name="T13" fmla="*/ 114 h 120"/>
                <a:gd name="T14" fmla="*/ 66 w 72"/>
                <a:gd name="T15" fmla="*/ 120 h 120"/>
                <a:gd name="T16" fmla="*/ 12 w 72"/>
                <a:gd name="T17" fmla="*/ 108 h 120"/>
                <a:gd name="T18" fmla="*/ 60 w 72"/>
                <a:gd name="T19" fmla="*/ 108 h 120"/>
                <a:gd name="T20" fmla="*/ 60 w 72"/>
                <a:gd name="T21" fmla="*/ 36 h 120"/>
                <a:gd name="T22" fmla="*/ 36 w 72"/>
                <a:gd name="T23" fmla="*/ 12 h 120"/>
                <a:gd name="T24" fmla="*/ 12 w 72"/>
                <a:gd name="T25" fmla="*/ 36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36"/>
                    <a:pt x="0" y="36"/>
                    <a:pt x="0" y="36"/>
                  </a:cubicBezTo>
                  <a:cubicBezTo>
                    <a:pt x="0" y="16"/>
                    <a:pt x="17" y="0"/>
                    <a:pt x="36" y="0"/>
                  </a:cubicBezTo>
                  <a:cubicBezTo>
                    <a:pt x="56" y="0"/>
                    <a:pt x="72" y="16"/>
                    <a:pt x="72" y="36"/>
                  </a:cubicBezTo>
                  <a:cubicBezTo>
                    <a:pt x="72" y="114"/>
                    <a:pt x="72" y="114"/>
                    <a:pt x="72" y="114"/>
                  </a:cubicBezTo>
                  <a:cubicBezTo>
                    <a:pt x="72" y="117"/>
                    <a:pt x="70" y="120"/>
                    <a:pt x="66" y="120"/>
                  </a:cubicBezTo>
                  <a:close/>
                  <a:moveTo>
                    <a:pt x="12" y="108"/>
                  </a:moveTo>
                  <a:cubicBezTo>
                    <a:pt x="60" y="108"/>
                    <a:pt x="60" y="108"/>
                    <a:pt x="60" y="108"/>
                  </a:cubicBezTo>
                  <a:cubicBezTo>
                    <a:pt x="60" y="36"/>
                    <a:pt x="60" y="36"/>
                    <a:pt x="60" y="36"/>
                  </a:cubicBezTo>
                  <a:cubicBezTo>
                    <a:pt x="60" y="22"/>
                    <a:pt x="50" y="12"/>
                    <a:pt x="36" y="12"/>
                  </a:cubicBezTo>
                  <a:cubicBezTo>
                    <a:pt x="23" y="12"/>
                    <a:pt x="12" y="22"/>
                    <a:pt x="12" y="36"/>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0" name="Freeform 60">
              <a:extLst>
                <a:ext uri="{FF2B5EF4-FFF2-40B4-BE49-F238E27FC236}">
                  <a16:creationId xmlns:a16="http://schemas.microsoft.com/office/drawing/2014/main" id="{237C1BCB-1439-6F4D-A19A-6E88A16B4B2D}"/>
                </a:ext>
              </a:extLst>
            </p:cNvPr>
            <p:cNvSpPr>
              <a:spLocks noEditPoints="1"/>
            </p:cNvSpPr>
            <p:nvPr/>
          </p:nvSpPr>
          <p:spPr bwMode="auto">
            <a:xfrm>
              <a:off x="7030" y="806"/>
              <a:ext cx="74"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1" name="Freeform 61">
              <a:extLst>
                <a:ext uri="{FF2B5EF4-FFF2-40B4-BE49-F238E27FC236}">
                  <a16:creationId xmlns:a16="http://schemas.microsoft.com/office/drawing/2014/main" id="{F5489B3B-96A0-B74A-A890-D16EFD024F09}"/>
                </a:ext>
              </a:extLst>
            </p:cNvPr>
            <p:cNvSpPr>
              <a:spLocks noEditPoints="1"/>
            </p:cNvSpPr>
            <p:nvPr/>
          </p:nvSpPr>
          <p:spPr bwMode="auto">
            <a:xfrm>
              <a:off x="6773" y="806"/>
              <a:ext cx="73" cy="144"/>
            </a:xfrm>
            <a:custGeom>
              <a:avLst/>
              <a:gdLst>
                <a:gd name="T0" fmla="*/ 42 w 48"/>
                <a:gd name="T1" fmla="*/ 96 h 96"/>
                <a:gd name="T2" fmla="*/ 6 w 48"/>
                <a:gd name="T3" fmla="*/ 96 h 96"/>
                <a:gd name="T4" fmla="*/ 0 w 48"/>
                <a:gd name="T5" fmla="*/ 90 h 96"/>
                <a:gd name="T6" fmla="*/ 0 w 48"/>
                <a:gd name="T7" fmla="*/ 24 h 96"/>
                <a:gd name="T8" fmla="*/ 24 w 48"/>
                <a:gd name="T9" fmla="*/ 0 h 96"/>
                <a:gd name="T10" fmla="*/ 48 w 48"/>
                <a:gd name="T11" fmla="*/ 24 h 96"/>
                <a:gd name="T12" fmla="*/ 48 w 48"/>
                <a:gd name="T13" fmla="*/ 90 h 96"/>
                <a:gd name="T14" fmla="*/ 42 w 48"/>
                <a:gd name="T15" fmla="*/ 96 h 96"/>
                <a:gd name="T16" fmla="*/ 12 w 48"/>
                <a:gd name="T17" fmla="*/ 84 h 96"/>
                <a:gd name="T18" fmla="*/ 36 w 48"/>
                <a:gd name="T19" fmla="*/ 84 h 96"/>
                <a:gd name="T20" fmla="*/ 36 w 48"/>
                <a:gd name="T21" fmla="*/ 24 h 96"/>
                <a:gd name="T22" fmla="*/ 24 w 48"/>
                <a:gd name="T23" fmla="*/ 12 h 96"/>
                <a:gd name="T24" fmla="*/ 12 w 48"/>
                <a:gd name="T25" fmla="*/ 24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24"/>
                    <a:pt x="0" y="24"/>
                    <a:pt x="0" y="24"/>
                  </a:cubicBezTo>
                  <a:cubicBezTo>
                    <a:pt x="0" y="10"/>
                    <a:pt x="11" y="0"/>
                    <a:pt x="24" y="0"/>
                  </a:cubicBezTo>
                  <a:cubicBezTo>
                    <a:pt x="38" y="0"/>
                    <a:pt x="48" y="10"/>
                    <a:pt x="48" y="24"/>
                  </a:cubicBezTo>
                  <a:cubicBezTo>
                    <a:pt x="48" y="90"/>
                    <a:pt x="48" y="90"/>
                    <a:pt x="48" y="90"/>
                  </a:cubicBezTo>
                  <a:cubicBezTo>
                    <a:pt x="48" y="93"/>
                    <a:pt x="46" y="96"/>
                    <a:pt x="42" y="96"/>
                  </a:cubicBezTo>
                  <a:close/>
                  <a:moveTo>
                    <a:pt x="12" y="84"/>
                  </a:moveTo>
                  <a:cubicBezTo>
                    <a:pt x="36" y="84"/>
                    <a:pt x="36" y="84"/>
                    <a:pt x="36" y="84"/>
                  </a:cubicBezTo>
                  <a:cubicBezTo>
                    <a:pt x="36" y="24"/>
                    <a:pt x="36" y="24"/>
                    <a:pt x="36" y="24"/>
                  </a:cubicBezTo>
                  <a:cubicBezTo>
                    <a:pt x="36" y="17"/>
                    <a:pt x="31" y="12"/>
                    <a:pt x="24" y="12"/>
                  </a:cubicBezTo>
                  <a:cubicBezTo>
                    <a:pt x="18" y="12"/>
                    <a:pt x="12" y="17"/>
                    <a:pt x="12" y="24"/>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grpSp>
      <p:grpSp>
        <p:nvGrpSpPr>
          <p:cNvPr id="272" name="Group 149">
            <a:extLst>
              <a:ext uri="{FF2B5EF4-FFF2-40B4-BE49-F238E27FC236}">
                <a16:creationId xmlns:a16="http://schemas.microsoft.com/office/drawing/2014/main" id="{46D2F582-8849-6943-AB61-879184FB2FD6}"/>
              </a:ext>
            </a:extLst>
          </p:cNvPr>
          <p:cNvGrpSpPr>
            <a:grpSpLocks noChangeAspect="1"/>
          </p:cNvGrpSpPr>
          <p:nvPr/>
        </p:nvGrpSpPr>
        <p:grpSpPr bwMode="auto">
          <a:xfrm>
            <a:off x="8235392" y="1481328"/>
            <a:ext cx="362875" cy="369717"/>
            <a:chOff x="4665" y="3219"/>
            <a:chExt cx="423" cy="431"/>
          </a:xfrm>
          <a:solidFill>
            <a:srgbClr val="D22430"/>
          </a:solidFill>
        </p:grpSpPr>
        <p:sp>
          <p:nvSpPr>
            <p:cNvPr id="273" name="Rectangle 150">
              <a:extLst>
                <a:ext uri="{FF2B5EF4-FFF2-40B4-BE49-F238E27FC236}">
                  <a16:creationId xmlns:a16="http://schemas.microsoft.com/office/drawing/2014/main" id="{70F2B739-49C5-B54A-897C-A9BCD528516E}"/>
                </a:ext>
              </a:extLst>
            </p:cNvPr>
            <p:cNvSpPr>
              <a:spLocks noChangeArrowheads="1"/>
            </p:cNvSpPr>
            <p:nvPr/>
          </p:nvSpPr>
          <p:spPr bwMode="auto">
            <a:xfrm>
              <a:off x="4886" y="3430"/>
              <a:ext cx="18"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4" name="Freeform 151">
              <a:extLst>
                <a:ext uri="{FF2B5EF4-FFF2-40B4-BE49-F238E27FC236}">
                  <a16:creationId xmlns:a16="http://schemas.microsoft.com/office/drawing/2014/main" id="{68BC2B0D-4EFD-0248-8FC6-1FA10B2530CC}"/>
                </a:ext>
              </a:extLst>
            </p:cNvPr>
            <p:cNvSpPr>
              <a:spLocks/>
            </p:cNvSpPr>
            <p:nvPr/>
          </p:nvSpPr>
          <p:spPr bwMode="auto">
            <a:xfrm>
              <a:off x="4665" y="3430"/>
              <a:ext cx="212" cy="184"/>
            </a:xfrm>
            <a:custGeom>
              <a:avLst/>
              <a:gdLst>
                <a:gd name="T0" fmla="*/ 138 w 138"/>
                <a:gd name="T1" fmla="*/ 123 h 123"/>
                <a:gd name="T2" fmla="*/ 6 w 138"/>
                <a:gd name="T3" fmla="*/ 123 h 123"/>
                <a:gd name="T4" fmla="*/ 0 w 138"/>
                <a:gd name="T5" fmla="*/ 117 h 123"/>
                <a:gd name="T6" fmla="*/ 0 w 138"/>
                <a:gd name="T7" fmla="*/ 89 h 123"/>
                <a:gd name="T8" fmla="*/ 28 w 138"/>
                <a:gd name="T9" fmla="*/ 49 h 123"/>
                <a:gd name="T10" fmla="*/ 84 w 138"/>
                <a:gd name="T11" fmla="*/ 29 h 123"/>
                <a:gd name="T12" fmla="*/ 84 w 138"/>
                <a:gd name="T13" fmla="*/ 0 h 123"/>
                <a:gd name="T14" fmla="*/ 96 w 138"/>
                <a:gd name="T15" fmla="*/ 0 h 123"/>
                <a:gd name="T16" fmla="*/ 96 w 138"/>
                <a:gd name="T17" fmla="*/ 33 h 123"/>
                <a:gd name="T18" fmla="*/ 92 w 138"/>
                <a:gd name="T19" fmla="*/ 39 h 123"/>
                <a:gd name="T20" fmla="*/ 32 w 138"/>
                <a:gd name="T21" fmla="*/ 61 h 123"/>
                <a:gd name="T22" fmla="*/ 12 w 138"/>
                <a:gd name="T23" fmla="*/ 89 h 123"/>
                <a:gd name="T24" fmla="*/ 12 w 138"/>
                <a:gd name="T25" fmla="*/ 111 h 123"/>
                <a:gd name="T26" fmla="*/ 138 w 138"/>
                <a:gd name="T27" fmla="*/ 111 h 123"/>
                <a:gd name="T28" fmla="*/ 138 w 138"/>
                <a:gd name="T2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3">
                  <a:moveTo>
                    <a:pt x="138" y="123"/>
                  </a:moveTo>
                  <a:cubicBezTo>
                    <a:pt x="6" y="123"/>
                    <a:pt x="6" y="123"/>
                    <a:pt x="6" y="123"/>
                  </a:cubicBezTo>
                  <a:cubicBezTo>
                    <a:pt x="3" y="123"/>
                    <a:pt x="0" y="121"/>
                    <a:pt x="0" y="117"/>
                  </a:cubicBezTo>
                  <a:cubicBezTo>
                    <a:pt x="0" y="89"/>
                    <a:pt x="0" y="89"/>
                    <a:pt x="0" y="89"/>
                  </a:cubicBezTo>
                  <a:cubicBezTo>
                    <a:pt x="0" y="71"/>
                    <a:pt x="11" y="55"/>
                    <a:pt x="28" y="49"/>
                  </a:cubicBezTo>
                  <a:cubicBezTo>
                    <a:pt x="84" y="29"/>
                    <a:pt x="84" y="29"/>
                    <a:pt x="84" y="29"/>
                  </a:cubicBezTo>
                  <a:cubicBezTo>
                    <a:pt x="84" y="0"/>
                    <a:pt x="84" y="0"/>
                    <a:pt x="84" y="0"/>
                  </a:cubicBezTo>
                  <a:cubicBezTo>
                    <a:pt x="96" y="0"/>
                    <a:pt x="96" y="0"/>
                    <a:pt x="96" y="0"/>
                  </a:cubicBezTo>
                  <a:cubicBezTo>
                    <a:pt x="96" y="33"/>
                    <a:pt x="96" y="33"/>
                    <a:pt x="96" y="33"/>
                  </a:cubicBezTo>
                  <a:cubicBezTo>
                    <a:pt x="96" y="36"/>
                    <a:pt x="94" y="38"/>
                    <a:pt x="92" y="39"/>
                  </a:cubicBezTo>
                  <a:cubicBezTo>
                    <a:pt x="32" y="61"/>
                    <a:pt x="32" y="61"/>
                    <a:pt x="32" y="61"/>
                  </a:cubicBezTo>
                  <a:cubicBezTo>
                    <a:pt x="20" y="65"/>
                    <a:pt x="12" y="76"/>
                    <a:pt x="12" y="89"/>
                  </a:cubicBezTo>
                  <a:cubicBezTo>
                    <a:pt x="12" y="111"/>
                    <a:pt x="12" y="111"/>
                    <a:pt x="12" y="111"/>
                  </a:cubicBezTo>
                  <a:cubicBezTo>
                    <a:pt x="138" y="111"/>
                    <a:pt x="138" y="111"/>
                    <a:pt x="138" y="111"/>
                  </a:cubicBezTo>
                  <a:lnTo>
                    <a:pt x="138"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5" name="Freeform 152">
              <a:extLst>
                <a:ext uri="{FF2B5EF4-FFF2-40B4-BE49-F238E27FC236}">
                  <a16:creationId xmlns:a16="http://schemas.microsoft.com/office/drawing/2014/main" id="{87A13738-A61E-1F45-B567-298DFF5326D9}"/>
                </a:ext>
              </a:extLst>
            </p:cNvPr>
            <p:cNvSpPr>
              <a:spLocks noEditPoints="1"/>
            </p:cNvSpPr>
            <p:nvPr/>
          </p:nvSpPr>
          <p:spPr bwMode="auto">
            <a:xfrm>
              <a:off x="4748" y="3219"/>
              <a:ext cx="202" cy="234"/>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29" y="156"/>
                    <a:pt x="0" y="121"/>
                    <a:pt x="0" y="78"/>
                  </a:cubicBezTo>
                  <a:cubicBezTo>
                    <a:pt x="0" y="35"/>
                    <a:pt x="29" y="0"/>
                    <a:pt x="66" y="0"/>
                  </a:cubicBezTo>
                  <a:cubicBezTo>
                    <a:pt x="102" y="0"/>
                    <a:pt x="132" y="35"/>
                    <a:pt x="132" y="78"/>
                  </a:cubicBezTo>
                  <a:cubicBezTo>
                    <a:pt x="132" y="121"/>
                    <a:pt x="102" y="156"/>
                    <a:pt x="66" y="156"/>
                  </a:cubicBezTo>
                  <a:close/>
                  <a:moveTo>
                    <a:pt x="66" y="12"/>
                  </a:moveTo>
                  <a:cubicBezTo>
                    <a:pt x="36" y="12"/>
                    <a:pt x="12" y="42"/>
                    <a:pt x="12" y="78"/>
                  </a:cubicBezTo>
                  <a:cubicBezTo>
                    <a:pt x="12" y="115"/>
                    <a:pt x="36" y="144"/>
                    <a:pt x="66" y="144"/>
                  </a:cubicBezTo>
                  <a:cubicBezTo>
                    <a:pt x="95" y="144"/>
                    <a:pt x="120" y="115"/>
                    <a:pt x="120" y="78"/>
                  </a:cubicBezTo>
                  <a:cubicBezTo>
                    <a:pt x="120" y="42"/>
                    <a:pt x="95"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6" name="Freeform 153">
              <a:extLst>
                <a:ext uri="{FF2B5EF4-FFF2-40B4-BE49-F238E27FC236}">
                  <a16:creationId xmlns:a16="http://schemas.microsoft.com/office/drawing/2014/main" id="{E2B0373E-3F78-634C-A0F9-068E10E6BFD8}"/>
                </a:ext>
              </a:extLst>
            </p:cNvPr>
            <p:cNvSpPr>
              <a:spLocks/>
            </p:cNvSpPr>
            <p:nvPr/>
          </p:nvSpPr>
          <p:spPr bwMode="auto">
            <a:xfrm>
              <a:off x="4754" y="3284"/>
              <a:ext cx="187" cy="54"/>
            </a:xfrm>
            <a:custGeom>
              <a:avLst/>
              <a:gdLst>
                <a:gd name="T0" fmla="*/ 106 w 122"/>
                <a:gd name="T1" fmla="*/ 36 h 36"/>
                <a:gd name="T2" fmla="*/ 71 w 122"/>
                <a:gd name="T3" fmla="*/ 17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4 h 36"/>
                <a:gd name="T20" fmla="*/ 119 w 122"/>
                <a:gd name="T21" fmla="*/ 23 h 36"/>
                <a:gd name="T22" fmla="*/ 121 w 122"/>
                <a:gd name="T23" fmla="*/ 23 h 36"/>
                <a:gd name="T24" fmla="*/ 122 w 122"/>
                <a:gd name="T25" fmla="*/ 35 h 36"/>
                <a:gd name="T26" fmla="*/ 119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1" y="36"/>
                    <a:pt x="80" y="30"/>
                    <a:pt x="71" y="17"/>
                  </a:cubicBezTo>
                  <a:cubicBezTo>
                    <a:pt x="60" y="28"/>
                    <a:pt x="42" y="35"/>
                    <a:pt x="26" y="35"/>
                  </a:cubicBezTo>
                  <a:cubicBezTo>
                    <a:pt x="16" y="35"/>
                    <a:pt x="8" y="33"/>
                    <a:pt x="0" y="29"/>
                  </a:cubicBezTo>
                  <a:cubicBezTo>
                    <a:pt x="5" y="18"/>
                    <a:pt x="5" y="18"/>
                    <a:pt x="5" y="18"/>
                  </a:cubicBezTo>
                  <a:cubicBezTo>
                    <a:pt x="12" y="22"/>
                    <a:pt x="18" y="23"/>
                    <a:pt x="26" y="23"/>
                  </a:cubicBezTo>
                  <a:cubicBezTo>
                    <a:pt x="41" y="23"/>
                    <a:pt x="60" y="14"/>
                    <a:pt x="66" y="3"/>
                  </a:cubicBezTo>
                  <a:cubicBezTo>
                    <a:pt x="67" y="2"/>
                    <a:pt x="69" y="0"/>
                    <a:pt x="71" y="0"/>
                  </a:cubicBezTo>
                  <a:cubicBezTo>
                    <a:pt x="73" y="0"/>
                    <a:pt x="75" y="1"/>
                    <a:pt x="76" y="3"/>
                  </a:cubicBezTo>
                  <a:cubicBezTo>
                    <a:pt x="86" y="21"/>
                    <a:pt x="97" y="27"/>
                    <a:pt x="115" y="24"/>
                  </a:cubicBezTo>
                  <a:cubicBezTo>
                    <a:pt x="116" y="23"/>
                    <a:pt x="118" y="23"/>
                    <a:pt x="119" y="23"/>
                  </a:cubicBezTo>
                  <a:cubicBezTo>
                    <a:pt x="119" y="23"/>
                    <a:pt x="120" y="23"/>
                    <a:pt x="121" y="23"/>
                  </a:cubicBezTo>
                  <a:cubicBezTo>
                    <a:pt x="122" y="35"/>
                    <a:pt x="122" y="35"/>
                    <a:pt x="122" y="35"/>
                  </a:cubicBezTo>
                  <a:cubicBezTo>
                    <a:pt x="121" y="35"/>
                    <a:pt x="120" y="35"/>
                    <a:pt x="119" y="35"/>
                  </a:cubicBezTo>
                  <a:cubicBezTo>
                    <a:pt x="118" y="35"/>
                    <a:pt x="118"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7" name="Freeform 154">
              <a:extLst>
                <a:ext uri="{FF2B5EF4-FFF2-40B4-BE49-F238E27FC236}">
                  <a16:creationId xmlns:a16="http://schemas.microsoft.com/office/drawing/2014/main" id="{0FC7ADCB-0C4E-2E4B-BF3E-230C4FC24F37}"/>
                </a:ext>
              </a:extLst>
            </p:cNvPr>
            <p:cNvSpPr>
              <a:spLocks noEditPoints="1"/>
            </p:cNvSpPr>
            <p:nvPr/>
          </p:nvSpPr>
          <p:spPr bwMode="auto">
            <a:xfrm>
              <a:off x="4923" y="3466"/>
              <a:ext cx="165" cy="184"/>
            </a:xfrm>
            <a:custGeom>
              <a:avLst/>
              <a:gdLst>
                <a:gd name="T0" fmla="*/ 54 w 108"/>
                <a:gd name="T1" fmla="*/ 123 h 123"/>
                <a:gd name="T2" fmla="*/ 52 w 108"/>
                <a:gd name="T3" fmla="*/ 123 h 123"/>
                <a:gd name="T4" fmla="*/ 0 w 108"/>
                <a:gd name="T5" fmla="*/ 82 h 123"/>
                <a:gd name="T6" fmla="*/ 0 w 108"/>
                <a:gd name="T7" fmla="*/ 81 h 123"/>
                <a:gd name="T8" fmla="*/ 0 w 108"/>
                <a:gd name="T9" fmla="*/ 10 h 123"/>
                <a:gd name="T10" fmla="*/ 3 w 108"/>
                <a:gd name="T11" fmla="*/ 4 h 123"/>
                <a:gd name="T12" fmla="*/ 9 w 108"/>
                <a:gd name="T13" fmla="*/ 5 h 123"/>
                <a:gd name="T14" fmla="*/ 30 w 108"/>
                <a:gd name="T15" fmla="*/ 13 h 123"/>
                <a:gd name="T16" fmla="*/ 49 w 108"/>
                <a:gd name="T17" fmla="*/ 3 h 123"/>
                <a:gd name="T18" fmla="*/ 59 w 108"/>
                <a:gd name="T19" fmla="*/ 3 h 123"/>
                <a:gd name="T20" fmla="*/ 78 w 108"/>
                <a:gd name="T21" fmla="*/ 13 h 123"/>
                <a:gd name="T22" fmla="*/ 98 w 108"/>
                <a:gd name="T23" fmla="*/ 5 h 123"/>
                <a:gd name="T24" fmla="*/ 105 w 108"/>
                <a:gd name="T25" fmla="*/ 4 h 123"/>
                <a:gd name="T26" fmla="*/ 108 w 108"/>
                <a:gd name="T27" fmla="*/ 10 h 123"/>
                <a:gd name="T28" fmla="*/ 108 w 108"/>
                <a:gd name="T29" fmla="*/ 81 h 123"/>
                <a:gd name="T30" fmla="*/ 108 w 108"/>
                <a:gd name="T31" fmla="*/ 82 h 123"/>
                <a:gd name="T32" fmla="*/ 55 w 108"/>
                <a:gd name="T33" fmla="*/ 123 h 123"/>
                <a:gd name="T34" fmla="*/ 54 w 108"/>
                <a:gd name="T35" fmla="*/ 123 h 123"/>
                <a:gd name="T36" fmla="*/ 12 w 108"/>
                <a:gd name="T37" fmla="*/ 80 h 123"/>
                <a:gd name="T38" fmla="*/ 54 w 108"/>
                <a:gd name="T39" fmla="*/ 111 h 123"/>
                <a:gd name="T40" fmla="*/ 96 w 108"/>
                <a:gd name="T41" fmla="*/ 80 h 123"/>
                <a:gd name="T42" fmla="*/ 96 w 108"/>
                <a:gd name="T43" fmla="*/ 20 h 123"/>
                <a:gd name="T44" fmla="*/ 78 w 108"/>
                <a:gd name="T45" fmla="*/ 25 h 123"/>
                <a:gd name="T46" fmla="*/ 54 w 108"/>
                <a:gd name="T47" fmla="*/ 16 h 123"/>
                <a:gd name="T48" fmla="*/ 30 w 108"/>
                <a:gd name="T49" fmla="*/ 25 h 123"/>
                <a:gd name="T50" fmla="*/ 12 w 108"/>
                <a:gd name="T51" fmla="*/ 20 h 123"/>
                <a:gd name="T52" fmla="*/ 12 w 108"/>
                <a:gd name="T53" fmla="*/ 8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8" h="123">
                  <a:moveTo>
                    <a:pt x="54" y="123"/>
                  </a:moveTo>
                  <a:cubicBezTo>
                    <a:pt x="53" y="123"/>
                    <a:pt x="53" y="123"/>
                    <a:pt x="52" y="123"/>
                  </a:cubicBezTo>
                  <a:cubicBezTo>
                    <a:pt x="8" y="111"/>
                    <a:pt x="0" y="83"/>
                    <a:pt x="0" y="82"/>
                  </a:cubicBezTo>
                  <a:cubicBezTo>
                    <a:pt x="0" y="82"/>
                    <a:pt x="0" y="81"/>
                    <a:pt x="0" y="81"/>
                  </a:cubicBezTo>
                  <a:cubicBezTo>
                    <a:pt x="0" y="10"/>
                    <a:pt x="0" y="10"/>
                    <a:pt x="0" y="10"/>
                  </a:cubicBezTo>
                  <a:cubicBezTo>
                    <a:pt x="0" y="7"/>
                    <a:pt x="1" y="5"/>
                    <a:pt x="3" y="4"/>
                  </a:cubicBezTo>
                  <a:cubicBezTo>
                    <a:pt x="5" y="3"/>
                    <a:pt x="7" y="3"/>
                    <a:pt x="9" y="5"/>
                  </a:cubicBezTo>
                  <a:cubicBezTo>
                    <a:pt x="17" y="10"/>
                    <a:pt x="23" y="13"/>
                    <a:pt x="30" y="13"/>
                  </a:cubicBezTo>
                  <a:cubicBezTo>
                    <a:pt x="38" y="13"/>
                    <a:pt x="44" y="9"/>
                    <a:pt x="49" y="3"/>
                  </a:cubicBezTo>
                  <a:cubicBezTo>
                    <a:pt x="51" y="0"/>
                    <a:pt x="56" y="0"/>
                    <a:pt x="59" y="3"/>
                  </a:cubicBezTo>
                  <a:cubicBezTo>
                    <a:pt x="63" y="9"/>
                    <a:pt x="70" y="13"/>
                    <a:pt x="78" y="13"/>
                  </a:cubicBezTo>
                  <a:cubicBezTo>
                    <a:pt x="84" y="13"/>
                    <a:pt x="91" y="10"/>
                    <a:pt x="98" y="5"/>
                  </a:cubicBezTo>
                  <a:cubicBezTo>
                    <a:pt x="100" y="3"/>
                    <a:pt x="103" y="3"/>
                    <a:pt x="105" y="4"/>
                  </a:cubicBezTo>
                  <a:cubicBezTo>
                    <a:pt x="107" y="5"/>
                    <a:pt x="108" y="7"/>
                    <a:pt x="108" y="10"/>
                  </a:cubicBezTo>
                  <a:cubicBezTo>
                    <a:pt x="108" y="81"/>
                    <a:pt x="108" y="81"/>
                    <a:pt x="108" y="81"/>
                  </a:cubicBezTo>
                  <a:cubicBezTo>
                    <a:pt x="108" y="81"/>
                    <a:pt x="108" y="82"/>
                    <a:pt x="108" y="82"/>
                  </a:cubicBezTo>
                  <a:cubicBezTo>
                    <a:pt x="107" y="83"/>
                    <a:pt x="99" y="111"/>
                    <a:pt x="55" y="123"/>
                  </a:cubicBezTo>
                  <a:cubicBezTo>
                    <a:pt x="55" y="123"/>
                    <a:pt x="54" y="123"/>
                    <a:pt x="54" y="123"/>
                  </a:cubicBezTo>
                  <a:close/>
                  <a:moveTo>
                    <a:pt x="12" y="80"/>
                  </a:moveTo>
                  <a:cubicBezTo>
                    <a:pt x="13" y="83"/>
                    <a:pt x="21" y="102"/>
                    <a:pt x="54" y="111"/>
                  </a:cubicBezTo>
                  <a:cubicBezTo>
                    <a:pt x="86" y="102"/>
                    <a:pt x="95" y="83"/>
                    <a:pt x="96" y="80"/>
                  </a:cubicBezTo>
                  <a:cubicBezTo>
                    <a:pt x="96" y="20"/>
                    <a:pt x="96" y="20"/>
                    <a:pt x="96" y="20"/>
                  </a:cubicBezTo>
                  <a:cubicBezTo>
                    <a:pt x="90" y="23"/>
                    <a:pt x="84" y="25"/>
                    <a:pt x="78" y="25"/>
                  </a:cubicBezTo>
                  <a:cubicBezTo>
                    <a:pt x="69" y="25"/>
                    <a:pt x="60" y="21"/>
                    <a:pt x="54" y="16"/>
                  </a:cubicBezTo>
                  <a:cubicBezTo>
                    <a:pt x="47" y="21"/>
                    <a:pt x="39" y="25"/>
                    <a:pt x="30" y="25"/>
                  </a:cubicBezTo>
                  <a:cubicBezTo>
                    <a:pt x="24" y="25"/>
                    <a:pt x="18" y="23"/>
                    <a:pt x="12" y="20"/>
                  </a:cubicBezTo>
                  <a:lnTo>
                    <a:pt x="12"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8" name="Freeform 155">
              <a:extLst>
                <a:ext uri="{FF2B5EF4-FFF2-40B4-BE49-F238E27FC236}">
                  <a16:creationId xmlns:a16="http://schemas.microsoft.com/office/drawing/2014/main" id="{F441E51F-79F4-A44D-A6B7-9C10635E5665}"/>
                </a:ext>
              </a:extLst>
            </p:cNvPr>
            <p:cNvSpPr>
              <a:spLocks/>
            </p:cNvSpPr>
            <p:nvPr/>
          </p:nvSpPr>
          <p:spPr bwMode="auto">
            <a:xfrm>
              <a:off x="4996" y="3506"/>
              <a:ext cx="19" cy="90"/>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9" y="0"/>
                    <a:pt x="12" y="3"/>
                    <a:pt x="12" y="6"/>
                  </a:cubicBezTo>
                  <a:cubicBezTo>
                    <a:pt x="12" y="54"/>
                    <a:pt x="12" y="54"/>
                    <a:pt x="12" y="54"/>
                  </a:cubicBezTo>
                  <a:cubicBezTo>
                    <a:pt x="12" y="57"/>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sp>
          <p:nvSpPr>
            <p:cNvPr id="279" name="Freeform 156">
              <a:extLst>
                <a:ext uri="{FF2B5EF4-FFF2-40B4-BE49-F238E27FC236}">
                  <a16:creationId xmlns:a16="http://schemas.microsoft.com/office/drawing/2014/main" id="{9039ED32-042C-0D41-8A73-DA137F4C1C40}"/>
                </a:ext>
              </a:extLst>
            </p:cNvPr>
            <p:cNvSpPr>
              <a:spLocks/>
            </p:cNvSpPr>
            <p:nvPr/>
          </p:nvSpPr>
          <p:spPr bwMode="auto">
            <a:xfrm>
              <a:off x="4959" y="3542"/>
              <a:ext cx="92"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2" y="12"/>
                    <a:pt x="0" y="10"/>
                    <a:pt x="0" y="6"/>
                  </a:cubicBezTo>
                  <a:cubicBezTo>
                    <a:pt x="0" y="3"/>
                    <a:pt x="2"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9982" tIns="79991" rIns="159982" bIns="79991" numCol="1" anchor="ctr" anchorCtr="0" compatLnSpc="1">
              <a:prstTxWarp prst="textNoShape">
                <a:avLst/>
              </a:prstTxWarp>
            </a:bodyPr>
            <a:lstStyle/>
            <a:p>
              <a:pPr marL="0" marR="0" lvl="0" indent="0" algn="l" defTabSz="1609296" rtl="0" eaLnBrk="1" fontAlgn="auto" latinLnBrk="0" hangingPunct="1">
                <a:lnSpc>
                  <a:spcPct val="100000"/>
                </a:lnSpc>
                <a:spcBef>
                  <a:spcPts val="0"/>
                </a:spcBef>
                <a:spcAft>
                  <a:spcPts val="0"/>
                </a:spcAft>
                <a:buClrTx/>
                <a:buSzTx/>
                <a:buFontTx/>
                <a:buNone/>
                <a:tabLst/>
                <a:defRPr/>
              </a:pPr>
              <a:endParaRPr kumimoji="0" lang="en-US" sz="1852" b="0" i="0" u="none" strike="noStrike" kern="0" cap="none" spc="0" normalizeH="0" baseline="0" noProof="0">
                <a:ln>
                  <a:noFill/>
                </a:ln>
                <a:solidFill>
                  <a:prstClr val="black"/>
                </a:solidFill>
                <a:effectLst/>
                <a:uLnTx/>
                <a:uFillTx/>
                <a:latin typeface="AdihausDIN" pitchFamily="34" charset="0"/>
                <a:ea typeface="+mn-ea"/>
                <a:cs typeface="Arial" charset="0"/>
              </a:endParaRPr>
            </a:p>
          </p:txBody>
        </p:sp>
      </p:grpSp>
      <p:pic>
        <p:nvPicPr>
          <p:cNvPr id="2" name="Picture 1">
            <a:extLst>
              <a:ext uri="{FF2B5EF4-FFF2-40B4-BE49-F238E27FC236}">
                <a16:creationId xmlns:a16="http://schemas.microsoft.com/office/drawing/2014/main" id="{FCD21D00-1018-2F46-BE37-5F4B08B10BA6}"/>
              </a:ext>
            </a:extLst>
          </p:cNvPr>
          <p:cNvPicPr>
            <a:picLocks noChangeAspect="1"/>
          </p:cNvPicPr>
          <p:nvPr/>
        </p:nvPicPr>
        <p:blipFill>
          <a:blip r:embed="rId5"/>
          <a:stretch>
            <a:fillRect/>
          </a:stretch>
        </p:blipFill>
        <p:spPr>
          <a:xfrm>
            <a:off x="4354672" y="2213284"/>
            <a:ext cx="6951719" cy="4219078"/>
          </a:xfrm>
          <a:prstGeom prst="rect">
            <a:avLst/>
          </a:prstGeom>
        </p:spPr>
      </p:pic>
    </p:spTree>
    <p:extLst>
      <p:ext uri="{BB962C8B-B14F-4D97-AF65-F5344CB8AC3E}">
        <p14:creationId xmlns:p14="http://schemas.microsoft.com/office/powerpoint/2010/main" val="2276955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32CB93-E000-A743-AE60-BC4850E1854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4799" y="1371147"/>
            <a:ext cx="2280554" cy="2228850"/>
          </a:xfrm>
          <a:prstGeom prst="ellipse">
            <a:avLst/>
          </a:prstGeom>
        </p:spPr>
      </p:pic>
      <p:pic>
        <p:nvPicPr>
          <p:cNvPr id="4" name="Picture 3">
            <a:extLst>
              <a:ext uri="{FF2B5EF4-FFF2-40B4-BE49-F238E27FC236}">
                <a16:creationId xmlns:a16="http://schemas.microsoft.com/office/drawing/2014/main" id="{329A74D1-E678-3247-99DD-5C432960E73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533190" y="4266222"/>
            <a:ext cx="2266122" cy="2264465"/>
          </a:xfrm>
          <a:prstGeom prst="ellipse">
            <a:avLst/>
          </a:prstGeom>
        </p:spPr>
      </p:pic>
      <p:sp>
        <p:nvSpPr>
          <p:cNvPr id="6" name="Title 31">
            <a:extLst>
              <a:ext uri="{FF2B5EF4-FFF2-40B4-BE49-F238E27FC236}">
                <a16:creationId xmlns:a16="http://schemas.microsoft.com/office/drawing/2014/main" id="{E04A1D67-0EEF-F548-83E5-3BCCEC8C2454}"/>
              </a:ext>
            </a:extLst>
          </p:cNvPr>
          <p:cNvSpPr txBox="1">
            <a:spLocks/>
          </p:cNvSpPr>
          <p:nvPr/>
        </p:nvSpPr>
        <p:spPr bwMode="gray">
          <a:xfrm>
            <a:off x="381875" y="381456"/>
            <a:ext cx="10284376" cy="380943"/>
          </a:xfrm>
          <a:prstGeom prst="rect">
            <a:avLst/>
          </a:prstGeom>
        </p:spPr>
        <p:txBody>
          <a:bodyPr vert="horz" lIns="0" tIns="0" rIns="0" bIns="0" rtlCol="0" anchor="t" anchorCtr="0">
            <a:noAutofit/>
          </a:bodyPr>
          <a:lstStyle>
            <a:lvl1pPr algn="l" rtl="0" eaLnBrk="1" fontAlgn="base" hangingPunct="1">
              <a:lnSpc>
                <a:spcPct val="75000"/>
              </a:lnSpc>
              <a:spcBef>
                <a:spcPct val="0"/>
              </a:spcBef>
              <a:spcAft>
                <a:spcPct val="0"/>
              </a:spcAft>
              <a:defRPr sz="3174" b="1" i="0" kern="1200" cap="all" spc="26" baseline="0">
                <a:solidFill>
                  <a:schemeClr val="tx1"/>
                </a:solidFill>
                <a:latin typeface="+mj-lt"/>
                <a:ea typeface="+mj-ea"/>
                <a:cs typeface="+mj-cs"/>
              </a:defRPr>
            </a:lvl1pPr>
            <a:lvl2pPr algn="l" rtl="0" eaLnBrk="1" fontAlgn="base" hangingPunct="1">
              <a:lnSpc>
                <a:spcPct val="75000"/>
              </a:lnSpc>
              <a:spcBef>
                <a:spcPct val="0"/>
              </a:spcBef>
              <a:spcAft>
                <a:spcPct val="0"/>
              </a:spcAft>
              <a:defRPr sz="3704" b="1" kern="1200" cap="all" spc="26" baseline="0">
                <a:solidFill>
                  <a:schemeClr val="tx1"/>
                </a:solidFill>
                <a:latin typeface="+mj-lt"/>
              </a:defRPr>
            </a:lvl2pPr>
            <a:lvl3pPr algn="l" rtl="0" eaLnBrk="1" fontAlgn="base" hangingPunct="1">
              <a:lnSpc>
                <a:spcPct val="75000"/>
              </a:lnSpc>
              <a:spcBef>
                <a:spcPct val="0"/>
              </a:spcBef>
              <a:spcAft>
                <a:spcPct val="0"/>
              </a:spcAft>
              <a:defRPr sz="3704" b="1" kern="1200" cap="all" spc="26" baseline="0">
                <a:solidFill>
                  <a:schemeClr val="tx1"/>
                </a:solidFill>
                <a:latin typeface="+mj-lt"/>
              </a:defRPr>
            </a:lvl3pPr>
            <a:lvl4pPr algn="l" rtl="0" eaLnBrk="1" fontAlgn="base" hangingPunct="1">
              <a:lnSpc>
                <a:spcPct val="75000"/>
              </a:lnSpc>
              <a:spcBef>
                <a:spcPct val="0"/>
              </a:spcBef>
              <a:spcAft>
                <a:spcPct val="0"/>
              </a:spcAft>
              <a:defRPr sz="3704" b="1" kern="1200" cap="all" spc="26" baseline="0">
                <a:solidFill>
                  <a:schemeClr val="tx1"/>
                </a:solidFill>
                <a:latin typeface="+mj-lt"/>
              </a:defRPr>
            </a:lvl4pPr>
            <a:lvl5pPr algn="l" rtl="0" eaLnBrk="1" fontAlgn="base" hangingPunct="1">
              <a:lnSpc>
                <a:spcPct val="75000"/>
              </a:lnSpc>
              <a:spcBef>
                <a:spcPct val="0"/>
              </a:spcBef>
              <a:spcAft>
                <a:spcPct val="0"/>
              </a:spcAft>
              <a:defRPr sz="3704" b="1" kern="1200" cap="all" spc="26" baseline="0">
                <a:solidFill>
                  <a:schemeClr val="tx1"/>
                </a:solidFill>
                <a:latin typeface="+mj-lt"/>
              </a:defRPr>
            </a:lvl5pPr>
            <a:lvl6pPr algn="l" rtl="0" eaLnBrk="1" hangingPunct="1">
              <a:lnSpc>
                <a:spcPct val="75000"/>
              </a:lnSpc>
              <a:defRPr sz="3704" b="1" kern="1200" cap="all" spc="26" baseline="0">
                <a:latin typeface="+mj-lt"/>
              </a:defRPr>
            </a:lvl6pPr>
            <a:lvl7pPr algn="l" rtl="0" eaLnBrk="1" hangingPunct="1">
              <a:lnSpc>
                <a:spcPct val="75000"/>
              </a:lnSpc>
              <a:defRPr sz="3704" b="1" kern="1200" cap="all" spc="26" baseline="0">
                <a:latin typeface="+mj-lt"/>
              </a:defRPr>
            </a:lvl7pPr>
            <a:lvl8pPr algn="l" rtl="0" eaLnBrk="1" hangingPunct="1">
              <a:lnSpc>
                <a:spcPct val="75000"/>
              </a:lnSpc>
              <a:defRPr sz="3704" b="1" kern="1200" cap="all" spc="26" baseline="0">
                <a:latin typeface="+mj-lt"/>
              </a:defRPr>
            </a:lvl8pPr>
            <a:lvl9pPr algn="l" eaLnBrk="1" hangingPunct="1">
              <a:lnSpc>
                <a:spcPct val="75000"/>
              </a:lnSpc>
              <a:defRPr sz="3704" b="1" kern="1200" cap="all" spc="26" baseline="0">
                <a:latin typeface="+mj-lt"/>
              </a:defRPr>
            </a:lvl9pPr>
          </a:lstStyle>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WHAT OUR BUSINESS SAYs </a:t>
            </a:r>
            <a:r>
              <a:rPr kumimoji="0" lang="en-US" sz="3174" b="1" i="0" u="none" strike="noStrike" kern="1200" cap="all" spc="26" normalizeH="0" baseline="0" noProof="0" dirty="0" err="1">
                <a:ln>
                  <a:noFill/>
                </a:ln>
                <a:solidFill>
                  <a:sysClr val="windowText" lastClr="000000"/>
                </a:solidFill>
                <a:effectLst/>
                <a:uLnTx/>
                <a:uFillTx/>
                <a:latin typeface="adineue PRO Cond"/>
                <a:ea typeface="+mj-ea"/>
                <a:cs typeface="+mj-cs"/>
              </a:rPr>
              <a:t>aBOUT</a:t>
            </a: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 tech</a:t>
            </a:r>
            <a:endParaRPr kumimoji="0" lang="en-US" sz="3174" b="1" i="0" u="none" strike="noStrike" kern="1200" cap="all" spc="26" normalizeH="0" baseline="0" noProof="0" dirty="0">
              <a:ln>
                <a:noFill/>
              </a:ln>
              <a:solidFill>
                <a:srgbClr val="C00000"/>
              </a:solidFill>
              <a:effectLst/>
              <a:uLnTx/>
              <a:uFillTx/>
              <a:latin typeface="adineue PRO Cond"/>
              <a:ea typeface="+mj-ea"/>
              <a:cs typeface="+mj-cs"/>
            </a:endParaRPr>
          </a:p>
        </p:txBody>
      </p:sp>
      <p:sp>
        <p:nvSpPr>
          <p:cNvPr id="7" name="Title 31">
            <a:extLst>
              <a:ext uri="{FF2B5EF4-FFF2-40B4-BE49-F238E27FC236}">
                <a16:creationId xmlns:a16="http://schemas.microsoft.com/office/drawing/2014/main" id="{A3CA62FD-BC02-4C41-AAA4-749B657C4369}"/>
              </a:ext>
            </a:extLst>
          </p:cNvPr>
          <p:cNvSpPr txBox="1">
            <a:spLocks/>
          </p:cNvSpPr>
          <p:nvPr/>
        </p:nvSpPr>
        <p:spPr bwMode="gray">
          <a:xfrm>
            <a:off x="3423248" y="990204"/>
            <a:ext cx="8581235" cy="380943"/>
          </a:xfrm>
          <a:prstGeom prst="rect">
            <a:avLst/>
          </a:prstGeom>
        </p:spPr>
        <p:txBody>
          <a:bodyPr vert="horz" lIns="0" tIns="0" rIns="0" bIns="0" rtlCol="0" anchor="t" anchorCtr="0">
            <a:noAutofit/>
          </a:bodyPr>
          <a:lstStyle>
            <a:lvl1pPr algn="l" rtl="0" eaLnBrk="1" fontAlgn="base" hangingPunct="1">
              <a:lnSpc>
                <a:spcPct val="75000"/>
              </a:lnSpc>
              <a:spcBef>
                <a:spcPct val="0"/>
              </a:spcBef>
              <a:spcAft>
                <a:spcPct val="0"/>
              </a:spcAft>
              <a:defRPr sz="3174" b="1" i="0" kern="1200" cap="all" spc="26" baseline="0">
                <a:solidFill>
                  <a:schemeClr val="tx1"/>
                </a:solidFill>
                <a:latin typeface="+mj-lt"/>
                <a:ea typeface="+mj-ea"/>
                <a:cs typeface="+mj-cs"/>
              </a:defRPr>
            </a:lvl1pPr>
            <a:lvl2pPr algn="l" rtl="0" eaLnBrk="1" fontAlgn="base" hangingPunct="1">
              <a:lnSpc>
                <a:spcPct val="75000"/>
              </a:lnSpc>
              <a:spcBef>
                <a:spcPct val="0"/>
              </a:spcBef>
              <a:spcAft>
                <a:spcPct val="0"/>
              </a:spcAft>
              <a:defRPr sz="3704" b="1" kern="1200" cap="all" spc="26" baseline="0">
                <a:solidFill>
                  <a:schemeClr val="tx1"/>
                </a:solidFill>
                <a:latin typeface="+mj-lt"/>
              </a:defRPr>
            </a:lvl2pPr>
            <a:lvl3pPr algn="l" rtl="0" eaLnBrk="1" fontAlgn="base" hangingPunct="1">
              <a:lnSpc>
                <a:spcPct val="75000"/>
              </a:lnSpc>
              <a:spcBef>
                <a:spcPct val="0"/>
              </a:spcBef>
              <a:spcAft>
                <a:spcPct val="0"/>
              </a:spcAft>
              <a:defRPr sz="3704" b="1" kern="1200" cap="all" spc="26" baseline="0">
                <a:solidFill>
                  <a:schemeClr val="tx1"/>
                </a:solidFill>
                <a:latin typeface="+mj-lt"/>
              </a:defRPr>
            </a:lvl3pPr>
            <a:lvl4pPr algn="l" rtl="0" eaLnBrk="1" fontAlgn="base" hangingPunct="1">
              <a:lnSpc>
                <a:spcPct val="75000"/>
              </a:lnSpc>
              <a:spcBef>
                <a:spcPct val="0"/>
              </a:spcBef>
              <a:spcAft>
                <a:spcPct val="0"/>
              </a:spcAft>
              <a:defRPr sz="3704" b="1" kern="1200" cap="all" spc="26" baseline="0">
                <a:solidFill>
                  <a:schemeClr val="tx1"/>
                </a:solidFill>
                <a:latin typeface="+mj-lt"/>
              </a:defRPr>
            </a:lvl4pPr>
            <a:lvl5pPr algn="l" rtl="0" eaLnBrk="1" fontAlgn="base" hangingPunct="1">
              <a:lnSpc>
                <a:spcPct val="75000"/>
              </a:lnSpc>
              <a:spcBef>
                <a:spcPct val="0"/>
              </a:spcBef>
              <a:spcAft>
                <a:spcPct val="0"/>
              </a:spcAft>
              <a:defRPr sz="3704" b="1" kern="1200" cap="all" spc="26" baseline="0">
                <a:solidFill>
                  <a:schemeClr val="tx1"/>
                </a:solidFill>
                <a:latin typeface="+mj-lt"/>
              </a:defRPr>
            </a:lvl5pPr>
            <a:lvl6pPr algn="l" rtl="0" eaLnBrk="1" hangingPunct="1">
              <a:lnSpc>
                <a:spcPct val="75000"/>
              </a:lnSpc>
              <a:defRPr sz="3704" b="1" kern="1200" cap="all" spc="26" baseline="0">
                <a:latin typeface="+mj-lt"/>
              </a:defRPr>
            </a:lvl6pPr>
            <a:lvl7pPr algn="l" rtl="0" eaLnBrk="1" hangingPunct="1">
              <a:lnSpc>
                <a:spcPct val="75000"/>
              </a:lnSpc>
              <a:defRPr sz="3704" b="1" kern="1200" cap="all" spc="26" baseline="0">
                <a:latin typeface="+mj-lt"/>
              </a:defRPr>
            </a:lvl7pPr>
            <a:lvl8pPr algn="l" rtl="0" eaLnBrk="1" hangingPunct="1">
              <a:lnSpc>
                <a:spcPct val="75000"/>
              </a:lnSpc>
              <a:defRPr sz="3704" b="1" kern="1200" cap="all" spc="26" baseline="0">
                <a:latin typeface="+mj-lt"/>
              </a:defRPr>
            </a:lvl8pPr>
            <a:lvl9pPr algn="l" eaLnBrk="1" hangingPunct="1">
              <a:lnSpc>
                <a:spcPct val="75000"/>
              </a:lnSpc>
              <a:defRPr sz="3704" b="1" kern="1200" cap="all" spc="26" baseline="0">
                <a:latin typeface="+mj-lt"/>
              </a:defRPr>
            </a:lvl9pPr>
          </a:lstStyle>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1" i="0" u="none" strike="noStrike" kern="1200" cap="all" spc="26" normalizeH="0" baseline="0" noProof="0" dirty="0">
                <a:ln>
                  <a:noFill/>
                </a:ln>
                <a:solidFill>
                  <a:srgbClr val="A5FD3D"/>
                </a:solidFill>
                <a:effectLst/>
                <a:uLnTx/>
                <a:uFillTx/>
                <a:latin typeface="adineue PRO Cond"/>
                <a:ea typeface="+mj-ea"/>
                <a:cs typeface="+mj-cs"/>
              </a:rPr>
              <a:t>SCOTT</a:t>
            </a:r>
            <a:r>
              <a:rPr kumimoji="0" lang="en-US" sz="3174" b="1" i="0" u="none" strike="noStrike" kern="1200" cap="all" spc="26" normalizeH="0" baseline="0" noProof="0" dirty="0">
                <a:ln>
                  <a:noFill/>
                </a:ln>
                <a:solidFill>
                  <a:srgbClr val="92D050"/>
                </a:solidFill>
                <a:effectLst/>
                <a:uLnTx/>
                <a:uFillTx/>
                <a:latin typeface="adineue PRO Cond"/>
                <a:ea typeface="+mj-ea"/>
                <a:cs typeface="+mj-cs"/>
              </a:rPr>
              <a:t> </a:t>
            </a:r>
            <a:r>
              <a:rPr kumimoji="0" lang="en-US" sz="3174" b="1" i="0" u="none" strike="noStrike" kern="1200" cap="all" spc="26" normalizeH="0" baseline="0" noProof="0" dirty="0">
                <a:ln>
                  <a:noFill/>
                </a:ln>
                <a:solidFill>
                  <a:srgbClr val="A5FD3D"/>
                </a:solidFill>
                <a:effectLst/>
                <a:uLnTx/>
                <a:uFillTx/>
                <a:latin typeface="adineue PRO Cond"/>
                <a:ea typeface="+mj-ea"/>
                <a:cs typeface="+mj-cs"/>
              </a:rPr>
              <a:t>ZALAZNIK, SVP DIGITAL</a:t>
            </a:r>
          </a:p>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Thank you for delivering the </a:t>
            </a: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biggest growth in our most difficult time ever</a:t>
            </a:r>
          </a:p>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Adidas should be the </a:t>
            </a: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most technically savvy </a:t>
            </a: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and progressive  with regards to our ways of working</a:t>
            </a:r>
          </a:p>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We will only win with </a:t>
            </a: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tech at our core and data as our catalyst</a:t>
            </a:r>
          </a:p>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There are no reporting lines or batches, engineers and architects should </a:t>
            </a: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speak up </a:t>
            </a: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in product conversations</a:t>
            </a:r>
          </a:p>
        </p:txBody>
      </p:sp>
      <p:sp>
        <p:nvSpPr>
          <p:cNvPr id="8" name="Title 31">
            <a:extLst>
              <a:ext uri="{FF2B5EF4-FFF2-40B4-BE49-F238E27FC236}">
                <a16:creationId xmlns:a16="http://schemas.microsoft.com/office/drawing/2014/main" id="{8BC17CD2-F1C1-6A49-ADC4-317D5C69CAD5}"/>
              </a:ext>
            </a:extLst>
          </p:cNvPr>
          <p:cNvSpPr txBox="1">
            <a:spLocks/>
          </p:cNvSpPr>
          <p:nvPr/>
        </p:nvSpPr>
        <p:spPr bwMode="gray">
          <a:xfrm>
            <a:off x="774799" y="4266222"/>
            <a:ext cx="8581236" cy="380943"/>
          </a:xfrm>
          <a:prstGeom prst="rect">
            <a:avLst/>
          </a:prstGeom>
        </p:spPr>
        <p:txBody>
          <a:bodyPr vert="horz" lIns="0" tIns="0" rIns="0" bIns="0" rtlCol="0" anchor="t" anchorCtr="0">
            <a:noAutofit/>
          </a:bodyPr>
          <a:lstStyle>
            <a:lvl1pPr algn="l" rtl="0" eaLnBrk="1" fontAlgn="base" hangingPunct="1">
              <a:lnSpc>
                <a:spcPct val="75000"/>
              </a:lnSpc>
              <a:spcBef>
                <a:spcPct val="0"/>
              </a:spcBef>
              <a:spcAft>
                <a:spcPct val="0"/>
              </a:spcAft>
              <a:defRPr sz="3174" b="1" i="0" kern="1200" cap="all" spc="26" baseline="0">
                <a:solidFill>
                  <a:schemeClr val="tx1"/>
                </a:solidFill>
                <a:latin typeface="+mj-lt"/>
                <a:ea typeface="+mj-ea"/>
                <a:cs typeface="+mj-cs"/>
              </a:defRPr>
            </a:lvl1pPr>
            <a:lvl2pPr algn="l" rtl="0" eaLnBrk="1" fontAlgn="base" hangingPunct="1">
              <a:lnSpc>
                <a:spcPct val="75000"/>
              </a:lnSpc>
              <a:spcBef>
                <a:spcPct val="0"/>
              </a:spcBef>
              <a:spcAft>
                <a:spcPct val="0"/>
              </a:spcAft>
              <a:defRPr sz="3704" b="1" kern="1200" cap="all" spc="26" baseline="0">
                <a:solidFill>
                  <a:schemeClr val="tx1"/>
                </a:solidFill>
                <a:latin typeface="+mj-lt"/>
              </a:defRPr>
            </a:lvl2pPr>
            <a:lvl3pPr algn="l" rtl="0" eaLnBrk="1" fontAlgn="base" hangingPunct="1">
              <a:lnSpc>
                <a:spcPct val="75000"/>
              </a:lnSpc>
              <a:spcBef>
                <a:spcPct val="0"/>
              </a:spcBef>
              <a:spcAft>
                <a:spcPct val="0"/>
              </a:spcAft>
              <a:defRPr sz="3704" b="1" kern="1200" cap="all" spc="26" baseline="0">
                <a:solidFill>
                  <a:schemeClr val="tx1"/>
                </a:solidFill>
                <a:latin typeface="+mj-lt"/>
              </a:defRPr>
            </a:lvl3pPr>
            <a:lvl4pPr algn="l" rtl="0" eaLnBrk="1" fontAlgn="base" hangingPunct="1">
              <a:lnSpc>
                <a:spcPct val="75000"/>
              </a:lnSpc>
              <a:spcBef>
                <a:spcPct val="0"/>
              </a:spcBef>
              <a:spcAft>
                <a:spcPct val="0"/>
              </a:spcAft>
              <a:defRPr sz="3704" b="1" kern="1200" cap="all" spc="26" baseline="0">
                <a:solidFill>
                  <a:schemeClr val="tx1"/>
                </a:solidFill>
                <a:latin typeface="+mj-lt"/>
              </a:defRPr>
            </a:lvl4pPr>
            <a:lvl5pPr algn="l" rtl="0" eaLnBrk="1" fontAlgn="base" hangingPunct="1">
              <a:lnSpc>
                <a:spcPct val="75000"/>
              </a:lnSpc>
              <a:spcBef>
                <a:spcPct val="0"/>
              </a:spcBef>
              <a:spcAft>
                <a:spcPct val="0"/>
              </a:spcAft>
              <a:defRPr sz="3704" b="1" kern="1200" cap="all" spc="26" baseline="0">
                <a:solidFill>
                  <a:schemeClr val="tx1"/>
                </a:solidFill>
                <a:latin typeface="+mj-lt"/>
              </a:defRPr>
            </a:lvl5pPr>
            <a:lvl6pPr algn="l" rtl="0" eaLnBrk="1" hangingPunct="1">
              <a:lnSpc>
                <a:spcPct val="75000"/>
              </a:lnSpc>
              <a:defRPr sz="3704" b="1" kern="1200" cap="all" spc="26" baseline="0">
                <a:latin typeface="+mj-lt"/>
              </a:defRPr>
            </a:lvl6pPr>
            <a:lvl7pPr algn="l" rtl="0" eaLnBrk="1" hangingPunct="1">
              <a:lnSpc>
                <a:spcPct val="75000"/>
              </a:lnSpc>
              <a:defRPr sz="3704" b="1" kern="1200" cap="all" spc="26" baseline="0">
                <a:latin typeface="+mj-lt"/>
              </a:defRPr>
            </a:lvl7pPr>
            <a:lvl8pPr algn="l" rtl="0" eaLnBrk="1" hangingPunct="1">
              <a:lnSpc>
                <a:spcPct val="75000"/>
              </a:lnSpc>
              <a:defRPr sz="3704" b="1" kern="1200" cap="all" spc="26" baseline="0">
                <a:latin typeface="+mj-lt"/>
              </a:defRPr>
            </a:lvl8pPr>
            <a:lvl9pPr algn="l" eaLnBrk="1" hangingPunct="1">
              <a:lnSpc>
                <a:spcPct val="75000"/>
              </a:lnSpc>
              <a:defRPr sz="3704" b="1" kern="1200" cap="all" spc="26" baseline="0">
                <a:latin typeface="+mj-lt"/>
              </a:defRPr>
            </a:lvl9pPr>
          </a:lstStyle>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1" i="0" u="none" strike="noStrike" kern="1200" cap="all" spc="26" normalizeH="0" baseline="0" noProof="0" dirty="0">
                <a:ln>
                  <a:noFill/>
                </a:ln>
                <a:solidFill>
                  <a:srgbClr val="A5FD3D"/>
                </a:solidFill>
                <a:effectLst/>
                <a:uLnTx/>
                <a:uFillTx/>
                <a:latin typeface="adineue PRO Cond"/>
                <a:ea typeface="+mj-ea"/>
                <a:cs typeface="+mj-cs"/>
              </a:rPr>
              <a:t>NIGEL GRIFFITHS, SVP SALES</a:t>
            </a:r>
          </a:p>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Only by understanding </a:t>
            </a: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data across our entire value chain </a:t>
            </a: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we will be in the position to improve our product design, supply chain or forecasting.</a:t>
            </a:r>
          </a:p>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rPr>
              <a:t>I don’t go anywhere without </a:t>
            </a:r>
            <a:r>
              <a:rPr kumimoji="0" lang="en-US" sz="3174" b="1" i="0" u="none" strike="noStrike" kern="1200" cap="all" spc="26" normalizeH="0" baseline="0" noProof="0" dirty="0">
                <a:ln>
                  <a:noFill/>
                </a:ln>
                <a:solidFill>
                  <a:sysClr val="windowText" lastClr="000000"/>
                </a:solidFill>
                <a:effectLst/>
                <a:uLnTx/>
                <a:uFillTx/>
                <a:latin typeface="adineue PRO Cond"/>
                <a:ea typeface="+mj-ea"/>
                <a:cs typeface="+mj-cs"/>
              </a:rPr>
              <a:t>tech on the table</a:t>
            </a:r>
          </a:p>
          <a:p>
            <a:pPr marL="0" marR="0" lvl="0" indent="0" algn="l" defTabSz="914400" rtl="0" eaLnBrk="1" fontAlgn="base" latinLnBrk="0" hangingPunct="1">
              <a:lnSpc>
                <a:spcPct val="75000"/>
              </a:lnSpc>
              <a:spcBef>
                <a:spcPct val="0"/>
              </a:spcBef>
              <a:spcAft>
                <a:spcPct val="0"/>
              </a:spcAft>
              <a:buClrTx/>
              <a:buSzTx/>
              <a:buFontTx/>
              <a:buNone/>
              <a:tabLst/>
              <a:defRPr/>
            </a:pPr>
            <a:endParaRPr kumimoji="0" lang="en-US" sz="3174" b="0" i="0" u="none" strike="noStrike" kern="1200" cap="all" spc="26" normalizeH="0" baseline="0" noProof="0" dirty="0">
              <a:ln>
                <a:noFill/>
              </a:ln>
              <a:solidFill>
                <a:sysClr val="windowText" lastClr="000000"/>
              </a:solidFill>
              <a:effectLst/>
              <a:uLnTx/>
              <a:uFillTx/>
              <a:latin typeface="adineue PRO Cond"/>
              <a:ea typeface="+mj-ea"/>
              <a:cs typeface="+mj-cs"/>
            </a:endParaRPr>
          </a:p>
          <a:p>
            <a:pPr marL="0" marR="0" lvl="0" indent="0" algn="l" defTabSz="914400" rtl="0" eaLnBrk="1" fontAlgn="base" latinLnBrk="0" hangingPunct="1">
              <a:lnSpc>
                <a:spcPct val="75000"/>
              </a:lnSpc>
              <a:spcBef>
                <a:spcPct val="0"/>
              </a:spcBef>
              <a:spcAft>
                <a:spcPct val="0"/>
              </a:spcAft>
              <a:buClrTx/>
              <a:buSzTx/>
              <a:buFontTx/>
              <a:buNone/>
              <a:tabLst/>
              <a:defRPr/>
            </a:pPr>
            <a:endParaRPr kumimoji="0" lang="en-US" sz="3174" b="1" i="0" u="none" strike="noStrike" kern="1200" cap="all" spc="26" normalizeH="0" baseline="0" noProof="0" dirty="0">
              <a:ln>
                <a:noFill/>
              </a:ln>
              <a:solidFill>
                <a:srgbClr val="C00000"/>
              </a:solidFill>
              <a:effectLst/>
              <a:uLnTx/>
              <a:uFillTx/>
              <a:latin typeface="adineue PRO Cond"/>
              <a:ea typeface="+mj-ea"/>
              <a:cs typeface="+mj-cs"/>
            </a:endParaRPr>
          </a:p>
        </p:txBody>
      </p:sp>
    </p:spTree>
    <p:extLst>
      <p:ext uri="{BB962C8B-B14F-4D97-AF65-F5344CB8AC3E}">
        <p14:creationId xmlns:p14="http://schemas.microsoft.com/office/powerpoint/2010/main" val="168498112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41986" name="Picture 2" descr="El buen gesto de Hitler con Jesse Owens que no tuvo en Estados Unidos">
            <a:extLst>
              <a:ext uri="{FF2B5EF4-FFF2-40B4-BE49-F238E27FC236}">
                <a16:creationId xmlns:a16="http://schemas.microsoft.com/office/drawing/2014/main" id="{D74A891A-035E-0A47-BF0C-E8AFD7344B3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1"/>
          <a:stretch/>
        </p:blipFill>
        <p:spPr bwMode="auto">
          <a:xfrm>
            <a:off x="321733" y="321733"/>
            <a:ext cx="11548534" cy="621453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3">
            <a:extLst>
              <a:ext uri="{FF2B5EF4-FFF2-40B4-BE49-F238E27FC236}">
                <a16:creationId xmlns:a16="http://schemas.microsoft.com/office/drawing/2014/main" id="{2EFCED9A-906E-A84D-9A97-81D46AF385A0}"/>
              </a:ext>
            </a:extLst>
          </p:cNvPr>
          <p:cNvSpPr txBox="1">
            <a:spLocks/>
          </p:cNvSpPr>
          <p:nvPr/>
        </p:nvSpPr>
        <p:spPr bwMode="gray">
          <a:xfrm>
            <a:off x="1142542" y="3718159"/>
            <a:ext cx="9906916" cy="2444863"/>
          </a:xfrm>
          <a:prstGeom prst="rect">
            <a:avLst/>
          </a:prstGeom>
        </p:spPr>
        <p:txBody>
          <a:bodyPr vert="horz" lIns="0" tIns="0" rIns="0" bIns="0" rtlCol="0" anchor="b" anchorCtr="0">
            <a:noAutofit/>
          </a:bodyPr>
          <a:lstStyle>
            <a:lvl1pPr algn="l" rtl="0" eaLnBrk="1" fontAlgn="base" hangingPunct="1">
              <a:lnSpc>
                <a:spcPct val="70000"/>
              </a:lnSpc>
              <a:spcBef>
                <a:spcPct val="0"/>
              </a:spcBef>
              <a:spcAft>
                <a:spcPct val="0"/>
              </a:spcAft>
              <a:defRPr sz="6349" b="0" i="0" kern="1200" cap="all">
                <a:solidFill>
                  <a:schemeClr val="tx1"/>
                </a:solidFill>
                <a:latin typeface="adineue PRO Black" pitchFamily="34" charset="0"/>
                <a:ea typeface="+mj-ea"/>
                <a:cs typeface="+mj-cs"/>
              </a:defRPr>
            </a:lvl1pPr>
            <a:lvl2pPr algn="l" rtl="0" eaLnBrk="1" fontAlgn="base" hangingPunct="1">
              <a:lnSpc>
                <a:spcPct val="80000"/>
              </a:lnSpc>
              <a:spcBef>
                <a:spcPct val="0"/>
              </a:spcBef>
              <a:spcAft>
                <a:spcPct val="0"/>
              </a:spcAft>
              <a:defRPr kern="1200" cap="all">
                <a:solidFill>
                  <a:schemeClr val="tx1"/>
                </a:solidFill>
                <a:latin typeface="adineue PRO Light" pitchFamily="34" charset="0"/>
              </a:defRPr>
            </a:lvl2pPr>
            <a:lvl3pPr algn="l" rtl="0" eaLnBrk="1" fontAlgn="base" hangingPunct="1">
              <a:lnSpc>
                <a:spcPct val="80000"/>
              </a:lnSpc>
              <a:spcBef>
                <a:spcPct val="0"/>
              </a:spcBef>
              <a:spcAft>
                <a:spcPct val="0"/>
              </a:spcAft>
              <a:defRPr kern="1200" cap="all">
                <a:solidFill>
                  <a:schemeClr val="tx1"/>
                </a:solidFill>
                <a:latin typeface="adineue PRO Light" pitchFamily="34" charset="0"/>
              </a:defRPr>
            </a:lvl3pPr>
            <a:lvl4pPr algn="l" rtl="0" eaLnBrk="1" fontAlgn="base" hangingPunct="1">
              <a:lnSpc>
                <a:spcPct val="80000"/>
              </a:lnSpc>
              <a:spcBef>
                <a:spcPct val="0"/>
              </a:spcBef>
              <a:spcAft>
                <a:spcPct val="0"/>
              </a:spcAft>
              <a:defRPr kern="1200" cap="all">
                <a:solidFill>
                  <a:schemeClr val="tx1"/>
                </a:solidFill>
                <a:latin typeface="adineue PRO Light" pitchFamily="34" charset="0"/>
              </a:defRPr>
            </a:lvl4pPr>
            <a:lvl5pPr algn="l" rtl="0" eaLnBrk="1" fontAlgn="base" hangingPunct="1">
              <a:lnSpc>
                <a:spcPct val="80000"/>
              </a:lnSpc>
              <a:spcBef>
                <a:spcPct val="0"/>
              </a:spcBef>
              <a:spcAft>
                <a:spcPct val="0"/>
              </a:spcAft>
              <a:defRPr kern="1200" cap="all">
                <a:solidFill>
                  <a:schemeClr val="tx1"/>
                </a:solidFill>
                <a:latin typeface="adineue PRO Light" pitchFamily="34" charset="0"/>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a:lstStyle>
          <a:p>
            <a:pPr marL="0" marR="0" lvl="0" indent="0" algn="l" defTabSz="914400" rtl="0" eaLnBrk="1" fontAlgn="base" latinLnBrk="0" hangingPunct="1">
              <a:lnSpc>
                <a:spcPct val="70000"/>
              </a:lnSpc>
              <a:spcBef>
                <a:spcPct val="0"/>
              </a:spcBef>
              <a:spcAft>
                <a:spcPct val="0"/>
              </a:spcAft>
              <a:buClrTx/>
              <a:buSzTx/>
              <a:buFontTx/>
              <a:buNone/>
              <a:tabLst/>
              <a:defRPr/>
            </a:pPr>
            <a:r>
              <a:rPr kumimoji="0" lang="en-GB" sz="6349" b="0" i="0" u="none" strike="noStrike" kern="1200" cap="all" spc="0" normalizeH="0" baseline="0" noProof="0" dirty="0">
                <a:ln>
                  <a:noFill/>
                </a:ln>
                <a:solidFill>
                  <a:prstClr val="white"/>
                </a:solidFill>
                <a:effectLst/>
                <a:uLnTx/>
                <a:uFillTx/>
                <a:latin typeface="adineue PRO Black" pitchFamily="34" charset="0"/>
                <a:ea typeface="+mj-ea"/>
                <a:cs typeface="+mj-cs"/>
              </a:rPr>
              <a:t>A REAL STORY ABOUT VOLUMES</a:t>
            </a:r>
          </a:p>
        </p:txBody>
      </p:sp>
    </p:spTree>
    <p:extLst>
      <p:ext uri="{BB962C8B-B14F-4D97-AF65-F5344CB8AC3E}">
        <p14:creationId xmlns:p14="http://schemas.microsoft.com/office/powerpoint/2010/main" val="384075365"/>
      </p:ext>
    </p:extLst>
  </p:cSld>
  <p:clrMapOvr>
    <a:overrideClrMapping bg1="dk1" tx1="lt1" bg2="dk2" tx2="lt2" accent1="accent1" accent2="accent2" accent3="accent3" accent4="accent4" accent5="accent5" accent6="accent6" hlink="hlink" folHlink="folHlink"/>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9CXK3EHR2mYLrxVIpLg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ajlwr0ORKq5Ej.XCziJ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ajlwr0ORKq5Ej.XCziJ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I9vEit5Rz.tNXtv5aTn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I9vEit5Rz.tNXtv5aTn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9zBGaM1cXo.76Gc.Jvw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V4WEl5frJV8DWKrAc4k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i7AVWyoMhBtVGttt8cm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56Vzmu_mX454l_vFZOi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STyLp93lH5.5iNGmZ_G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swyCdI_Sg6VszOSLn9QB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CONTAINEDIMAGEPATH" val="C:\Users\yadavvik\AppData\Local\Temp\Templafy\PowerPointVsto\Assets\35793a3d-677c-4deb-93cb-b566b364b5ab.jpeg"/>
</p:tagLst>
</file>

<file path=ppt/tags/tag36.xml><?xml version="1.0" encoding="utf-8"?>
<p:tagLst xmlns:a="http://schemas.openxmlformats.org/drawingml/2006/main" xmlns:r="http://schemas.openxmlformats.org/officeDocument/2006/relationships" xmlns:p="http://schemas.openxmlformats.org/presentationml/2006/main">
  <p:tag name="CONTAINEDIMAGEPATH" val="C:\Users\yadavvik\AppData\Local\Temp\Templafy\PowerPointVsto\Assets\1e679515-6f6a-4afc-aa71-754022924236.jpeg"/>
</p:tagLst>
</file>

<file path=ppt/tags/tag37.xml><?xml version="1.0" encoding="utf-8"?>
<p:tagLst xmlns:a="http://schemas.openxmlformats.org/drawingml/2006/main" xmlns:r="http://schemas.openxmlformats.org/officeDocument/2006/relationships" xmlns:p="http://schemas.openxmlformats.org/presentationml/2006/main">
  <p:tag name="CONTAINEDIMAGEPATH" val="C:\Users\yadavvik\AppData\Local\Temp\Templafy\PowerPointVsto\Assets\f411dbf2-5fc2-4937-a506-2a7029ebe85b.jpeg"/>
</p:tagLst>
</file>

<file path=ppt/tags/tag38.xml><?xml version="1.0" encoding="utf-8"?>
<p:tagLst xmlns:a="http://schemas.openxmlformats.org/drawingml/2006/main" xmlns:r="http://schemas.openxmlformats.org/officeDocument/2006/relationships" xmlns:p="http://schemas.openxmlformats.org/presentationml/2006/main">
  <p:tag name="CONTAINEDIMAGEPATH" val="C:\Users\yadavvik\AppData\Local\Temp\Templafy\PowerPointVsto\Assets\026ef94e-ad1d-4c7c-8162-c93cc542fdff.jpeg"/>
</p:tagLst>
</file>

<file path=ppt/tags/tag39.xml><?xml version="1.0" encoding="utf-8"?>
<p:tagLst xmlns:a="http://schemas.openxmlformats.org/drawingml/2006/main" xmlns:r="http://schemas.openxmlformats.org/officeDocument/2006/relationships" xmlns:p="http://schemas.openxmlformats.org/presentationml/2006/main">
  <p:tag name="CONTAINEDIMAGEPATH" val="C:\Users\yadavvik\AppData\Local\Temp\Templafy\PowerPointVsto\Assets\09fae2a7-2407-4817-a7cf-f25b645cfee4.jp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08NNRSXQMGr32Q8cweD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GLOBAL TEMPLATE 2021">
  <a:themeElements>
    <a:clrScheme name="Solar Green">
      <a:dk1>
        <a:sysClr val="windowText" lastClr="000000"/>
      </a:dk1>
      <a:lt1>
        <a:sysClr val="window" lastClr="FFFFFF"/>
      </a:lt1>
      <a:dk2>
        <a:srgbClr val="525355"/>
      </a:dk2>
      <a:lt2>
        <a:srgbClr val="D9D7DA"/>
      </a:lt2>
      <a:accent1>
        <a:srgbClr val="E3FDC4"/>
      </a:accent1>
      <a:accent2>
        <a:srgbClr val="C8FC8B"/>
      </a:accent2>
      <a:accent3>
        <a:srgbClr val="A3FA3D"/>
      </a:accent3>
      <a:accent4>
        <a:srgbClr val="629625"/>
      </a:accent4>
      <a:accent5>
        <a:srgbClr val="416418"/>
      </a:accent5>
      <a:accent6>
        <a:srgbClr val="21320C"/>
      </a:accent6>
      <a:hlink>
        <a:srgbClr val="000000"/>
      </a:hlink>
      <a:folHlink>
        <a:srgbClr val="000000"/>
      </a:folHlink>
    </a:clrScheme>
    <a:fontScheme name="ADIDAS GLOBAL 2021">
      <a:majorFont>
        <a:latin typeface="adineue PRO Cond"/>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4"/>
        </a:solidFill>
        <a:ln w="12700" cap="sq">
          <a:noFill/>
          <a:miter lim="800000"/>
        </a:ln>
        <a:effectLst/>
      </a:spPr>
      <a:bodyPr rot="0" spcFirstLastPara="0" vertOverflow="overflow" horzOverflow="overflow" vert="horz" wrap="square" lIns="72000" tIns="108000" rIns="72000" bIns="72000" numCol="1" spcCol="0" rtlCol="0" fromWordArt="0" anchor="ctr" anchorCtr="0" forceAA="0" compatLnSpc="1">
        <a:prstTxWarp prst="textNoShape">
          <a:avLst/>
        </a:prstTxWarp>
        <a:noAutofit/>
      </a:bodyPr>
      <a:lstStyle>
        <a:defPPr algn="ctr">
          <a:lnSpc>
            <a:spcPct val="75000"/>
          </a:lnSpc>
          <a:spcAft>
            <a:spcPts val="0"/>
          </a:spcAft>
          <a:defRPr sz="1800" b="1" cap="all" spc="20" baseline="0" dirty="0" err="1" smtClean="0">
            <a:solidFill>
              <a:schemeClr val="bg1"/>
            </a:solidFill>
            <a:latin typeface="+mj-lt"/>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marL="180000" indent="-180000" algn="l">
          <a:lnSpc>
            <a:spcPct val="90000"/>
          </a:lnSpc>
          <a:spcAft>
            <a:spcPts val="600"/>
          </a:spcAft>
          <a:buSzPct val="90000"/>
          <a:buFont typeface="Wingdings" panose="05000000000000000000" pitchFamily="2" charset="2"/>
          <a:buChar char="§"/>
          <a:defRPr sz="1200" dirty="0" err="1" smtClean="0">
            <a:latin typeface="+mn-lt"/>
          </a:defRPr>
        </a:defPPr>
      </a:lstStyle>
    </a:txDef>
  </a:objectDefaults>
  <a:extraClrSchemeLst/>
  <a:extLst>
    <a:ext uri="{05A4C25C-085E-4340-85A3-A5531E510DB2}">
      <thm15:themeFamily xmlns:thm15="http://schemas.microsoft.com/office/thememl/2012/main" name="adidas_PPT_Template_2021_WIP_06_EXP" id="{BC2FB508-C779-41B3-9596-F8D7D7DFE5B9}" vid="{4800F6CC-A7C0-46FE-BAE1-0329B3CCBAEC}"/>
    </a:ext>
  </a:extLst>
</a:theme>
</file>

<file path=ppt/theme/theme11.xml><?xml version="1.0" encoding="utf-8"?>
<a:theme xmlns:a="http://schemas.openxmlformats.org/drawingml/2006/main" name="ADIDAS: NEUTRALS">
  <a:themeElements>
    <a:clrScheme name="2021 NEUTRALS">
      <a:dk1>
        <a:sysClr val="windowText" lastClr="000000"/>
      </a:dk1>
      <a:lt1>
        <a:sysClr val="window" lastClr="FFFFFF"/>
      </a:lt1>
      <a:dk2>
        <a:srgbClr val="545458"/>
      </a:dk2>
      <a:lt2>
        <a:srgbClr val="D9D7DA"/>
      </a:lt2>
      <a:accent1>
        <a:srgbClr val="D9D7DA"/>
      </a:accent1>
      <a:accent2>
        <a:srgbClr val="C1C1C4"/>
      </a:accent2>
      <a:accent3>
        <a:srgbClr val="898A8D"/>
      </a:accent3>
      <a:accent4>
        <a:srgbClr val="6C6C6C"/>
      </a:accent4>
      <a:accent5>
        <a:srgbClr val="545458"/>
      </a:accent5>
      <a:accent6>
        <a:srgbClr val="4A4A4D"/>
      </a:accent6>
      <a:hlink>
        <a:srgbClr val="000000"/>
      </a:hlink>
      <a:folHlink>
        <a:srgbClr val="000000"/>
      </a:folHlink>
    </a:clrScheme>
    <a:fontScheme name="ADIDAS GLOBAL 2021">
      <a:majorFont>
        <a:latin typeface="adineue PRO Cond"/>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a:noFill/>
        </a:ln>
      </a:spPr>
      <a:bodyPr rot="0" spcFirstLastPara="0" vertOverflow="overflow" horzOverflow="overflow" vert="horz" wrap="square" lIns="72000" tIns="126000" rIns="72000" bIns="72000" numCol="1" spcCol="0" rtlCol="0" fromWordArt="0" anchor="ctr" anchorCtr="0" forceAA="0" compatLnSpc="1">
        <a:prstTxWarp prst="textNoShape">
          <a:avLst/>
        </a:prstTxWarp>
        <a:noAutofit/>
      </a:bodyPr>
      <a:lstStyle>
        <a:defPPr algn="ctr">
          <a:lnSpc>
            <a:spcPct val="75000"/>
          </a:lnSpc>
          <a:spcAft>
            <a:spcPts val="0"/>
          </a:spcAft>
          <a:defRPr sz="1800" b="1" cap="all" spc="20" baseline="0" dirty="0" err="1">
            <a:solidFill>
              <a:schemeClr val="bg1"/>
            </a:solidFill>
            <a:latin typeface="+mj-lt"/>
            <a:cs typeface="AdihausDIN Cn" panose="020B0506020101010102" pitchFamily="34" charset="0"/>
          </a:defRPr>
        </a:defPPr>
      </a:lstStyle>
      <a:style>
        <a:lnRef idx="0">
          <a:scrgbClr r="0" g="0" b="0"/>
        </a:lnRef>
        <a:fillRef idx="0">
          <a:scrgbClr r="0" g="0" b="0"/>
        </a:fillRef>
        <a:effectRef idx="0">
          <a:scrgbClr r="0" g="0" b="0"/>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marL="180000" indent="-180000" algn="l">
          <a:lnSpc>
            <a:spcPct val="90000"/>
          </a:lnSpc>
          <a:spcAft>
            <a:spcPts val="600"/>
          </a:spcAft>
          <a:buSzPct val="90000"/>
          <a:buFont typeface="Wingdings" panose="05000000000000000000" pitchFamily="2" charset="2"/>
          <a:buChar char="§"/>
          <a:defRPr sz="1200" dirty="0" err="1" smtClean="0">
            <a:latin typeface="+mn-lt"/>
          </a:defRPr>
        </a:defPPr>
      </a:lstStyle>
    </a:txDef>
  </a:objectDefaults>
  <a:extraClrSchemeLst>
    <a:extraClrScheme>
      <a:clrScheme name="2021 NEUTRALS">
        <a:dk1>
          <a:sysClr val="windowText" lastClr="000000"/>
        </a:dk1>
        <a:lt1>
          <a:sysClr val="window" lastClr="FFFFFF"/>
        </a:lt1>
        <a:dk2>
          <a:srgbClr val="545458"/>
        </a:dk2>
        <a:lt2>
          <a:srgbClr val="D9D7DA"/>
        </a:lt2>
        <a:accent1>
          <a:srgbClr val="D9D7DA"/>
        </a:accent1>
        <a:accent2>
          <a:srgbClr val="C1C1C4"/>
        </a:accent2>
        <a:accent3>
          <a:srgbClr val="898A8D"/>
        </a:accent3>
        <a:accent4>
          <a:srgbClr val="6C6C6C"/>
        </a:accent4>
        <a:accent5>
          <a:srgbClr val="545458"/>
        </a:accent5>
        <a:accent6>
          <a:srgbClr val="4A4A4D"/>
        </a:accent6>
        <a:hlink>
          <a:srgbClr val="000000"/>
        </a:hlink>
        <a:folHlink>
          <a:srgbClr val="000000"/>
        </a:folHlink>
      </a:clrScheme>
    </a:extraClrScheme>
    <a:extraClrScheme>
      <a:clrScheme name="2021 YELLOW">
        <a:dk1>
          <a:sysClr val="windowText" lastClr="000000"/>
        </a:dk1>
        <a:lt1>
          <a:sysClr val="window" lastClr="FFFFFF"/>
        </a:lt1>
        <a:dk2>
          <a:srgbClr val="545458"/>
        </a:dk2>
        <a:lt2>
          <a:srgbClr val="D9D7DA"/>
        </a:lt2>
        <a:accent1>
          <a:srgbClr val="F8F1B2"/>
        </a:accent1>
        <a:accent2>
          <a:srgbClr val="F1E266"/>
        </a:accent2>
        <a:accent3>
          <a:srgbClr val="E7CF00"/>
        </a:accent3>
        <a:accent4>
          <a:srgbClr val="AF9300"/>
        </a:accent4>
        <a:accent5>
          <a:srgbClr val="785900"/>
        </a:accent5>
        <a:accent6>
          <a:srgbClr val="533100"/>
        </a:accent6>
        <a:hlink>
          <a:srgbClr val="000000"/>
        </a:hlink>
        <a:folHlink>
          <a:srgbClr val="000000"/>
        </a:folHlink>
      </a:clrScheme>
    </a:extraClrScheme>
    <a:extraClrScheme>
      <a:clrScheme name="2021 COLLEGIATE GOLD">
        <a:dk1>
          <a:sysClr val="windowText" lastClr="000000"/>
        </a:dk1>
        <a:lt1>
          <a:sysClr val="window" lastClr="FFFFFF"/>
        </a:lt1>
        <a:dk2>
          <a:srgbClr val="545458"/>
        </a:dk2>
        <a:lt2>
          <a:srgbClr val="D9D7DA"/>
        </a:lt2>
        <a:accent1>
          <a:srgbClr val="F8E3B2"/>
        </a:accent1>
        <a:accent2>
          <a:srgbClr val="F1C766"/>
        </a:accent2>
        <a:accent3>
          <a:srgbClr val="E8A200"/>
        </a:accent3>
        <a:accent4>
          <a:srgbClr val="B07400"/>
        </a:accent4>
        <a:accent5>
          <a:srgbClr val="794700"/>
        </a:accent5>
        <a:accent6>
          <a:srgbClr val="532800"/>
        </a:accent6>
        <a:hlink>
          <a:srgbClr val="000000"/>
        </a:hlink>
        <a:folHlink>
          <a:srgbClr val="000000"/>
        </a:folHlink>
      </a:clrScheme>
    </a:extraClrScheme>
    <a:extraClrScheme>
      <a:clrScheme name="2021 SOLAR RED">
        <a:dk1>
          <a:sysClr val="windowText" lastClr="000000"/>
        </a:dk1>
        <a:lt1>
          <a:sysClr val="window" lastClr="FFFFFF"/>
        </a:lt1>
        <a:dk2>
          <a:srgbClr val="545458"/>
        </a:dk2>
        <a:lt2>
          <a:srgbClr val="D9D7DA"/>
        </a:lt2>
        <a:accent1>
          <a:srgbClr val="FDC3C3"/>
        </a:accent1>
        <a:accent2>
          <a:srgbClr val="FB8888"/>
        </a:accent2>
        <a:accent3>
          <a:srgbClr val="F83838"/>
        </a:accent3>
        <a:accent4>
          <a:srgbClr val="952222"/>
        </a:accent4>
        <a:accent5>
          <a:srgbClr val="631616"/>
        </a:accent5>
        <a:accent6>
          <a:srgbClr val="320B0B"/>
        </a:accent6>
        <a:hlink>
          <a:srgbClr val="000000"/>
        </a:hlink>
        <a:folHlink>
          <a:srgbClr val="000000"/>
        </a:folHlink>
      </a:clrScheme>
    </a:extraClrScheme>
    <a:extraClrScheme>
      <a:clrScheme name="2021 RED">
        <a:dk1>
          <a:sysClr val="windowText" lastClr="000000"/>
        </a:dk1>
        <a:lt1>
          <a:sysClr val="window" lastClr="FFFFFF"/>
        </a:lt1>
        <a:dk2>
          <a:srgbClr val="545458"/>
        </a:dk2>
        <a:lt2>
          <a:srgbClr val="D9D7DA"/>
        </a:lt2>
        <a:accent1>
          <a:srgbClr val="E2BBBE"/>
        </a:accent1>
        <a:accent2>
          <a:srgbClr val="C5787F"/>
        </a:accent2>
        <a:accent3>
          <a:srgbClr val="9E1E29"/>
        </a:accent3>
        <a:accent4>
          <a:srgbClr val="5F1219"/>
        </a:accent4>
        <a:accent5>
          <a:srgbClr val="3F0C10"/>
        </a:accent5>
        <a:accent6>
          <a:srgbClr val="200608"/>
        </a:accent6>
        <a:hlink>
          <a:srgbClr val="000000"/>
        </a:hlink>
        <a:folHlink>
          <a:srgbClr val="000000"/>
        </a:folHlink>
      </a:clrScheme>
    </a:extraClrScheme>
    <a:extraClrScheme>
      <a:clrScheme name="2021 TURBO">
        <a:dk1>
          <a:sysClr val="windowText" lastClr="000000"/>
        </a:dk1>
        <a:lt1>
          <a:sysClr val="window" lastClr="FFFFFF"/>
        </a:lt1>
        <a:dk2>
          <a:srgbClr val="545458"/>
        </a:dk2>
        <a:lt2>
          <a:srgbClr val="D9D7DA"/>
        </a:lt2>
        <a:accent1>
          <a:srgbClr val="FFCCD3"/>
        </a:accent1>
        <a:accent2>
          <a:srgbClr val="FF9AA7"/>
        </a:accent2>
        <a:accent3>
          <a:srgbClr val="FF576C"/>
        </a:accent3>
        <a:accent4>
          <a:srgbClr val="993441"/>
        </a:accent4>
        <a:accent5>
          <a:srgbClr val="66232B"/>
        </a:accent5>
        <a:accent6>
          <a:srgbClr val="331116"/>
        </a:accent6>
        <a:hlink>
          <a:srgbClr val="000000"/>
        </a:hlink>
        <a:folHlink>
          <a:srgbClr val="000000"/>
        </a:folHlink>
      </a:clrScheme>
    </a:extraClrScheme>
    <a:extraClrScheme>
      <a:clrScheme name="2021 SOLAR PINK">
        <a:dk1>
          <a:sysClr val="windowText" lastClr="000000"/>
        </a:dk1>
        <a:lt1>
          <a:sysClr val="window" lastClr="FFFFFF"/>
        </a:lt1>
        <a:dk2>
          <a:srgbClr val="545458"/>
        </a:dk2>
        <a:lt2>
          <a:srgbClr val="D9D7DA"/>
        </a:lt2>
        <a:accent1>
          <a:srgbClr val="F8CCDE"/>
        </a:accent1>
        <a:accent2>
          <a:srgbClr val="F19ABE"/>
        </a:accent2>
        <a:accent3>
          <a:srgbClr val="E85793"/>
        </a:accent3>
        <a:accent4>
          <a:srgbClr val="8B3458"/>
        </a:accent4>
        <a:accent5>
          <a:srgbClr val="5D233B"/>
        </a:accent5>
        <a:accent6>
          <a:srgbClr val="2E111D"/>
        </a:accent6>
        <a:hlink>
          <a:srgbClr val="000000"/>
        </a:hlink>
        <a:folHlink>
          <a:srgbClr val="000000"/>
        </a:folHlink>
      </a:clrScheme>
    </a:extraClrScheme>
    <a:extraClrScheme>
      <a:clrScheme name="2021 COLLEGIATE ROYAL">
        <a:dk1>
          <a:sysClr val="windowText" lastClr="000000"/>
        </a:dk1>
        <a:lt1>
          <a:sysClr val="window" lastClr="FFFFFF"/>
        </a:lt1>
        <a:dk2>
          <a:srgbClr val="545458"/>
        </a:dk2>
        <a:lt2>
          <a:srgbClr val="D9D7DA"/>
        </a:lt2>
        <a:accent1>
          <a:srgbClr val="BEC4D5"/>
        </a:accent1>
        <a:accent2>
          <a:srgbClr val="7D89AC"/>
        </a:accent2>
        <a:accent3>
          <a:srgbClr val="273A74"/>
        </a:accent3>
        <a:accent4>
          <a:srgbClr val="172346"/>
        </a:accent4>
        <a:accent5>
          <a:srgbClr val="10172E"/>
        </a:accent5>
        <a:accent6>
          <a:srgbClr val="080C17"/>
        </a:accent6>
        <a:hlink>
          <a:srgbClr val="000000"/>
        </a:hlink>
        <a:folHlink>
          <a:srgbClr val="000000"/>
        </a:folHlink>
      </a:clrScheme>
    </a:extraClrScheme>
    <a:extraClrScheme>
      <a:clrScheme name="2021 ORIGINALS BLUE">
        <a:dk1>
          <a:sysClr val="windowText" lastClr="000000"/>
        </a:dk1>
        <a:lt1>
          <a:sysClr val="window" lastClr="FFFFFF"/>
        </a:lt1>
        <a:dk2>
          <a:srgbClr val="545458"/>
        </a:dk2>
        <a:lt2>
          <a:srgbClr val="D9D7DA"/>
        </a:lt2>
        <a:accent1>
          <a:srgbClr val="B2D8EE"/>
        </a:accent1>
        <a:accent2>
          <a:srgbClr val="66B2DD"/>
        </a:accent2>
        <a:accent3>
          <a:srgbClr val="007FC7"/>
        </a:accent3>
        <a:accent4>
          <a:srgbClr val="004C77"/>
        </a:accent4>
        <a:accent5>
          <a:srgbClr val="003350"/>
        </a:accent5>
        <a:accent6>
          <a:srgbClr val="001928"/>
        </a:accent6>
        <a:hlink>
          <a:srgbClr val="000000"/>
        </a:hlink>
        <a:folHlink>
          <a:srgbClr val="000000"/>
        </a:folHlink>
      </a:clrScheme>
    </a:extraClrScheme>
    <a:extraClrScheme>
      <a:clrScheme name="2021 BRIGHT CYAN">
        <a:dk1>
          <a:sysClr val="windowText" lastClr="000000"/>
        </a:dk1>
        <a:lt1>
          <a:sysClr val="window" lastClr="FFFFFF"/>
        </a:lt1>
        <a:dk2>
          <a:srgbClr val="545458"/>
        </a:dk2>
        <a:lt2>
          <a:srgbClr val="D9D7DA"/>
        </a:lt2>
        <a:accent1>
          <a:srgbClr val="D2E6F1"/>
        </a:accent1>
        <a:accent2>
          <a:srgbClr val="A6CDE2"/>
        </a:accent2>
        <a:accent3>
          <a:srgbClr val="6AABCF"/>
        </a:accent3>
        <a:accent4>
          <a:srgbClr val="40677C"/>
        </a:accent4>
        <a:accent5>
          <a:srgbClr val="2A4453"/>
        </a:accent5>
        <a:accent6>
          <a:srgbClr val="152229"/>
        </a:accent6>
        <a:hlink>
          <a:srgbClr val="000000"/>
        </a:hlink>
        <a:folHlink>
          <a:srgbClr val="000000"/>
        </a:folHlink>
      </a:clrScheme>
    </a:extraClrScheme>
    <a:extraClrScheme>
      <a:clrScheme name="2021 SOLAR GREEN">
        <a:dk1>
          <a:sysClr val="windowText" lastClr="000000"/>
        </a:dk1>
        <a:lt1>
          <a:sysClr val="window" lastClr="FFFFFF"/>
        </a:lt1>
        <a:dk2>
          <a:srgbClr val="545458"/>
        </a:dk2>
        <a:lt2>
          <a:srgbClr val="D9D7DA"/>
        </a:lt2>
        <a:accent1>
          <a:srgbClr val="E3FDC4"/>
        </a:accent1>
        <a:accent2>
          <a:srgbClr val="C8FC8B"/>
        </a:accent2>
        <a:accent3>
          <a:srgbClr val="A3FA3D"/>
        </a:accent3>
        <a:accent4>
          <a:srgbClr val="629625"/>
        </a:accent4>
        <a:accent5>
          <a:srgbClr val="416418"/>
        </a:accent5>
        <a:accent6>
          <a:srgbClr val="21320C"/>
        </a:accent6>
        <a:hlink>
          <a:srgbClr val="000000"/>
        </a:hlink>
        <a:folHlink>
          <a:srgbClr val="000000"/>
        </a:folHlink>
      </a:clrScheme>
    </a:extraClrScheme>
    <a:extraClrScheme>
      <a:clrScheme name="2021 GREEN">
        <a:dk1>
          <a:sysClr val="windowText" lastClr="000000"/>
        </a:dk1>
        <a:lt1>
          <a:sysClr val="window" lastClr="FFFFFF"/>
        </a:lt1>
        <a:dk2>
          <a:srgbClr val="545458"/>
        </a:dk2>
        <a:lt2>
          <a:srgbClr val="D9D7DA"/>
        </a:lt2>
        <a:accent1>
          <a:srgbClr val="C4D7CB"/>
        </a:accent1>
        <a:accent2>
          <a:srgbClr val="8BAF98"/>
        </a:accent2>
        <a:accent3>
          <a:srgbClr val="3D7953"/>
        </a:accent3>
        <a:accent4>
          <a:srgbClr val="254932"/>
        </a:accent4>
        <a:accent5>
          <a:srgbClr val="183021"/>
        </a:accent5>
        <a:accent6>
          <a:srgbClr val="0C1811"/>
        </a:accent6>
        <a:hlink>
          <a:srgbClr val="000000"/>
        </a:hlink>
        <a:folHlink>
          <a:srgbClr val="000000"/>
        </a:folHlink>
      </a:clrScheme>
    </a:extraClrScheme>
  </a:extraClrSchemeLst>
  <a:extLst>
    <a:ext uri="{05A4C25C-085E-4340-85A3-A5531E510DB2}">
      <thm15:themeFamily xmlns:thm15="http://schemas.microsoft.com/office/thememl/2012/main" name="adidas_PPT_Template_2021_V1" id="{6995C209-4C0F-4084-885E-181F1358F4BD}" vid="{33265333-D884-41C2-BB8D-403BE71B3E26}"/>
    </a:ext>
  </a:extLst>
</a:theme>
</file>

<file path=ppt/theme/theme12.xml><?xml version="1.0" encoding="utf-8"?>
<a:theme xmlns:a="http://schemas.openxmlformats.org/drawingml/2006/main" name="ADIDAS: COLLEGIATE GOLD">
  <a:themeElements>
    <a:clrScheme name="2021 COLLEGIATE GOLD">
      <a:dk1>
        <a:sysClr val="windowText" lastClr="000000"/>
      </a:dk1>
      <a:lt1>
        <a:sysClr val="window" lastClr="FFFFFF"/>
      </a:lt1>
      <a:dk2>
        <a:srgbClr val="545458"/>
      </a:dk2>
      <a:lt2>
        <a:srgbClr val="D9D7DA"/>
      </a:lt2>
      <a:accent1>
        <a:srgbClr val="F8E3B2"/>
      </a:accent1>
      <a:accent2>
        <a:srgbClr val="F1C766"/>
      </a:accent2>
      <a:accent3>
        <a:srgbClr val="E8A200"/>
      </a:accent3>
      <a:accent4>
        <a:srgbClr val="B07400"/>
      </a:accent4>
      <a:accent5>
        <a:srgbClr val="794700"/>
      </a:accent5>
      <a:accent6>
        <a:srgbClr val="532800"/>
      </a:accent6>
      <a:hlink>
        <a:srgbClr val="000000"/>
      </a:hlink>
      <a:folHlink>
        <a:srgbClr val="000000"/>
      </a:folHlink>
    </a:clrScheme>
    <a:fontScheme name="ADIDAS GLOBAL 2021">
      <a:majorFont>
        <a:latin typeface="adineue PRO Cond"/>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4"/>
        </a:solidFill>
        <a:ln w="12700" cap="sq">
          <a:noFill/>
          <a:miter lim="800000"/>
        </a:ln>
        <a:effectLst/>
      </a:spPr>
      <a:bodyPr rot="0" spcFirstLastPara="0" vertOverflow="overflow" horzOverflow="overflow" vert="horz" wrap="square" lIns="72000" tIns="126000" rIns="72000" bIns="72000" numCol="1" spcCol="0" rtlCol="0" fromWordArt="0" anchor="ctr" anchorCtr="0" forceAA="0" compatLnSpc="1">
        <a:prstTxWarp prst="textNoShape">
          <a:avLst/>
        </a:prstTxWarp>
        <a:noAutofit/>
      </a:bodyPr>
      <a:lstStyle>
        <a:defPPr algn="ctr">
          <a:lnSpc>
            <a:spcPct val="75000"/>
          </a:lnSpc>
          <a:spcAft>
            <a:spcPts val="0"/>
          </a:spcAft>
          <a:defRPr sz="1800" b="1" cap="all" spc="20" baseline="0" dirty="0" err="1" smtClean="0">
            <a:solidFill>
              <a:schemeClr val="bg1"/>
            </a:solidFill>
            <a:latin typeface="+mj-lt"/>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marL="180000" indent="-180000" algn="l">
          <a:lnSpc>
            <a:spcPct val="90000"/>
          </a:lnSpc>
          <a:spcAft>
            <a:spcPts val="600"/>
          </a:spcAft>
          <a:buSzPct val="90000"/>
          <a:buFont typeface="Wingdings" panose="05000000000000000000" pitchFamily="2" charset="2"/>
          <a:buChar char="§"/>
          <a:defRPr sz="1200" dirty="0" err="1" smtClean="0">
            <a:latin typeface="+mn-lt"/>
          </a:defRPr>
        </a:defPPr>
      </a:lstStyle>
    </a:txDef>
  </a:objectDefaults>
  <a:extraClrSchemeLst>
    <a:extraClrScheme>
      <a:clrScheme name="2021 NEUTRALS">
        <a:dk1>
          <a:sysClr val="windowText" lastClr="000000"/>
        </a:dk1>
        <a:lt1>
          <a:sysClr val="window" lastClr="FFFFFF"/>
        </a:lt1>
        <a:dk2>
          <a:srgbClr val="545458"/>
        </a:dk2>
        <a:lt2>
          <a:srgbClr val="D9D7DA"/>
        </a:lt2>
        <a:accent1>
          <a:srgbClr val="D9D7DA"/>
        </a:accent1>
        <a:accent2>
          <a:srgbClr val="C1C1C4"/>
        </a:accent2>
        <a:accent3>
          <a:srgbClr val="898A8D"/>
        </a:accent3>
        <a:accent4>
          <a:srgbClr val="6C6C6C"/>
        </a:accent4>
        <a:accent5>
          <a:srgbClr val="545458"/>
        </a:accent5>
        <a:accent6>
          <a:srgbClr val="4A4A4D"/>
        </a:accent6>
        <a:hlink>
          <a:srgbClr val="000000"/>
        </a:hlink>
        <a:folHlink>
          <a:srgbClr val="000000"/>
        </a:folHlink>
      </a:clrScheme>
    </a:extraClrScheme>
    <a:extraClrScheme>
      <a:clrScheme name="2021 YELLOW">
        <a:dk1>
          <a:sysClr val="windowText" lastClr="000000"/>
        </a:dk1>
        <a:lt1>
          <a:sysClr val="window" lastClr="FFFFFF"/>
        </a:lt1>
        <a:dk2>
          <a:srgbClr val="545458"/>
        </a:dk2>
        <a:lt2>
          <a:srgbClr val="D9D7DA"/>
        </a:lt2>
        <a:accent1>
          <a:srgbClr val="F8F1B2"/>
        </a:accent1>
        <a:accent2>
          <a:srgbClr val="F1E266"/>
        </a:accent2>
        <a:accent3>
          <a:srgbClr val="E7CF00"/>
        </a:accent3>
        <a:accent4>
          <a:srgbClr val="AF9300"/>
        </a:accent4>
        <a:accent5>
          <a:srgbClr val="785900"/>
        </a:accent5>
        <a:accent6>
          <a:srgbClr val="533100"/>
        </a:accent6>
        <a:hlink>
          <a:srgbClr val="000000"/>
        </a:hlink>
        <a:folHlink>
          <a:srgbClr val="000000"/>
        </a:folHlink>
      </a:clrScheme>
    </a:extraClrScheme>
    <a:extraClrScheme>
      <a:clrScheme name="2021 COLLEGIATE GOLD">
        <a:dk1>
          <a:sysClr val="windowText" lastClr="000000"/>
        </a:dk1>
        <a:lt1>
          <a:sysClr val="window" lastClr="FFFFFF"/>
        </a:lt1>
        <a:dk2>
          <a:srgbClr val="545458"/>
        </a:dk2>
        <a:lt2>
          <a:srgbClr val="D9D7DA"/>
        </a:lt2>
        <a:accent1>
          <a:srgbClr val="F8E3B2"/>
        </a:accent1>
        <a:accent2>
          <a:srgbClr val="F1C766"/>
        </a:accent2>
        <a:accent3>
          <a:srgbClr val="E8A200"/>
        </a:accent3>
        <a:accent4>
          <a:srgbClr val="B07400"/>
        </a:accent4>
        <a:accent5>
          <a:srgbClr val="794700"/>
        </a:accent5>
        <a:accent6>
          <a:srgbClr val="532800"/>
        </a:accent6>
        <a:hlink>
          <a:srgbClr val="000000"/>
        </a:hlink>
        <a:folHlink>
          <a:srgbClr val="000000"/>
        </a:folHlink>
      </a:clrScheme>
    </a:extraClrScheme>
    <a:extraClrScheme>
      <a:clrScheme name="2021 SOLAR RED">
        <a:dk1>
          <a:sysClr val="windowText" lastClr="000000"/>
        </a:dk1>
        <a:lt1>
          <a:sysClr val="window" lastClr="FFFFFF"/>
        </a:lt1>
        <a:dk2>
          <a:srgbClr val="545458"/>
        </a:dk2>
        <a:lt2>
          <a:srgbClr val="D9D7DA"/>
        </a:lt2>
        <a:accent1>
          <a:srgbClr val="FDC3C3"/>
        </a:accent1>
        <a:accent2>
          <a:srgbClr val="FB8888"/>
        </a:accent2>
        <a:accent3>
          <a:srgbClr val="F83838"/>
        </a:accent3>
        <a:accent4>
          <a:srgbClr val="952222"/>
        </a:accent4>
        <a:accent5>
          <a:srgbClr val="631616"/>
        </a:accent5>
        <a:accent6>
          <a:srgbClr val="320B0B"/>
        </a:accent6>
        <a:hlink>
          <a:srgbClr val="000000"/>
        </a:hlink>
        <a:folHlink>
          <a:srgbClr val="000000"/>
        </a:folHlink>
      </a:clrScheme>
    </a:extraClrScheme>
    <a:extraClrScheme>
      <a:clrScheme name="2021 RED">
        <a:dk1>
          <a:sysClr val="windowText" lastClr="000000"/>
        </a:dk1>
        <a:lt1>
          <a:sysClr val="window" lastClr="FFFFFF"/>
        </a:lt1>
        <a:dk2>
          <a:srgbClr val="545458"/>
        </a:dk2>
        <a:lt2>
          <a:srgbClr val="D9D7DA"/>
        </a:lt2>
        <a:accent1>
          <a:srgbClr val="E2BBBE"/>
        </a:accent1>
        <a:accent2>
          <a:srgbClr val="C5787F"/>
        </a:accent2>
        <a:accent3>
          <a:srgbClr val="9E1E29"/>
        </a:accent3>
        <a:accent4>
          <a:srgbClr val="5F1219"/>
        </a:accent4>
        <a:accent5>
          <a:srgbClr val="3F0C10"/>
        </a:accent5>
        <a:accent6>
          <a:srgbClr val="200608"/>
        </a:accent6>
        <a:hlink>
          <a:srgbClr val="000000"/>
        </a:hlink>
        <a:folHlink>
          <a:srgbClr val="000000"/>
        </a:folHlink>
      </a:clrScheme>
    </a:extraClrScheme>
    <a:extraClrScheme>
      <a:clrScheme name="2021 TURBO">
        <a:dk1>
          <a:sysClr val="windowText" lastClr="000000"/>
        </a:dk1>
        <a:lt1>
          <a:sysClr val="window" lastClr="FFFFFF"/>
        </a:lt1>
        <a:dk2>
          <a:srgbClr val="545458"/>
        </a:dk2>
        <a:lt2>
          <a:srgbClr val="D9D7DA"/>
        </a:lt2>
        <a:accent1>
          <a:srgbClr val="FFCCD3"/>
        </a:accent1>
        <a:accent2>
          <a:srgbClr val="FF9AA7"/>
        </a:accent2>
        <a:accent3>
          <a:srgbClr val="FF576C"/>
        </a:accent3>
        <a:accent4>
          <a:srgbClr val="993441"/>
        </a:accent4>
        <a:accent5>
          <a:srgbClr val="66232B"/>
        </a:accent5>
        <a:accent6>
          <a:srgbClr val="331116"/>
        </a:accent6>
        <a:hlink>
          <a:srgbClr val="000000"/>
        </a:hlink>
        <a:folHlink>
          <a:srgbClr val="000000"/>
        </a:folHlink>
      </a:clrScheme>
    </a:extraClrScheme>
    <a:extraClrScheme>
      <a:clrScheme name="2021 SOLAR PINK">
        <a:dk1>
          <a:sysClr val="windowText" lastClr="000000"/>
        </a:dk1>
        <a:lt1>
          <a:sysClr val="window" lastClr="FFFFFF"/>
        </a:lt1>
        <a:dk2>
          <a:srgbClr val="545458"/>
        </a:dk2>
        <a:lt2>
          <a:srgbClr val="D9D7DA"/>
        </a:lt2>
        <a:accent1>
          <a:srgbClr val="F8CCDE"/>
        </a:accent1>
        <a:accent2>
          <a:srgbClr val="F19ABE"/>
        </a:accent2>
        <a:accent3>
          <a:srgbClr val="E85793"/>
        </a:accent3>
        <a:accent4>
          <a:srgbClr val="8B3458"/>
        </a:accent4>
        <a:accent5>
          <a:srgbClr val="5D233B"/>
        </a:accent5>
        <a:accent6>
          <a:srgbClr val="2E111D"/>
        </a:accent6>
        <a:hlink>
          <a:srgbClr val="000000"/>
        </a:hlink>
        <a:folHlink>
          <a:srgbClr val="000000"/>
        </a:folHlink>
      </a:clrScheme>
    </a:extraClrScheme>
    <a:extraClrScheme>
      <a:clrScheme name="2021 COLLEGIATE ROYAL">
        <a:dk1>
          <a:sysClr val="windowText" lastClr="000000"/>
        </a:dk1>
        <a:lt1>
          <a:sysClr val="window" lastClr="FFFFFF"/>
        </a:lt1>
        <a:dk2>
          <a:srgbClr val="545458"/>
        </a:dk2>
        <a:lt2>
          <a:srgbClr val="D9D7DA"/>
        </a:lt2>
        <a:accent1>
          <a:srgbClr val="BEC4D5"/>
        </a:accent1>
        <a:accent2>
          <a:srgbClr val="7D89AC"/>
        </a:accent2>
        <a:accent3>
          <a:srgbClr val="273A74"/>
        </a:accent3>
        <a:accent4>
          <a:srgbClr val="172346"/>
        </a:accent4>
        <a:accent5>
          <a:srgbClr val="10172E"/>
        </a:accent5>
        <a:accent6>
          <a:srgbClr val="080C17"/>
        </a:accent6>
        <a:hlink>
          <a:srgbClr val="000000"/>
        </a:hlink>
        <a:folHlink>
          <a:srgbClr val="000000"/>
        </a:folHlink>
      </a:clrScheme>
    </a:extraClrScheme>
    <a:extraClrScheme>
      <a:clrScheme name="2021 ORIGINALS BLUE">
        <a:dk1>
          <a:sysClr val="windowText" lastClr="000000"/>
        </a:dk1>
        <a:lt1>
          <a:sysClr val="window" lastClr="FFFFFF"/>
        </a:lt1>
        <a:dk2>
          <a:srgbClr val="545458"/>
        </a:dk2>
        <a:lt2>
          <a:srgbClr val="D9D7DA"/>
        </a:lt2>
        <a:accent1>
          <a:srgbClr val="B2D8EE"/>
        </a:accent1>
        <a:accent2>
          <a:srgbClr val="66B2DD"/>
        </a:accent2>
        <a:accent3>
          <a:srgbClr val="007FC7"/>
        </a:accent3>
        <a:accent4>
          <a:srgbClr val="004C77"/>
        </a:accent4>
        <a:accent5>
          <a:srgbClr val="003350"/>
        </a:accent5>
        <a:accent6>
          <a:srgbClr val="001928"/>
        </a:accent6>
        <a:hlink>
          <a:srgbClr val="000000"/>
        </a:hlink>
        <a:folHlink>
          <a:srgbClr val="000000"/>
        </a:folHlink>
      </a:clrScheme>
    </a:extraClrScheme>
    <a:extraClrScheme>
      <a:clrScheme name="2021 BRIGHT CYAN">
        <a:dk1>
          <a:sysClr val="windowText" lastClr="000000"/>
        </a:dk1>
        <a:lt1>
          <a:sysClr val="window" lastClr="FFFFFF"/>
        </a:lt1>
        <a:dk2>
          <a:srgbClr val="545458"/>
        </a:dk2>
        <a:lt2>
          <a:srgbClr val="D9D7DA"/>
        </a:lt2>
        <a:accent1>
          <a:srgbClr val="D2E6F1"/>
        </a:accent1>
        <a:accent2>
          <a:srgbClr val="A6CDE2"/>
        </a:accent2>
        <a:accent3>
          <a:srgbClr val="6AABCF"/>
        </a:accent3>
        <a:accent4>
          <a:srgbClr val="40677C"/>
        </a:accent4>
        <a:accent5>
          <a:srgbClr val="2A4453"/>
        </a:accent5>
        <a:accent6>
          <a:srgbClr val="152229"/>
        </a:accent6>
        <a:hlink>
          <a:srgbClr val="000000"/>
        </a:hlink>
        <a:folHlink>
          <a:srgbClr val="000000"/>
        </a:folHlink>
      </a:clrScheme>
    </a:extraClrScheme>
    <a:extraClrScheme>
      <a:clrScheme name="2021 SOLAR GREEN">
        <a:dk1>
          <a:sysClr val="windowText" lastClr="000000"/>
        </a:dk1>
        <a:lt1>
          <a:sysClr val="window" lastClr="FFFFFF"/>
        </a:lt1>
        <a:dk2>
          <a:srgbClr val="545458"/>
        </a:dk2>
        <a:lt2>
          <a:srgbClr val="D9D7DA"/>
        </a:lt2>
        <a:accent1>
          <a:srgbClr val="E3FDC4"/>
        </a:accent1>
        <a:accent2>
          <a:srgbClr val="C8FC8B"/>
        </a:accent2>
        <a:accent3>
          <a:srgbClr val="A3FA3D"/>
        </a:accent3>
        <a:accent4>
          <a:srgbClr val="629625"/>
        </a:accent4>
        <a:accent5>
          <a:srgbClr val="416418"/>
        </a:accent5>
        <a:accent6>
          <a:srgbClr val="21320C"/>
        </a:accent6>
        <a:hlink>
          <a:srgbClr val="000000"/>
        </a:hlink>
        <a:folHlink>
          <a:srgbClr val="000000"/>
        </a:folHlink>
      </a:clrScheme>
    </a:extraClrScheme>
    <a:extraClrScheme>
      <a:clrScheme name="2021 GREEN">
        <a:dk1>
          <a:sysClr val="windowText" lastClr="000000"/>
        </a:dk1>
        <a:lt1>
          <a:sysClr val="window" lastClr="FFFFFF"/>
        </a:lt1>
        <a:dk2>
          <a:srgbClr val="545458"/>
        </a:dk2>
        <a:lt2>
          <a:srgbClr val="D9D7DA"/>
        </a:lt2>
        <a:accent1>
          <a:srgbClr val="C4D7CB"/>
        </a:accent1>
        <a:accent2>
          <a:srgbClr val="8BAF98"/>
        </a:accent2>
        <a:accent3>
          <a:srgbClr val="3D7953"/>
        </a:accent3>
        <a:accent4>
          <a:srgbClr val="254932"/>
        </a:accent4>
        <a:accent5>
          <a:srgbClr val="183021"/>
        </a:accent5>
        <a:accent6>
          <a:srgbClr val="0C1811"/>
        </a:accent6>
        <a:hlink>
          <a:srgbClr val="000000"/>
        </a:hlink>
        <a:folHlink>
          <a:srgbClr val="000000"/>
        </a:folHlink>
      </a:clrScheme>
    </a:extraClrScheme>
  </a:extraClrSchemeLst>
  <a:extLst>
    <a:ext uri="{05A4C25C-085E-4340-85A3-A5531E510DB2}">
      <thm15:themeFamily xmlns:thm15="http://schemas.microsoft.com/office/thememl/2012/main" name="adidas_PPT_Template_2021_V1" id="{6995C209-4C0F-4084-885E-181F1358F4BD}" vid="{33265333-D884-41C2-BB8D-403BE71B3E26}"/>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LOBAL TEMPLATE 2017 (TEAL)">
  <a:themeElements>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lnSpc>
            <a:spcPct val="90000"/>
          </a:lnSpc>
          <a:spcAft>
            <a:spcPts val="600"/>
          </a:spcAft>
          <a:defRPr sz="1200" b="1" dirty="0">
            <a:solidFill>
              <a:schemeClr val="bg1"/>
            </a:solidFill>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a:defRPr sz="1200" dirty="0">
            <a:latin typeface="+mn-lt"/>
          </a:defRPr>
        </a:defPPr>
      </a:lstStyle>
    </a:txDef>
  </a:objectDefaults>
  <a:extraClrSchemeLst>
    <a:extraClrScheme>
      <a:clrScheme name="BOLD PINK">
        <a:dk1>
          <a:sysClr val="windowText" lastClr="000000"/>
        </a:dk1>
        <a:lt1>
          <a:sysClr val="window" lastClr="FFFFFF"/>
        </a:lt1>
        <a:dk2>
          <a:srgbClr val="7F7F7F"/>
        </a:dk2>
        <a:lt2>
          <a:srgbClr val="BFBFBF"/>
        </a:lt2>
        <a:accent1>
          <a:srgbClr val="640A32"/>
        </a:accent1>
        <a:accent2>
          <a:srgbClr val="960F46"/>
        </a:accent2>
        <a:accent3>
          <a:srgbClr val="CD145F"/>
        </a:accent3>
        <a:accent4>
          <a:srgbClr val="F0468C"/>
        </a:accent4>
        <a:accent5>
          <a:srgbClr val="F587B4"/>
        </a:accent5>
        <a:accent6>
          <a:srgbClr val="FFB9DC"/>
        </a:accent6>
        <a:hlink>
          <a:srgbClr val="CD145F"/>
        </a:hlink>
        <a:folHlink>
          <a:srgbClr val="CD145F"/>
        </a:folHlink>
      </a:clrScheme>
    </a:extraClrScheme>
    <a:extraClrScheme>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extraClrScheme>
    <a:extraClrScheme>
      <a:clrScheme name="SOLAR GOLD">
        <a:dk1>
          <a:sysClr val="windowText" lastClr="000000"/>
        </a:dk1>
        <a:lt1>
          <a:sysClr val="window" lastClr="FFFFFF"/>
        </a:lt1>
        <a:dk2>
          <a:srgbClr val="7F7F7F"/>
        </a:dk2>
        <a:lt2>
          <a:srgbClr val="BFBFBF"/>
        </a:lt2>
        <a:accent1>
          <a:srgbClr val="8C4600"/>
        </a:accent1>
        <a:accent2>
          <a:srgbClr val="CD7800"/>
        </a:accent2>
        <a:accent3>
          <a:srgbClr val="FFAF14"/>
        </a:accent3>
        <a:accent4>
          <a:srgbClr val="FFC35A"/>
        </a:accent4>
        <a:accent5>
          <a:srgbClr val="FFD278"/>
        </a:accent5>
        <a:accent6>
          <a:srgbClr val="FFE1AF"/>
        </a:accent6>
        <a:hlink>
          <a:srgbClr val="FFAF14"/>
        </a:hlink>
        <a:folHlink>
          <a:srgbClr val="FFAF14"/>
        </a:folHlink>
      </a:clrScheme>
    </a:extraClrScheme>
    <a:extraClrScheme>
      <a:clrScheme name="CORE GREEN">
        <a:dk1>
          <a:sysClr val="windowText" lastClr="000000"/>
        </a:dk1>
        <a:lt1>
          <a:sysClr val="window" lastClr="FFFFFF"/>
        </a:lt1>
        <a:dk2>
          <a:srgbClr val="7F7F7F"/>
        </a:dk2>
        <a:lt2>
          <a:srgbClr val="BFBFBF"/>
        </a:lt2>
        <a:accent1>
          <a:srgbClr val="054637"/>
        </a:accent1>
        <a:accent2>
          <a:srgbClr val="0A6E50"/>
        </a:accent2>
        <a:accent3>
          <a:srgbClr val="0F9169"/>
        </a:accent3>
        <a:accent4>
          <a:srgbClr val="32D7A5"/>
        </a:accent4>
        <a:accent5>
          <a:srgbClr val="82E6CD"/>
        </a:accent5>
        <a:accent6>
          <a:srgbClr val="B4F0DC"/>
        </a:accent6>
        <a:hlink>
          <a:srgbClr val="0F9169"/>
        </a:hlink>
        <a:folHlink>
          <a:srgbClr val="0F9169"/>
        </a:folHlink>
      </a:clrScheme>
    </a:extraClrScheme>
    <a:extraClrScheme>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extraClrScheme>
    <a:extraClrScheme>
      <a:clrScheme name="LIGHT BLUE">
        <a:dk1>
          <a:sysClr val="windowText" lastClr="000000"/>
        </a:dk1>
        <a:lt1>
          <a:sysClr val="window" lastClr="FFFFFF"/>
        </a:lt1>
        <a:dk2>
          <a:srgbClr val="7F7F7F"/>
        </a:dk2>
        <a:lt2>
          <a:srgbClr val="BFBFBF"/>
        </a:lt2>
        <a:accent1>
          <a:srgbClr val="0F5A73"/>
        </a:accent1>
        <a:accent2>
          <a:srgbClr val="1987AA"/>
        </a:accent2>
        <a:accent3>
          <a:srgbClr val="5AC3E6"/>
        </a:accent3>
        <a:accent4>
          <a:srgbClr val="8CD7F0"/>
        </a:accent4>
        <a:accent5>
          <a:srgbClr val="AFE1F5"/>
        </a:accent5>
        <a:accent6>
          <a:srgbClr val="CDEBF5"/>
        </a:accent6>
        <a:hlink>
          <a:srgbClr val="5AC3E6"/>
        </a:hlink>
        <a:folHlink>
          <a:srgbClr val="5AC3E6"/>
        </a:folHlink>
      </a:clrScheme>
    </a:extraClrScheme>
    <a:extraClrScheme>
      <a:clrScheme name="ENERGY INK">
        <a:dk1>
          <a:sysClr val="windowText" lastClr="000000"/>
        </a:dk1>
        <a:lt1>
          <a:sysClr val="window" lastClr="FFFFFF"/>
        </a:lt1>
        <a:dk2>
          <a:srgbClr val="7F7F7F"/>
        </a:dk2>
        <a:lt2>
          <a:srgbClr val="BFBFBF"/>
        </a:lt2>
        <a:accent1>
          <a:srgbClr val="231E3C"/>
        </a:accent1>
        <a:accent2>
          <a:srgbClr val="322D5A"/>
        </a:accent2>
        <a:accent3>
          <a:srgbClr val="463C78"/>
        </a:accent3>
        <a:accent4>
          <a:srgbClr val="8278BE"/>
        </a:accent4>
        <a:accent5>
          <a:srgbClr val="AAA5D2"/>
        </a:accent5>
        <a:accent6>
          <a:srgbClr val="D7D2EB"/>
        </a:accent6>
        <a:hlink>
          <a:srgbClr val="8278BE"/>
        </a:hlink>
        <a:folHlink>
          <a:srgbClr val="8278BE"/>
        </a:folHlink>
      </a:clrScheme>
    </a:extraClrScheme>
  </a:extraClrSchemeLst>
  <a:extLst>
    <a:ext uri="{05A4C25C-085E-4340-85A3-A5531E510DB2}">
      <thm15:themeFamily xmlns:thm15="http://schemas.microsoft.com/office/thememl/2012/main" name="adidas_PPT_Template_2017" id="{B7D7B035-0FC3-C247-A593-EC80FF0EF8B0}" vid="{CD799768-5690-0F4C-A976-2307A4387DAB}"/>
    </a:ext>
  </a:extLst>
</a:theme>
</file>

<file path=ppt/theme/theme3.xml><?xml version="1.0" encoding="utf-8"?>
<a:theme xmlns:a="http://schemas.openxmlformats.org/drawingml/2006/main" name="GLOBAL TEMPLATE 2017 (BOLD PINK)">
  <a:themeElements>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Aft>
            <a:spcPts val="600"/>
          </a:spcAft>
          <a:defRPr sz="1200" b="1" dirty="0" smtClean="0">
            <a:solidFill>
              <a:schemeClr val="bg1"/>
            </a:solidFill>
            <a:latin typeface="+mj-lt"/>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9525"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ln w="9525">
          <a:solidFill>
            <a:schemeClr val="tx1"/>
          </a:solidFill>
        </a:ln>
      </a:spPr>
      <a:bodyPr vert="horz" wrap="square" lIns="72000" tIns="72000" rIns="72000" bIns="72000" rtlCol="0" anchor="ctr" anchorCtr="0">
        <a:noAutofit/>
      </a:bodyPr>
      <a:lstStyle>
        <a:defPPr marL="108000" indent="-108000" algn="l">
          <a:buFont typeface="Arial" panose="020B0604020202020204" pitchFamily="34" charset="0"/>
          <a:buChar char="•"/>
          <a:defRPr sz="1200" smtClean="0">
            <a:latin typeface="+mn-lt"/>
          </a:defRPr>
        </a:defPPr>
      </a:lstStyle>
    </a:txDef>
  </a:objectDefaults>
  <a:extraClrSchemeLst>
    <a:extraClrScheme>
      <a:clrScheme name="BOLD PINK">
        <a:dk1>
          <a:sysClr val="windowText" lastClr="000000"/>
        </a:dk1>
        <a:lt1>
          <a:sysClr val="window" lastClr="FFFFFF"/>
        </a:lt1>
        <a:dk2>
          <a:srgbClr val="7F7F7F"/>
        </a:dk2>
        <a:lt2>
          <a:srgbClr val="BFBFBF"/>
        </a:lt2>
        <a:accent1>
          <a:srgbClr val="640A32"/>
        </a:accent1>
        <a:accent2>
          <a:srgbClr val="960F46"/>
        </a:accent2>
        <a:accent3>
          <a:srgbClr val="CD145F"/>
        </a:accent3>
        <a:accent4>
          <a:srgbClr val="F0468C"/>
        </a:accent4>
        <a:accent5>
          <a:srgbClr val="F587B4"/>
        </a:accent5>
        <a:accent6>
          <a:srgbClr val="FFB9DC"/>
        </a:accent6>
        <a:hlink>
          <a:srgbClr val="CD145F"/>
        </a:hlink>
        <a:folHlink>
          <a:srgbClr val="CD145F"/>
        </a:folHlink>
      </a:clrScheme>
    </a:extraClrScheme>
    <a:extraClrScheme>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extraClrScheme>
    <a:extraClrScheme>
      <a:clrScheme name="SOLAR GOLD">
        <a:dk1>
          <a:sysClr val="windowText" lastClr="000000"/>
        </a:dk1>
        <a:lt1>
          <a:sysClr val="window" lastClr="FFFFFF"/>
        </a:lt1>
        <a:dk2>
          <a:srgbClr val="7F7F7F"/>
        </a:dk2>
        <a:lt2>
          <a:srgbClr val="BFBFBF"/>
        </a:lt2>
        <a:accent1>
          <a:srgbClr val="8C4600"/>
        </a:accent1>
        <a:accent2>
          <a:srgbClr val="CD7800"/>
        </a:accent2>
        <a:accent3>
          <a:srgbClr val="FFAF14"/>
        </a:accent3>
        <a:accent4>
          <a:srgbClr val="FFC35A"/>
        </a:accent4>
        <a:accent5>
          <a:srgbClr val="FFD278"/>
        </a:accent5>
        <a:accent6>
          <a:srgbClr val="FFE1AF"/>
        </a:accent6>
        <a:hlink>
          <a:srgbClr val="FFAF14"/>
        </a:hlink>
        <a:folHlink>
          <a:srgbClr val="FFAF14"/>
        </a:folHlink>
      </a:clrScheme>
    </a:extraClrScheme>
    <a:extraClrScheme>
      <a:clrScheme name="CORE GREEN">
        <a:dk1>
          <a:sysClr val="windowText" lastClr="000000"/>
        </a:dk1>
        <a:lt1>
          <a:sysClr val="window" lastClr="FFFFFF"/>
        </a:lt1>
        <a:dk2>
          <a:srgbClr val="7F7F7F"/>
        </a:dk2>
        <a:lt2>
          <a:srgbClr val="BFBFBF"/>
        </a:lt2>
        <a:accent1>
          <a:srgbClr val="054637"/>
        </a:accent1>
        <a:accent2>
          <a:srgbClr val="0A6E50"/>
        </a:accent2>
        <a:accent3>
          <a:srgbClr val="0F9169"/>
        </a:accent3>
        <a:accent4>
          <a:srgbClr val="32D7A5"/>
        </a:accent4>
        <a:accent5>
          <a:srgbClr val="82E6CD"/>
        </a:accent5>
        <a:accent6>
          <a:srgbClr val="B4F0DC"/>
        </a:accent6>
        <a:hlink>
          <a:srgbClr val="0F9169"/>
        </a:hlink>
        <a:folHlink>
          <a:srgbClr val="0F9169"/>
        </a:folHlink>
      </a:clrScheme>
    </a:extraClrScheme>
    <a:extraClrScheme>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extraClrScheme>
    <a:extraClrScheme>
      <a:clrScheme name="LIGHT BLUE">
        <a:dk1>
          <a:sysClr val="windowText" lastClr="000000"/>
        </a:dk1>
        <a:lt1>
          <a:sysClr val="window" lastClr="FFFFFF"/>
        </a:lt1>
        <a:dk2>
          <a:srgbClr val="7F7F7F"/>
        </a:dk2>
        <a:lt2>
          <a:srgbClr val="BFBFBF"/>
        </a:lt2>
        <a:accent1>
          <a:srgbClr val="0F5A73"/>
        </a:accent1>
        <a:accent2>
          <a:srgbClr val="1987AA"/>
        </a:accent2>
        <a:accent3>
          <a:srgbClr val="5AC3E6"/>
        </a:accent3>
        <a:accent4>
          <a:srgbClr val="8CD7F0"/>
        </a:accent4>
        <a:accent5>
          <a:srgbClr val="AFE1F5"/>
        </a:accent5>
        <a:accent6>
          <a:srgbClr val="CDEBF5"/>
        </a:accent6>
        <a:hlink>
          <a:srgbClr val="5AC3E6"/>
        </a:hlink>
        <a:folHlink>
          <a:srgbClr val="5AC3E6"/>
        </a:folHlink>
      </a:clrScheme>
    </a:extraClrScheme>
    <a:extraClrScheme>
      <a:clrScheme name="ENERGY INK">
        <a:dk1>
          <a:sysClr val="windowText" lastClr="000000"/>
        </a:dk1>
        <a:lt1>
          <a:sysClr val="window" lastClr="FFFFFF"/>
        </a:lt1>
        <a:dk2>
          <a:srgbClr val="7F7F7F"/>
        </a:dk2>
        <a:lt2>
          <a:srgbClr val="BFBFBF"/>
        </a:lt2>
        <a:accent1>
          <a:srgbClr val="231E3C"/>
        </a:accent1>
        <a:accent2>
          <a:srgbClr val="322D5A"/>
        </a:accent2>
        <a:accent3>
          <a:srgbClr val="463C78"/>
        </a:accent3>
        <a:accent4>
          <a:srgbClr val="8278BE"/>
        </a:accent4>
        <a:accent5>
          <a:srgbClr val="AAA5D2"/>
        </a:accent5>
        <a:accent6>
          <a:srgbClr val="D7D2EB"/>
        </a:accent6>
        <a:hlink>
          <a:srgbClr val="8278BE"/>
        </a:hlink>
        <a:folHlink>
          <a:srgbClr val="8278BE"/>
        </a:folHlink>
      </a:clrScheme>
    </a:extraClrScheme>
  </a:extraClrSchemeLst>
  <a:extLst>
    <a:ext uri="{05A4C25C-085E-4340-85A3-A5531E510DB2}">
      <thm15:themeFamily xmlns:thm15="http://schemas.microsoft.com/office/thememl/2012/main" name="2018_PPT Standard Template" id="{EA00D883-B78C-482B-AE2F-CE93707BA142}" vid="{82B5C852-ED40-4CF5-BCE6-B8518AF75988}"/>
    </a:ext>
  </a:extLst>
</a:theme>
</file>

<file path=ppt/theme/theme4.xml><?xml version="1.0" encoding="utf-8"?>
<a:theme xmlns:a="http://schemas.openxmlformats.org/drawingml/2006/main" name="1_GLOBAL TEMPLATE 2017 (BOLD PINK)">
  <a:themeElements>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Aft>
            <a:spcPts val="600"/>
          </a:spcAft>
          <a:defRPr sz="1200" dirty="0" smtClean="0">
            <a:solidFill>
              <a:schemeClr val="bg1"/>
            </a:solidFill>
            <a:latin typeface="+mj-lt"/>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9525"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ln w="9525">
          <a:noFill/>
        </a:ln>
      </a:spPr>
      <a:bodyPr vert="horz" wrap="square" lIns="0" tIns="0" rIns="0" bIns="0" rtlCol="0" anchor="t" anchorCtr="0">
        <a:noAutofit/>
      </a:bodyPr>
      <a:lstStyle>
        <a:defPPr>
          <a:defRPr sz="1200" dirty="0" err="1" smtClean="0">
            <a:latin typeface="+mn-lt"/>
          </a:defRPr>
        </a:defPPr>
      </a:lstStyle>
    </a:txDef>
  </a:objectDefaults>
  <a:extraClrSchemeLst>
    <a:extraClrScheme>
      <a:clrScheme name="BOLD PINK">
        <a:dk1>
          <a:sysClr val="windowText" lastClr="000000"/>
        </a:dk1>
        <a:lt1>
          <a:sysClr val="window" lastClr="FFFFFF"/>
        </a:lt1>
        <a:dk2>
          <a:srgbClr val="7F7F7F"/>
        </a:dk2>
        <a:lt2>
          <a:srgbClr val="BFBFBF"/>
        </a:lt2>
        <a:accent1>
          <a:srgbClr val="640A32"/>
        </a:accent1>
        <a:accent2>
          <a:srgbClr val="960F46"/>
        </a:accent2>
        <a:accent3>
          <a:srgbClr val="CD145F"/>
        </a:accent3>
        <a:accent4>
          <a:srgbClr val="F0468C"/>
        </a:accent4>
        <a:accent5>
          <a:srgbClr val="F587B4"/>
        </a:accent5>
        <a:accent6>
          <a:srgbClr val="FFB9DC"/>
        </a:accent6>
        <a:hlink>
          <a:srgbClr val="CD145F"/>
        </a:hlink>
        <a:folHlink>
          <a:srgbClr val="CD145F"/>
        </a:folHlink>
      </a:clrScheme>
    </a:extraClrScheme>
    <a:extraClrScheme>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extraClrScheme>
    <a:extraClrScheme>
      <a:clrScheme name="SOLAR GOLD">
        <a:dk1>
          <a:sysClr val="windowText" lastClr="000000"/>
        </a:dk1>
        <a:lt1>
          <a:sysClr val="window" lastClr="FFFFFF"/>
        </a:lt1>
        <a:dk2>
          <a:srgbClr val="7F7F7F"/>
        </a:dk2>
        <a:lt2>
          <a:srgbClr val="BFBFBF"/>
        </a:lt2>
        <a:accent1>
          <a:srgbClr val="8C4600"/>
        </a:accent1>
        <a:accent2>
          <a:srgbClr val="CD7800"/>
        </a:accent2>
        <a:accent3>
          <a:srgbClr val="FFAF14"/>
        </a:accent3>
        <a:accent4>
          <a:srgbClr val="FFC35A"/>
        </a:accent4>
        <a:accent5>
          <a:srgbClr val="FFD278"/>
        </a:accent5>
        <a:accent6>
          <a:srgbClr val="FFE1AF"/>
        </a:accent6>
        <a:hlink>
          <a:srgbClr val="FFAF14"/>
        </a:hlink>
        <a:folHlink>
          <a:srgbClr val="FFAF14"/>
        </a:folHlink>
      </a:clrScheme>
    </a:extraClrScheme>
    <a:extraClrScheme>
      <a:clrScheme name="CORE GREEN">
        <a:dk1>
          <a:sysClr val="windowText" lastClr="000000"/>
        </a:dk1>
        <a:lt1>
          <a:sysClr val="window" lastClr="FFFFFF"/>
        </a:lt1>
        <a:dk2>
          <a:srgbClr val="7F7F7F"/>
        </a:dk2>
        <a:lt2>
          <a:srgbClr val="BFBFBF"/>
        </a:lt2>
        <a:accent1>
          <a:srgbClr val="054637"/>
        </a:accent1>
        <a:accent2>
          <a:srgbClr val="0A6E50"/>
        </a:accent2>
        <a:accent3>
          <a:srgbClr val="0F9169"/>
        </a:accent3>
        <a:accent4>
          <a:srgbClr val="32D7A5"/>
        </a:accent4>
        <a:accent5>
          <a:srgbClr val="82E6CD"/>
        </a:accent5>
        <a:accent6>
          <a:srgbClr val="B4F0DC"/>
        </a:accent6>
        <a:hlink>
          <a:srgbClr val="0F9169"/>
        </a:hlink>
        <a:folHlink>
          <a:srgbClr val="0F9169"/>
        </a:folHlink>
      </a:clrScheme>
    </a:extraClrScheme>
    <a:extraClrScheme>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extraClrScheme>
    <a:extraClrScheme>
      <a:clrScheme name="LIGHT BLUE">
        <a:dk1>
          <a:sysClr val="windowText" lastClr="000000"/>
        </a:dk1>
        <a:lt1>
          <a:sysClr val="window" lastClr="FFFFFF"/>
        </a:lt1>
        <a:dk2>
          <a:srgbClr val="7F7F7F"/>
        </a:dk2>
        <a:lt2>
          <a:srgbClr val="BFBFBF"/>
        </a:lt2>
        <a:accent1>
          <a:srgbClr val="0F5A73"/>
        </a:accent1>
        <a:accent2>
          <a:srgbClr val="1987AA"/>
        </a:accent2>
        <a:accent3>
          <a:srgbClr val="5AC3E6"/>
        </a:accent3>
        <a:accent4>
          <a:srgbClr val="8CD7F0"/>
        </a:accent4>
        <a:accent5>
          <a:srgbClr val="AFE1F5"/>
        </a:accent5>
        <a:accent6>
          <a:srgbClr val="CDEBF5"/>
        </a:accent6>
        <a:hlink>
          <a:srgbClr val="5AC3E6"/>
        </a:hlink>
        <a:folHlink>
          <a:srgbClr val="5AC3E6"/>
        </a:folHlink>
      </a:clrScheme>
    </a:extraClrScheme>
    <a:extraClrScheme>
      <a:clrScheme name="ENERGY INK">
        <a:dk1>
          <a:sysClr val="windowText" lastClr="000000"/>
        </a:dk1>
        <a:lt1>
          <a:sysClr val="window" lastClr="FFFFFF"/>
        </a:lt1>
        <a:dk2>
          <a:srgbClr val="7F7F7F"/>
        </a:dk2>
        <a:lt2>
          <a:srgbClr val="BFBFBF"/>
        </a:lt2>
        <a:accent1>
          <a:srgbClr val="231E3C"/>
        </a:accent1>
        <a:accent2>
          <a:srgbClr val="322D5A"/>
        </a:accent2>
        <a:accent3>
          <a:srgbClr val="463C78"/>
        </a:accent3>
        <a:accent4>
          <a:srgbClr val="8278BE"/>
        </a:accent4>
        <a:accent5>
          <a:srgbClr val="AAA5D2"/>
        </a:accent5>
        <a:accent6>
          <a:srgbClr val="D7D2EB"/>
        </a:accent6>
        <a:hlink>
          <a:srgbClr val="8278BE"/>
        </a:hlink>
        <a:folHlink>
          <a:srgbClr val="8278BE"/>
        </a:folHlink>
      </a:clrScheme>
    </a:extraClrScheme>
  </a:extraClrSchemeLst>
  <a:extLst>
    <a:ext uri="{05A4C25C-085E-4340-85A3-A5531E510DB2}">
      <thm15:themeFamily xmlns:thm15="http://schemas.microsoft.com/office/thememl/2012/main" name="2018_PPT Standard Template" id="{530A06A5-42B2-4EB0-B251-BEC040557FBD}" vid="{4B5B968F-F2B1-44FB-91BB-6F38AB039A02}"/>
    </a:ext>
  </a:extLst>
</a:theme>
</file>

<file path=ppt/theme/theme5.xml><?xml version="1.0" encoding="utf-8"?>
<a:theme xmlns:a="http://schemas.openxmlformats.org/drawingml/2006/main" name="GLOBAL TEMPLATE 2017 (CORE RED)">
  <a:themeElements>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lnSpc>
            <a:spcPct val="90000"/>
          </a:lnSpc>
          <a:spcAft>
            <a:spcPts val="600"/>
          </a:spcAft>
          <a:defRPr sz="1200" b="1" dirty="0">
            <a:solidFill>
              <a:schemeClr val="bg1"/>
            </a:solidFill>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a:defRPr sz="1200" dirty="0">
            <a:latin typeface="+mn-lt"/>
          </a:defRPr>
        </a:defPPr>
      </a:lstStyle>
    </a:txDef>
  </a:objectDefaults>
  <a:extraClrSchemeLst>
    <a:extraClrScheme>
      <a:clrScheme name="BOLD PINK">
        <a:dk1>
          <a:sysClr val="windowText" lastClr="000000"/>
        </a:dk1>
        <a:lt1>
          <a:sysClr val="window" lastClr="FFFFFF"/>
        </a:lt1>
        <a:dk2>
          <a:srgbClr val="7F7F7F"/>
        </a:dk2>
        <a:lt2>
          <a:srgbClr val="BFBFBF"/>
        </a:lt2>
        <a:accent1>
          <a:srgbClr val="640A32"/>
        </a:accent1>
        <a:accent2>
          <a:srgbClr val="960F46"/>
        </a:accent2>
        <a:accent3>
          <a:srgbClr val="CD145F"/>
        </a:accent3>
        <a:accent4>
          <a:srgbClr val="F0468C"/>
        </a:accent4>
        <a:accent5>
          <a:srgbClr val="F587B4"/>
        </a:accent5>
        <a:accent6>
          <a:srgbClr val="FFB9DC"/>
        </a:accent6>
        <a:hlink>
          <a:srgbClr val="CD145F"/>
        </a:hlink>
        <a:folHlink>
          <a:srgbClr val="CD145F"/>
        </a:folHlink>
      </a:clrScheme>
    </a:extraClrScheme>
    <a:extraClrScheme>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extraClrScheme>
    <a:extraClrScheme>
      <a:clrScheme name="SOLAR GOLD">
        <a:dk1>
          <a:sysClr val="windowText" lastClr="000000"/>
        </a:dk1>
        <a:lt1>
          <a:sysClr val="window" lastClr="FFFFFF"/>
        </a:lt1>
        <a:dk2>
          <a:srgbClr val="7F7F7F"/>
        </a:dk2>
        <a:lt2>
          <a:srgbClr val="BFBFBF"/>
        </a:lt2>
        <a:accent1>
          <a:srgbClr val="8C4600"/>
        </a:accent1>
        <a:accent2>
          <a:srgbClr val="CD7800"/>
        </a:accent2>
        <a:accent3>
          <a:srgbClr val="FFAF14"/>
        </a:accent3>
        <a:accent4>
          <a:srgbClr val="FFC35A"/>
        </a:accent4>
        <a:accent5>
          <a:srgbClr val="FFD278"/>
        </a:accent5>
        <a:accent6>
          <a:srgbClr val="FFE1AF"/>
        </a:accent6>
        <a:hlink>
          <a:srgbClr val="FFAF14"/>
        </a:hlink>
        <a:folHlink>
          <a:srgbClr val="FFAF14"/>
        </a:folHlink>
      </a:clrScheme>
    </a:extraClrScheme>
    <a:extraClrScheme>
      <a:clrScheme name="CORE GREEN">
        <a:dk1>
          <a:sysClr val="windowText" lastClr="000000"/>
        </a:dk1>
        <a:lt1>
          <a:sysClr val="window" lastClr="FFFFFF"/>
        </a:lt1>
        <a:dk2>
          <a:srgbClr val="7F7F7F"/>
        </a:dk2>
        <a:lt2>
          <a:srgbClr val="BFBFBF"/>
        </a:lt2>
        <a:accent1>
          <a:srgbClr val="054637"/>
        </a:accent1>
        <a:accent2>
          <a:srgbClr val="0A6E50"/>
        </a:accent2>
        <a:accent3>
          <a:srgbClr val="0F9169"/>
        </a:accent3>
        <a:accent4>
          <a:srgbClr val="32D7A5"/>
        </a:accent4>
        <a:accent5>
          <a:srgbClr val="82E6CD"/>
        </a:accent5>
        <a:accent6>
          <a:srgbClr val="B4F0DC"/>
        </a:accent6>
        <a:hlink>
          <a:srgbClr val="0F9169"/>
        </a:hlink>
        <a:folHlink>
          <a:srgbClr val="0F9169"/>
        </a:folHlink>
      </a:clrScheme>
    </a:extraClrScheme>
    <a:extraClrScheme>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extraClrScheme>
    <a:extraClrScheme>
      <a:clrScheme name="LIGHT BLUE">
        <a:dk1>
          <a:sysClr val="windowText" lastClr="000000"/>
        </a:dk1>
        <a:lt1>
          <a:sysClr val="window" lastClr="FFFFFF"/>
        </a:lt1>
        <a:dk2>
          <a:srgbClr val="7F7F7F"/>
        </a:dk2>
        <a:lt2>
          <a:srgbClr val="BFBFBF"/>
        </a:lt2>
        <a:accent1>
          <a:srgbClr val="0F5A73"/>
        </a:accent1>
        <a:accent2>
          <a:srgbClr val="1987AA"/>
        </a:accent2>
        <a:accent3>
          <a:srgbClr val="5AC3E6"/>
        </a:accent3>
        <a:accent4>
          <a:srgbClr val="8CD7F0"/>
        </a:accent4>
        <a:accent5>
          <a:srgbClr val="AFE1F5"/>
        </a:accent5>
        <a:accent6>
          <a:srgbClr val="CDEBF5"/>
        </a:accent6>
        <a:hlink>
          <a:srgbClr val="5AC3E6"/>
        </a:hlink>
        <a:folHlink>
          <a:srgbClr val="5AC3E6"/>
        </a:folHlink>
      </a:clrScheme>
    </a:extraClrScheme>
    <a:extraClrScheme>
      <a:clrScheme name="ENERGY INK">
        <a:dk1>
          <a:sysClr val="windowText" lastClr="000000"/>
        </a:dk1>
        <a:lt1>
          <a:sysClr val="window" lastClr="FFFFFF"/>
        </a:lt1>
        <a:dk2>
          <a:srgbClr val="7F7F7F"/>
        </a:dk2>
        <a:lt2>
          <a:srgbClr val="BFBFBF"/>
        </a:lt2>
        <a:accent1>
          <a:srgbClr val="231E3C"/>
        </a:accent1>
        <a:accent2>
          <a:srgbClr val="322D5A"/>
        </a:accent2>
        <a:accent3>
          <a:srgbClr val="463C78"/>
        </a:accent3>
        <a:accent4>
          <a:srgbClr val="8278BE"/>
        </a:accent4>
        <a:accent5>
          <a:srgbClr val="AAA5D2"/>
        </a:accent5>
        <a:accent6>
          <a:srgbClr val="D7D2EB"/>
        </a:accent6>
        <a:hlink>
          <a:srgbClr val="8278BE"/>
        </a:hlink>
        <a:folHlink>
          <a:srgbClr val="8278BE"/>
        </a:folHlink>
      </a:clrScheme>
    </a:extraClrScheme>
  </a:extraClrSchemeLst>
  <a:extLst>
    <a:ext uri="{05A4C25C-085E-4340-85A3-A5531E510DB2}">
      <thm15:themeFamily xmlns:thm15="http://schemas.microsoft.com/office/thememl/2012/main" name="adidas_PPT_Template_2017" id="{B7D7B035-0FC3-C247-A593-EC80FF0EF8B0}" vid="{1A6E5390-A284-7E41-91FC-63E9D6812D0F}"/>
    </a:ext>
  </a:extLst>
</a:theme>
</file>

<file path=ppt/theme/theme6.xml><?xml version="1.0" encoding="utf-8"?>
<a:theme xmlns:a="http://schemas.openxmlformats.org/drawingml/2006/main" name="1_GLOBAL TEMPLATE 2017 (CORE RED)">
  <a:themeElements>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lnSpc>
            <a:spcPct val="90000"/>
          </a:lnSpc>
          <a:spcAft>
            <a:spcPts val="600"/>
          </a:spcAft>
          <a:defRPr sz="1200" b="1" dirty="0">
            <a:solidFill>
              <a:schemeClr val="bg1"/>
            </a:solidFill>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a:defRPr sz="1200" dirty="0">
            <a:latin typeface="+mn-lt"/>
          </a:defRPr>
        </a:defPPr>
      </a:lstStyle>
    </a:txDef>
  </a:objectDefaults>
  <a:extraClrSchemeLst>
    <a:extraClrScheme>
      <a:clrScheme name="BOLD PINK">
        <a:dk1>
          <a:sysClr val="windowText" lastClr="000000"/>
        </a:dk1>
        <a:lt1>
          <a:sysClr val="window" lastClr="FFFFFF"/>
        </a:lt1>
        <a:dk2>
          <a:srgbClr val="7F7F7F"/>
        </a:dk2>
        <a:lt2>
          <a:srgbClr val="BFBFBF"/>
        </a:lt2>
        <a:accent1>
          <a:srgbClr val="640A32"/>
        </a:accent1>
        <a:accent2>
          <a:srgbClr val="960F46"/>
        </a:accent2>
        <a:accent3>
          <a:srgbClr val="CD145F"/>
        </a:accent3>
        <a:accent4>
          <a:srgbClr val="F0468C"/>
        </a:accent4>
        <a:accent5>
          <a:srgbClr val="F587B4"/>
        </a:accent5>
        <a:accent6>
          <a:srgbClr val="FFB9DC"/>
        </a:accent6>
        <a:hlink>
          <a:srgbClr val="CD145F"/>
        </a:hlink>
        <a:folHlink>
          <a:srgbClr val="CD145F"/>
        </a:folHlink>
      </a:clrScheme>
    </a:extraClrScheme>
    <a:extraClrScheme>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extraClrScheme>
    <a:extraClrScheme>
      <a:clrScheme name="SOLAR GOLD">
        <a:dk1>
          <a:sysClr val="windowText" lastClr="000000"/>
        </a:dk1>
        <a:lt1>
          <a:sysClr val="window" lastClr="FFFFFF"/>
        </a:lt1>
        <a:dk2>
          <a:srgbClr val="7F7F7F"/>
        </a:dk2>
        <a:lt2>
          <a:srgbClr val="BFBFBF"/>
        </a:lt2>
        <a:accent1>
          <a:srgbClr val="8C4600"/>
        </a:accent1>
        <a:accent2>
          <a:srgbClr val="CD7800"/>
        </a:accent2>
        <a:accent3>
          <a:srgbClr val="FFAF14"/>
        </a:accent3>
        <a:accent4>
          <a:srgbClr val="FFC35A"/>
        </a:accent4>
        <a:accent5>
          <a:srgbClr val="FFD278"/>
        </a:accent5>
        <a:accent6>
          <a:srgbClr val="FFE1AF"/>
        </a:accent6>
        <a:hlink>
          <a:srgbClr val="FFAF14"/>
        </a:hlink>
        <a:folHlink>
          <a:srgbClr val="FFAF14"/>
        </a:folHlink>
      </a:clrScheme>
    </a:extraClrScheme>
    <a:extraClrScheme>
      <a:clrScheme name="CORE GREEN">
        <a:dk1>
          <a:sysClr val="windowText" lastClr="000000"/>
        </a:dk1>
        <a:lt1>
          <a:sysClr val="window" lastClr="FFFFFF"/>
        </a:lt1>
        <a:dk2>
          <a:srgbClr val="7F7F7F"/>
        </a:dk2>
        <a:lt2>
          <a:srgbClr val="BFBFBF"/>
        </a:lt2>
        <a:accent1>
          <a:srgbClr val="054637"/>
        </a:accent1>
        <a:accent2>
          <a:srgbClr val="0A6E50"/>
        </a:accent2>
        <a:accent3>
          <a:srgbClr val="0F9169"/>
        </a:accent3>
        <a:accent4>
          <a:srgbClr val="32D7A5"/>
        </a:accent4>
        <a:accent5>
          <a:srgbClr val="82E6CD"/>
        </a:accent5>
        <a:accent6>
          <a:srgbClr val="B4F0DC"/>
        </a:accent6>
        <a:hlink>
          <a:srgbClr val="0F9169"/>
        </a:hlink>
        <a:folHlink>
          <a:srgbClr val="0F9169"/>
        </a:folHlink>
      </a:clrScheme>
    </a:extraClrScheme>
    <a:extraClrScheme>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extraClrScheme>
    <a:extraClrScheme>
      <a:clrScheme name="LIGHT BLUE">
        <a:dk1>
          <a:sysClr val="windowText" lastClr="000000"/>
        </a:dk1>
        <a:lt1>
          <a:sysClr val="window" lastClr="FFFFFF"/>
        </a:lt1>
        <a:dk2>
          <a:srgbClr val="7F7F7F"/>
        </a:dk2>
        <a:lt2>
          <a:srgbClr val="BFBFBF"/>
        </a:lt2>
        <a:accent1>
          <a:srgbClr val="0F5A73"/>
        </a:accent1>
        <a:accent2>
          <a:srgbClr val="1987AA"/>
        </a:accent2>
        <a:accent3>
          <a:srgbClr val="5AC3E6"/>
        </a:accent3>
        <a:accent4>
          <a:srgbClr val="8CD7F0"/>
        </a:accent4>
        <a:accent5>
          <a:srgbClr val="AFE1F5"/>
        </a:accent5>
        <a:accent6>
          <a:srgbClr val="CDEBF5"/>
        </a:accent6>
        <a:hlink>
          <a:srgbClr val="5AC3E6"/>
        </a:hlink>
        <a:folHlink>
          <a:srgbClr val="5AC3E6"/>
        </a:folHlink>
      </a:clrScheme>
    </a:extraClrScheme>
    <a:extraClrScheme>
      <a:clrScheme name="ENERGY INK">
        <a:dk1>
          <a:sysClr val="windowText" lastClr="000000"/>
        </a:dk1>
        <a:lt1>
          <a:sysClr val="window" lastClr="FFFFFF"/>
        </a:lt1>
        <a:dk2>
          <a:srgbClr val="7F7F7F"/>
        </a:dk2>
        <a:lt2>
          <a:srgbClr val="BFBFBF"/>
        </a:lt2>
        <a:accent1>
          <a:srgbClr val="231E3C"/>
        </a:accent1>
        <a:accent2>
          <a:srgbClr val="322D5A"/>
        </a:accent2>
        <a:accent3>
          <a:srgbClr val="463C78"/>
        </a:accent3>
        <a:accent4>
          <a:srgbClr val="8278BE"/>
        </a:accent4>
        <a:accent5>
          <a:srgbClr val="AAA5D2"/>
        </a:accent5>
        <a:accent6>
          <a:srgbClr val="D7D2EB"/>
        </a:accent6>
        <a:hlink>
          <a:srgbClr val="8278BE"/>
        </a:hlink>
        <a:folHlink>
          <a:srgbClr val="8278BE"/>
        </a:folHlink>
      </a:clrScheme>
    </a:extraClrScheme>
  </a:extraClrSchemeLst>
  <a:extLst>
    <a:ext uri="{05A4C25C-085E-4340-85A3-A5531E510DB2}">
      <thm15:themeFamily xmlns:thm15="http://schemas.microsoft.com/office/thememl/2012/main" name="Corporate Template_RED_examplary slides" id="{AF0A1A38-8045-6D47-BFFD-7087548BC296}" vid="{4F64BE1F-195E-7847-AA2B-A344D0F2BDEC}"/>
    </a:ext>
  </a:extLst>
</a:theme>
</file>

<file path=ppt/theme/theme7.xml><?xml version="1.0" encoding="utf-8"?>
<a:theme xmlns:a="http://schemas.openxmlformats.org/drawingml/2006/main" name="2_GLOBAL TEMPLATE 2017 (CORE RED)">
  <a:themeElements>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lnSpc>
            <a:spcPct val="90000"/>
          </a:lnSpc>
          <a:spcAft>
            <a:spcPts val="600"/>
          </a:spcAft>
          <a:defRPr sz="1200" b="1" dirty="0">
            <a:solidFill>
              <a:schemeClr val="bg1"/>
            </a:solidFill>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a:defRPr sz="1200" dirty="0">
            <a:latin typeface="+mn-lt"/>
          </a:defRPr>
        </a:defPPr>
      </a:lstStyle>
    </a:txDef>
  </a:objectDefaults>
  <a:extraClrSchemeLst>
    <a:extraClrScheme>
      <a:clrScheme name="BOLD PINK">
        <a:dk1>
          <a:sysClr val="windowText" lastClr="000000"/>
        </a:dk1>
        <a:lt1>
          <a:sysClr val="window" lastClr="FFFFFF"/>
        </a:lt1>
        <a:dk2>
          <a:srgbClr val="7F7F7F"/>
        </a:dk2>
        <a:lt2>
          <a:srgbClr val="BFBFBF"/>
        </a:lt2>
        <a:accent1>
          <a:srgbClr val="640A32"/>
        </a:accent1>
        <a:accent2>
          <a:srgbClr val="960F46"/>
        </a:accent2>
        <a:accent3>
          <a:srgbClr val="CD145F"/>
        </a:accent3>
        <a:accent4>
          <a:srgbClr val="F0468C"/>
        </a:accent4>
        <a:accent5>
          <a:srgbClr val="F587B4"/>
        </a:accent5>
        <a:accent6>
          <a:srgbClr val="FFB9DC"/>
        </a:accent6>
        <a:hlink>
          <a:srgbClr val="CD145F"/>
        </a:hlink>
        <a:folHlink>
          <a:srgbClr val="CD145F"/>
        </a:folHlink>
      </a:clrScheme>
    </a:extraClrScheme>
    <a:extraClrScheme>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extraClrScheme>
    <a:extraClrScheme>
      <a:clrScheme name="SOLAR GOLD">
        <a:dk1>
          <a:sysClr val="windowText" lastClr="000000"/>
        </a:dk1>
        <a:lt1>
          <a:sysClr val="window" lastClr="FFFFFF"/>
        </a:lt1>
        <a:dk2>
          <a:srgbClr val="7F7F7F"/>
        </a:dk2>
        <a:lt2>
          <a:srgbClr val="BFBFBF"/>
        </a:lt2>
        <a:accent1>
          <a:srgbClr val="8C4600"/>
        </a:accent1>
        <a:accent2>
          <a:srgbClr val="CD7800"/>
        </a:accent2>
        <a:accent3>
          <a:srgbClr val="FFAF14"/>
        </a:accent3>
        <a:accent4>
          <a:srgbClr val="FFC35A"/>
        </a:accent4>
        <a:accent5>
          <a:srgbClr val="FFD278"/>
        </a:accent5>
        <a:accent6>
          <a:srgbClr val="FFE1AF"/>
        </a:accent6>
        <a:hlink>
          <a:srgbClr val="FFAF14"/>
        </a:hlink>
        <a:folHlink>
          <a:srgbClr val="FFAF14"/>
        </a:folHlink>
      </a:clrScheme>
    </a:extraClrScheme>
    <a:extraClrScheme>
      <a:clrScheme name="CORE GREEN">
        <a:dk1>
          <a:sysClr val="windowText" lastClr="000000"/>
        </a:dk1>
        <a:lt1>
          <a:sysClr val="window" lastClr="FFFFFF"/>
        </a:lt1>
        <a:dk2>
          <a:srgbClr val="7F7F7F"/>
        </a:dk2>
        <a:lt2>
          <a:srgbClr val="BFBFBF"/>
        </a:lt2>
        <a:accent1>
          <a:srgbClr val="054637"/>
        </a:accent1>
        <a:accent2>
          <a:srgbClr val="0A6E50"/>
        </a:accent2>
        <a:accent3>
          <a:srgbClr val="0F9169"/>
        </a:accent3>
        <a:accent4>
          <a:srgbClr val="32D7A5"/>
        </a:accent4>
        <a:accent5>
          <a:srgbClr val="82E6CD"/>
        </a:accent5>
        <a:accent6>
          <a:srgbClr val="B4F0DC"/>
        </a:accent6>
        <a:hlink>
          <a:srgbClr val="0F9169"/>
        </a:hlink>
        <a:folHlink>
          <a:srgbClr val="0F9169"/>
        </a:folHlink>
      </a:clrScheme>
    </a:extraClrScheme>
    <a:extraClrScheme>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extraClrScheme>
    <a:extraClrScheme>
      <a:clrScheme name="LIGHT BLUE">
        <a:dk1>
          <a:sysClr val="windowText" lastClr="000000"/>
        </a:dk1>
        <a:lt1>
          <a:sysClr val="window" lastClr="FFFFFF"/>
        </a:lt1>
        <a:dk2>
          <a:srgbClr val="7F7F7F"/>
        </a:dk2>
        <a:lt2>
          <a:srgbClr val="BFBFBF"/>
        </a:lt2>
        <a:accent1>
          <a:srgbClr val="0F5A73"/>
        </a:accent1>
        <a:accent2>
          <a:srgbClr val="1987AA"/>
        </a:accent2>
        <a:accent3>
          <a:srgbClr val="5AC3E6"/>
        </a:accent3>
        <a:accent4>
          <a:srgbClr val="8CD7F0"/>
        </a:accent4>
        <a:accent5>
          <a:srgbClr val="AFE1F5"/>
        </a:accent5>
        <a:accent6>
          <a:srgbClr val="CDEBF5"/>
        </a:accent6>
        <a:hlink>
          <a:srgbClr val="5AC3E6"/>
        </a:hlink>
        <a:folHlink>
          <a:srgbClr val="5AC3E6"/>
        </a:folHlink>
      </a:clrScheme>
    </a:extraClrScheme>
    <a:extraClrScheme>
      <a:clrScheme name="ENERGY INK">
        <a:dk1>
          <a:sysClr val="windowText" lastClr="000000"/>
        </a:dk1>
        <a:lt1>
          <a:sysClr val="window" lastClr="FFFFFF"/>
        </a:lt1>
        <a:dk2>
          <a:srgbClr val="7F7F7F"/>
        </a:dk2>
        <a:lt2>
          <a:srgbClr val="BFBFBF"/>
        </a:lt2>
        <a:accent1>
          <a:srgbClr val="231E3C"/>
        </a:accent1>
        <a:accent2>
          <a:srgbClr val="322D5A"/>
        </a:accent2>
        <a:accent3>
          <a:srgbClr val="463C78"/>
        </a:accent3>
        <a:accent4>
          <a:srgbClr val="8278BE"/>
        </a:accent4>
        <a:accent5>
          <a:srgbClr val="AAA5D2"/>
        </a:accent5>
        <a:accent6>
          <a:srgbClr val="D7D2EB"/>
        </a:accent6>
        <a:hlink>
          <a:srgbClr val="8278BE"/>
        </a:hlink>
        <a:folHlink>
          <a:srgbClr val="8278BE"/>
        </a:folHlink>
      </a:clrScheme>
    </a:extraClrScheme>
  </a:extraClrSchemeLst>
  <a:extLst>
    <a:ext uri="{05A4C25C-085E-4340-85A3-A5531E510DB2}">
      <thm15:themeFamily xmlns:thm15="http://schemas.microsoft.com/office/thememl/2012/main" name="Corporate Template_RED_examplary slides" id="{AF0A1A38-8045-6D47-BFFD-7087548BC296}" vid="{4F64BE1F-195E-7847-AA2B-A344D0F2BDEC}"/>
    </a:ext>
  </a:extLst>
</a:theme>
</file>

<file path=ppt/theme/theme8.xml><?xml version="1.0" encoding="utf-8"?>
<a:theme xmlns:a="http://schemas.openxmlformats.org/drawingml/2006/main" name="2_GLOBAL TEMPLATE 2017 (BOLD PINK)">
  <a:themeElements>
    <a:clrScheme name="CORE RED">
      <a:dk1>
        <a:sysClr val="windowText" lastClr="000000"/>
      </a:dk1>
      <a:lt1>
        <a:sysClr val="window" lastClr="FFFFFF"/>
      </a:lt1>
      <a:dk2>
        <a:srgbClr val="7F7F7F"/>
      </a:dk2>
      <a:lt2>
        <a:srgbClr val="BFBFBF"/>
      </a:lt2>
      <a:accent1>
        <a:srgbClr val="691419"/>
      </a:accent1>
      <a:accent2>
        <a:srgbClr val="A01923"/>
      </a:accent2>
      <a:accent3>
        <a:srgbClr val="D72332"/>
      </a:accent3>
      <a:accent4>
        <a:srgbClr val="E6646E"/>
      </a:accent4>
      <a:accent5>
        <a:srgbClr val="EB9196"/>
      </a:accent5>
      <a:accent6>
        <a:srgbClr val="F5C3C8"/>
      </a:accent6>
      <a:hlink>
        <a:srgbClr val="D72332"/>
      </a:hlink>
      <a:folHlink>
        <a:srgbClr val="D72332"/>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12700" cap="sq">
          <a:solidFill>
            <a:schemeClr val="tx1"/>
          </a:solidFill>
          <a:miter lim="800000"/>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71450" indent="-171450" algn="l">
          <a:spcAft>
            <a:spcPts val="600"/>
          </a:spcAft>
          <a:buFont typeface="Arial" panose="020B0604020202020204" pitchFamily="34" charset="0"/>
          <a:buChar char="•"/>
          <a:defRPr sz="1200" dirty="0" smtClean="0">
            <a:solidFill>
              <a:schemeClr val="tx1"/>
            </a:solidFill>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9525"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ln w="9525">
          <a:solidFill>
            <a:schemeClr val="tx1"/>
          </a:solidFill>
        </a:ln>
      </a:spPr>
      <a:bodyPr vert="horz" wrap="square" lIns="72000" tIns="72000" rIns="72000" bIns="72000" rtlCol="0" anchor="t" anchorCtr="0">
        <a:noAutofit/>
      </a:bodyPr>
      <a:lstStyle>
        <a:defPPr marL="108000" indent="-108000" algn="l">
          <a:buFont typeface="Arial" panose="020B0604020202020204" pitchFamily="34" charset="0"/>
          <a:buChar char="•"/>
          <a:defRPr sz="1200" dirty="0" err="1" smtClean="0">
            <a:latin typeface="+mn-lt"/>
          </a:defRPr>
        </a:defPPr>
      </a:lstStyle>
    </a:txDef>
  </a:objectDefaults>
  <a:extraClrSchemeLst>
    <a:extraClrScheme>
      <a:clrScheme name="GLOBAL TEMPLATE 2017 (BOLD PINK) 1">
        <a:dk1>
          <a:srgbClr val="7F7F7F"/>
        </a:dk1>
        <a:lt1>
          <a:srgbClr val="FFFFFF"/>
        </a:lt1>
        <a:dk2>
          <a:srgbClr val="000000"/>
        </a:dk2>
        <a:lt2>
          <a:srgbClr val="BFBFBF"/>
        </a:lt2>
        <a:accent1>
          <a:srgbClr val="640A32"/>
        </a:accent1>
        <a:accent2>
          <a:srgbClr val="960F46"/>
        </a:accent2>
        <a:accent3>
          <a:srgbClr val="AAAAAA"/>
        </a:accent3>
        <a:accent4>
          <a:srgbClr val="DADADA"/>
        </a:accent4>
        <a:accent5>
          <a:srgbClr val="B8AAAD"/>
        </a:accent5>
        <a:accent6>
          <a:srgbClr val="870C3F"/>
        </a:accent6>
        <a:hlink>
          <a:srgbClr val="CD145F"/>
        </a:hlink>
        <a:folHlink>
          <a:srgbClr val="CD145F"/>
        </a:folHlink>
      </a:clrScheme>
      <a:clrMap bg1="dk2" tx1="lt1" bg2="dk1" tx2="lt2" accent1="accent1" accent2="accent2" accent3="accent3" accent4="accent4" accent5="accent5" accent6="accent6" hlink="hlink" folHlink="folHlink"/>
    </a:extraClrScheme>
    <a:extraClrScheme>
      <a:clrScheme name="GLOBAL TEMPLATE 2017 (BOLD PINK) 2">
        <a:dk1>
          <a:srgbClr val="7F7F7F"/>
        </a:dk1>
        <a:lt1>
          <a:srgbClr val="FFFFFF"/>
        </a:lt1>
        <a:dk2>
          <a:srgbClr val="000000"/>
        </a:dk2>
        <a:lt2>
          <a:srgbClr val="BFBFBF"/>
        </a:lt2>
        <a:accent1>
          <a:srgbClr val="691419"/>
        </a:accent1>
        <a:accent2>
          <a:srgbClr val="A01923"/>
        </a:accent2>
        <a:accent3>
          <a:srgbClr val="AAAAAA"/>
        </a:accent3>
        <a:accent4>
          <a:srgbClr val="DADADA"/>
        </a:accent4>
        <a:accent5>
          <a:srgbClr val="B9AAAB"/>
        </a:accent5>
        <a:accent6>
          <a:srgbClr val="91161F"/>
        </a:accent6>
        <a:hlink>
          <a:srgbClr val="D72332"/>
        </a:hlink>
        <a:folHlink>
          <a:srgbClr val="D72332"/>
        </a:folHlink>
      </a:clrScheme>
      <a:clrMap bg1="dk2" tx1="lt1" bg2="dk1" tx2="lt2" accent1="accent1" accent2="accent2" accent3="accent3" accent4="accent4" accent5="accent5" accent6="accent6" hlink="hlink" folHlink="folHlink"/>
    </a:extraClrScheme>
    <a:extraClrScheme>
      <a:clrScheme name="GLOBAL TEMPLATE 2017 (BOLD PINK) 3">
        <a:dk1>
          <a:srgbClr val="7F7F7F"/>
        </a:dk1>
        <a:lt1>
          <a:srgbClr val="FFFFFF"/>
        </a:lt1>
        <a:dk2>
          <a:srgbClr val="000000"/>
        </a:dk2>
        <a:lt2>
          <a:srgbClr val="BFBFBF"/>
        </a:lt2>
        <a:accent1>
          <a:srgbClr val="8C4600"/>
        </a:accent1>
        <a:accent2>
          <a:srgbClr val="CD7800"/>
        </a:accent2>
        <a:accent3>
          <a:srgbClr val="AAAAAA"/>
        </a:accent3>
        <a:accent4>
          <a:srgbClr val="DADADA"/>
        </a:accent4>
        <a:accent5>
          <a:srgbClr val="C5B0AA"/>
        </a:accent5>
        <a:accent6>
          <a:srgbClr val="BA6C00"/>
        </a:accent6>
        <a:hlink>
          <a:srgbClr val="FFAF14"/>
        </a:hlink>
        <a:folHlink>
          <a:srgbClr val="FFAF14"/>
        </a:folHlink>
      </a:clrScheme>
      <a:clrMap bg1="dk2" tx1="lt1" bg2="dk1" tx2="lt2" accent1="accent1" accent2="accent2" accent3="accent3" accent4="accent4" accent5="accent5" accent6="accent6" hlink="hlink" folHlink="folHlink"/>
    </a:extraClrScheme>
    <a:extraClrScheme>
      <a:clrScheme name="GLOBAL TEMPLATE 2017 (BOLD PINK) 4">
        <a:dk1>
          <a:srgbClr val="7F7F7F"/>
        </a:dk1>
        <a:lt1>
          <a:srgbClr val="FFFFFF"/>
        </a:lt1>
        <a:dk2>
          <a:srgbClr val="000000"/>
        </a:dk2>
        <a:lt2>
          <a:srgbClr val="BFBFBF"/>
        </a:lt2>
        <a:accent1>
          <a:srgbClr val="054637"/>
        </a:accent1>
        <a:accent2>
          <a:srgbClr val="0A6E50"/>
        </a:accent2>
        <a:accent3>
          <a:srgbClr val="AAAAAA"/>
        </a:accent3>
        <a:accent4>
          <a:srgbClr val="DADADA"/>
        </a:accent4>
        <a:accent5>
          <a:srgbClr val="AAB0AE"/>
        </a:accent5>
        <a:accent6>
          <a:srgbClr val="086348"/>
        </a:accent6>
        <a:hlink>
          <a:srgbClr val="0F9169"/>
        </a:hlink>
        <a:folHlink>
          <a:srgbClr val="0F9169"/>
        </a:folHlink>
      </a:clrScheme>
      <a:clrMap bg1="dk2" tx1="lt1" bg2="dk1" tx2="lt2" accent1="accent1" accent2="accent2" accent3="accent3" accent4="accent4" accent5="accent5" accent6="accent6" hlink="hlink" folHlink="folHlink"/>
    </a:extraClrScheme>
    <a:extraClrScheme>
      <a:clrScheme name="GLOBAL TEMPLATE 2017 (BOLD PINK) 5">
        <a:dk1>
          <a:srgbClr val="7F7F7F"/>
        </a:dk1>
        <a:lt1>
          <a:srgbClr val="FFFFFF"/>
        </a:lt1>
        <a:dk2>
          <a:srgbClr val="000000"/>
        </a:dk2>
        <a:lt2>
          <a:srgbClr val="BFBFBF"/>
        </a:lt2>
        <a:accent1>
          <a:srgbClr val="0F504B"/>
        </a:accent1>
        <a:accent2>
          <a:srgbClr val="198C82"/>
        </a:accent2>
        <a:accent3>
          <a:srgbClr val="AAAAAA"/>
        </a:accent3>
        <a:accent4>
          <a:srgbClr val="DADADA"/>
        </a:accent4>
        <a:accent5>
          <a:srgbClr val="AAB3B1"/>
        </a:accent5>
        <a:accent6>
          <a:srgbClr val="167E75"/>
        </a:accent6>
        <a:hlink>
          <a:srgbClr val="2DD7C3"/>
        </a:hlink>
        <a:folHlink>
          <a:srgbClr val="2DD7C3"/>
        </a:folHlink>
      </a:clrScheme>
      <a:clrMap bg1="dk2" tx1="lt1" bg2="dk1" tx2="lt2" accent1="accent1" accent2="accent2" accent3="accent3" accent4="accent4" accent5="accent5" accent6="accent6" hlink="hlink" folHlink="folHlink"/>
    </a:extraClrScheme>
    <a:extraClrScheme>
      <a:clrScheme name="GLOBAL TEMPLATE 2017 (BOLD PINK) 6">
        <a:dk1>
          <a:srgbClr val="7F7F7F"/>
        </a:dk1>
        <a:lt1>
          <a:srgbClr val="FFFFFF"/>
        </a:lt1>
        <a:dk2>
          <a:srgbClr val="000000"/>
        </a:dk2>
        <a:lt2>
          <a:srgbClr val="BFBFBF"/>
        </a:lt2>
        <a:accent1>
          <a:srgbClr val="0F5A73"/>
        </a:accent1>
        <a:accent2>
          <a:srgbClr val="1987AA"/>
        </a:accent2>
        <a:accent3>
          <a:srgbClr val="AAAAAA"/>
        </a:accent3>
        <a:accent4>
          <a:srgbClr val="DADADA"/>
        </a:accent4>
        <a:accent5>
          <a:srgbClr val="AAB5BC"/>
        </a:accent5>
        <a:accent6>
          <a:srgbClr val="167A9A"/>
        </a:accent6>
        <a:hlink>
          <a:srgbClr val="5AC3E6"/>
        </a:hlink>
        <a:folHlink>
          <a:srgbClr val="5AC3E6"/>
        </a:folHlink>
      </a:clrScheme>
      <a:clrMap bg1="dk2" tx1="lt1" bg2="dk1" tx2="lt2" accent1="accent1" accent2="accent2" accent3="accent3" accent4="accent4" accent5="accent5" accent6="accent6" hlink="hlink" folHlink="folHlink"/>
    </a:extraClrScheme>
    <a:extraClrScheme>
      <a:clrScheme name="GLOBAL TEMPLATE 2017 (BOLD PINK) 7">
        <a:dk1>
          <a:srgbClr val="7F7F7F"/>
        </a:dk1>
        <a:lt1>
          <a:srgbClr val="FFFFFF"/>
        </a:lt1>
        <a:dk2>
          <a:srgbClr val="000000"/>
        </a:dk2>
        <a:lt2>
          <a:srgbClr val="BFBFBF"/>
        </a:lt2>
        <a:accent1>
          <a:srgbClr val="231E3C"/>
        </a:accent1>
        <a:accent2>
          <a:srgbClr val="322D5A"/>
        </a:accent2>
        <a:accent3>
          <a:srgbClr val="AAAAAA"/>
        </a:accent3>
        <a:accent4>
          <a:srgbClr val="DADADA"/>
        </a:accent4>
        <a:accent5>
          <a:srgbClr val="ACABAF"/>
        </a:accent5>
        <a:accent6>
          <a:srgbClr val="2C2851"/>
        </a:accent6>
        <a:hlink>
          <a:srgbClr val="8278BE"/>
        </a:hlink>
        <a:folHlink>
          <a:srgbClr val="8278BE"/>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8_PPT Standard Template" id="{295227BB-EF81-4341-9C97-18DE69EB2A0A}" vid="{D29FA3B5-5AC8-4D40-A2E9-3ACB9EFE368F}"/>
    </a:ext>
  </a:extLst>
</a:theme>
</file>

<file path=ppt/theme/theme9.xml><?xml version="1.0" encoding="utf-8"?>
<a:theme xmlns:a="http://schemas.openxmlformats.org/drawingml/2006/main" name="GLOBAL TEMPLATE 2017">
  <a:themeElements>
    <a:clrScheme name="CORE RED">
      <a:dk1>
        <a:sysClr val="windowText" lastClr="000000"/>
      </a:dk1>
      <a:lt1>
        <a:sysClr val="window" lastClr="FFFFFF"/>
      </a:lt1>
      <a:dk2>
        <a:srgbClr val="7F7F7F"/>
      </a:dk2>
      <a:lt2>
        <a:srgbClr val="BFBFBF"/>
      </a:lt2>
      <a:accent1>
        <a:srgbClr val="691419"/>
      </a:accent1>
      <a:accent2>
        <a:srgbClr val="A01923"/>
      </a:accent2>
      <a:accent3>
        <a:srgbClr val="D22430"/>
      </a:accent3>
      <a:accent4>
        <a:srgbClr val="E6646E"/>
      </a:accent4>
      <a:accent5>
        <a:srgbClr val="EB9196"/>
      </a:accent5>
      <a:accent6>
        <a:srgbClr val="F5C3C8"/>
      </a:accent6>
      <a:hlink>
        <a:srgbClr val="D22430"/>
      </a:hlink>
      <a:folHlink>
        <a:srgbClr val="D22430"/>
      </a:folHlink>
    </a:clrScheme>
    <a:fontScheme name="adidas Global Template">
      <a:majorFont>
        <a:latin typeface="adineue TEXT Black"/>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lnSpc>
            <a:spcPct val="90000"/>
          </a:lnSpc>
          <a:spcAft>
            <a:spcPts val="600"/>
          </a:spcAft>
          <a:defRPr sz="1200" b="1" dirty="0">
            <a:solidFill>
              <a:schemeClr val="bg1"/>
            </a:solidFill>
            <a:cs typeface="AdihausDIN Cn" panose="020B0506020101010102" pitchFamily="34" charset="0"/>
          </a:defRPr>
        </a:defPPr>
      </a:lstStyle>
      <a:style>
        <a:lnRef idx="3">
          <a:schemeClr val="lt1"/>
        </a:lnRef>
        <a:fillRef idx="1">
          <a:schemeClr val="accent1"/>
        </a:fillRef>
        <a:effectRef idx="1">
          <a:schemeClr val="accent1"/>
        </a:effectRef>
        <a:fontRef idx="minor">
          <a:schemeClr val="lt1"/>
        </a:fontRef>
      </a:style>
    </a:spDef>
    <a:lnDef>
      <a:spPr>
        <a:ln w="6350" cmpd="sng">
          <a:solidFill>
            <a:schemeClr val="tx1"/>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spPr>
      <a:bodyPr vert="horz" wrap="square" lIns="0" tIns="0" rIns="0" bIns="0" rtlCol="0" anchor="t" anchorCtr="0">
        <a:noAutofit/>
      </a:bodyPr>
      <a:lstStyle>
        <a:defPPr>
          <a:defRPr sz="1200" dirty="0">
            <a:latin typeface="+mn-lt"/>
          </a:defRPr>
        </a:defPPr>
      </a:lstStyle>
    </a:txDef>
  </a:objectDefaults>
  <a:extraClrSchemeLst>
    <a:extraClrScheme>
      <a:clrScheme name="CORE RED">
        <a:dk1>
          <a:sysClr val="windowText" lastClr="000000"/>
        </a:dk1>
        <a:lt1>
          <a:sysClr val="window" lastClr="FFFFFF"/>
        </a:lt1>
        <a:dk2>
          <a:srgbClr val="7F7F7F"/>
        </a:dk2>
        <a:lt2>
          <a:srgbClr val="BFBFBF"/>
        </a:lt2>
        <a:accent1>
          <a:srgbClr val="691419"/>
        </a:accent1>
        <a:accent2>
          <a:srgbClr val="A01923"/>
        </a:accent2>
        <a:accent3>
          <a:srgbClr val="D22430"/>
        </a:accent3>
        <a:accent4>
          <a:srgbClr val="E6646E"/>
        </a:accent4>
        <a:accent5>
          <a:srgbClr val="EB9196"/>
        </a:accent5>
        <a:accent6>
          <a:srgbClr val="F5C3C8"/>
        </a:accent6>
        <a:hlink>
          <a:srgbClr val="D22430"/>
        </a:hlink>
        <a:folHlink>
          <a:srgbClr val="D22430"/>
        </a:folHlink>
      </a:clrScheme>
    </a:extraClrScheme>
    <a:extraClrScheme>
      <a:clrScheme name="BOLD PINK">
        <a:dk1>
          <a:sysClr val="windowText" lastClr="000000"/>
        </a:dk1>
        <a:lt1>
          <a:sysClr val="window" lastClr="FFFFFF"/>
        </a:lt1>
        <a:dk2>
          <a:srgbClr val="7F7F7F"/>
        </a:dk2>
        <a:lt2>
          <a:srgbClr val="BFBFBF"/>
        </a:lt2>
        <a:accent1>
          <a:srgbClr val="640A32"/>
        </a:accent1>
        <a:accent2>
          <a:srgbClr val="960F46"/>
        </a:accent2>
        <a:accent3>
          <a:srgbClr val="CD145F"/>
        </a:accent3>
        <a:accent4>
          <a:srgbClr val="F0468C"/>
        </a:accent4>
        <a:accent5>
          <a:srgbClr val="F587B4"/>
        </a:accent5>
        <a:accent6>
          <a:srgbClr val="FFB9DC"/>
        </a:accent6>
        <a:hlink>
          <a:srgbClr val="CD145F"/>
        </a:hlink>
        <a:folHlink>
          <a:srgbClr val="CD145F"/>
        </a:folHlink>
      </a:clrScheme>
    </a:extraClrScheme>
    <a:extraClrScheme>
      <a:clrScheme name="SOLAR GOLD">
        <a:dk1>
          <a:sysClr val="windowText" lastClr="000000"/>
        </a:dk1>
        <a:lt1>
          <a:sysClr val="window" lastClr="FFFFFF"/>
        </a:lt1>
        <a:dk2>
          <a:srgbClr val="7F7F7F"/>
        </a:dk2>
        <a:lt2>
          <a:srgbClr val="BFBFBF"/>
        </a:lt2>
        <a:accent1>
          <a:srgbClr val="8C4600"/>
        </a:accent1>
        <a:accent2>
          <a:srgbClr val="CD7800"/>
        </a:accent2>
        <a:accent3>
          <a:srgbClr val="FFAF14"/>
        </a:accent3>
        <a:accent4>
          <a:srgbClr val="FFC35A"/>
        </a:accent4>
        <a:accent5>
          <a:srgbClr val="FFD278"/>
        </a:accent5>
        <a:accent6>
          <a:srgbClr val="FFE1AF"/>
        </a:accent6>
        <a:hlink>
          <a:srgbClr val="FFAF14"/>
        </a:hlink>
        <a:folHlink>
          <a:srgbClr val="FFAF14"/>
        </a:folHlink>
      </a:clrScheme>
    </a:extraClrScheme>
    <a:extraClrScheme>
      <a:clrScheme name="CORE GREEN">
        <a:dk1>
          <a:sysClr val="windowText" lastClr="000000"/>
        </a:dk1>
        <a:lt1>
          <a:sysClr val="window" lastClr="FFFFFF"/>
        </a:lt1>
        <a:dk2>
          <a:srgbClr val="7F7F7F"/>
        </a:dk2>
        <a:lt2>
          <a:srgbClr val="BFBFBF"/>
        </a:lt2>
        <a:accent1>
          <a:srgbClr val="054637"/>
        </a:accent1>
        <a:accent2>
          <a:srgbClr val="0A6E50"/>
        </a:accent2>
        <a:accent3>
          <a:srgbClr val="0F9169"/>
        </a:accent3>
        <a:accent4>
          <a:srgbClr val="32D7A5"/>
        </a:accent4>
        <a:accent5>
          <a:srgbClr val="82E6CD"/>
        </a:accent5>
        <a:accent6>
          <a:srgbClr val="B4F0DC"/>
        </a:accent6>
        <a:hlink>
          <a:srgbClr val="0F9169"/>
        </a:hlink>
        <a:folHlink>
          <a:srgbClr val="0F9169"/>
        </a:folHlink>
      </a:clrScheme>
    </a:extraClrScheme>
    <a:extraClrScheme>
      <a:clrScheme name="TEAL">
        <a:dk1>
          <a:sysClr val="windowText" lastClr="000000"/>
        </a:dk1>
        <a:lt1>
          <a:sysClr val="window" lastClr="FFFFFF"/>
        </a:lt1>
        <a:dk2>
          <a:srgbClr val="7F7F7F"/>
        </a:dk2>
        <a:lt2>
          <a:srgbClr val="BFBFBF"/>
        </a:lt2>
        <a:accent1>
          <a:srgbClr val="0F504B"/>
        </a:accent1>
        <a:accent2>
          <a:srgbClr val="198C82"/>
        </a:accent2>
        <a:accent3>
          <a:srgbClr val="2DD7C3"/>
        </a:accent3>
        <a:accent4>
          <a:srgbClr val="64E1D7"/>
        </a:accent4>
        <a:accent5>
          <a:srgbClr val="91EBE1"/>
        </a:accent5>
        <a:accent6>
          <a:srgbClr val="B4F0EB"/>
        </a:accent6>
        <a:hlink>
          <a:srgbClr val="2DD7C3"/>
        </a:hlink>
        <a:folHlink>
          <a:srgbClr val="2DD7C3"/>
        </a:folHlink>
      </a:clrScheme>
    </a:extraClrScheme>
    <a:extraClrScheme>
      <a:clrScheme name="LIGHT BLUE">
        <a:dk1>
          <a:sysClr val="windowText" lastClr="000000"/>
        </a:dk1>
        <a:lt1>
          <a:sysClr val="window" lastClr="FFFFFF"/>
        </a:lt1>
        <a:dk2>
          <a:srgbClr val="7F7F7F"/>
        </a:dk2>
        <a:lt2>
          <a:srgbClr val="BFBFBF"/>
        </a:lt2>
        <a:accent1>
          <a:srgbClr val="0F5A73"/>
        </a:accent1>
        <a:accent2>
          <a:srgbClr val="1987AA"/>
        </a:accent2>
        <a:accent3>
          <a:srgbClr val="5AC3E6"/>
        </a:accent3>
        <a:accent4>
          <a:srgbClr val="8CD7F0"/>
        </a:accent4>
        <a:accent5>
          <a:srgbClr val="AFE1F5"/>
        </a:accent5>
        <a:accent6>
          <a:srgbClr val="CDEBF5"/>
        </a:accent6>
        <a:hlink>
          <a:srgbClr val="5AC3E6"/>
        </a:hlink>
        <a:folHlink>
          <a:srgbClr val="5AC3E6"/>
        </a:folHlink>
      </a:clrScheme>
    </a:extraClrScheme>
    <a:extraClrScheme>
      <a:clrScheme name="ENERGY INK">
        <a:dk1>
          <a:sysClr val="windowText" lastClr="000000"/>
        </a:dk1>
        <a:lt1>
          <a:sysClr val="window" lastClr="FFFFFF"/>
        </a:lt1>
        <a:dk2>
          <a:srgbClr val="7F7F7F"/>
        </a:dk2>
        <a:lt2>
          <a:srgbClr val="BFBFBF"/>
        </a:lt2>
        <a:accent1>
          <a:srgbClr val="231E3C"/>
        </a:accent1>
        <a:accent2>
          <a:srgbClr val="322D5A"/>
        </a:accent2>
        <a:accent3>
          <a:srgbClr val="463C78"/>
        </a:accent3>
        <a:accent4>
          <a:srgbClr val="8278BE"/>
        </a:accent4>
        <a:accent5>
          <a:srgbClr val="AAA5D2"/>
        </a:accent5>
        <a:accent6>
          <a:srgbClr val="D7D2EB"/>
        </a:accent6>
        <a:hlink>
          <a:srgbClr val="8278BE"/>
        </a:hlink>
        <a:folHlink>
          <a:srgbClr val="8278BE"/>
        </a:folHlink>
      </a:clrScheme>
    </a:extraClrScheme>
  </a:extraClrSchemeLst>
  <a:extLst>
    <a:ext uri="{05A4C25C-085E-4340-85A3-A5531E510DB2}">
      <thm15:themeFamily xmlns:thm15="http://schemas.microsoft.com/office/thememl/2012/main" name="adidas_PPT_Template_2017" id="{B7D7B035-0FC3-C247-A593-EC80FF0EF8B0}" vid="{29F153E8-F82E-D241-85C6-CE3D8AFA833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D4A977DEED6C646A1689800DB9B5791" ma:contentTypeVersion="11" ma:contentTypeDescription="Create a new document." ma:contentTypeScope="" ma:versionID="cf47cde235889fa4a26bd156aa991377">
  <xsd:schema xmlns:xsd="http://www.w3.org/2001/XMLSchema" xmlns:xs="http://www.w3.org/2001/XMLSchema" xmlns:p="http://schemas.microsoft.com/office/2006/metadata/properties" xmlns:ns3="3f92233b-20bc-41bd-ad5d-9c5a9597b6e3" xmlns:ns4="f8378a94-0f16-4d0c-8f51-4d7c973746f1" targetNamespace="http://schemas.microsoft.com/office/2006/metadata/properties" ma:root="true" ma:fieldsID="b7a53d2288191876ccaa720cf69d6414" ns3:_="" ns4:_="">
    <xsd:import namespace="3f92233b-20bc-41bd-ad5d-9c5a9597b6e3"/>
    <xsd:import namespace="f8378a94-0f16-4d0c-8f51-4d7c973746f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92233b-20bc-41bd-ad5d-9c5a9597b6e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378a94-0f16-4d0c-8f51-4d7c973746f1"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74D70A-F80D-4FEC-9EB7-87431C2F945B}">
  <ds:schemaRefs>
    <ds:schemaRef ds:uri="http://schemas.openxmlformats.org/package/2006/metadata/core-properties"/>
    <ds:schemaRef ds:uri="3f92233b-20bc-41bd-ad5d-9c5a9597b6e3"/>
    <ds:schemaRef ds:uri="http://schemas.microsoft.com/office/2006/documentManagement/types"/>
    <ds:schemaRef ds:uri="http://www.w3.org/XML/1998/namespace"/>
    <ds:schemaRef ds:uri="http://purl.org/dc/elements/1.1/"/>
    <ds:schemaRef ds:uri="f8378a94-0f16-4d0c-8f51-4d7c973746f1"/>
    <ds:schemaRef ds:uri="http://schemas.microsoft.com/office/2006/metadata/properties"/>
    <ds:schemaRef ds:uri="http://purl.org/dc/term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30B491AE-8933-4A21-9804-199D9B7D3C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92233b-20bc-41bd-ad5d-9c5a9597b6e3"/>
    <ds:schemaRef ds:uri="f8378a94-0f16-4d0c-8f51-4d7c973746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7A72D66-CF3F-45E9-B482-68FE0709AA1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8</TotalTime>
  <Words>2991</Words>
  <Application>Microsoft Macintosh PowerPoint</Application>
  <PresentationFormat>Widescreen</PresentationFormat>
  <Paragraphs>343</Paragraphs>
  <Slides>22</Slides>
  <Notes>17</Notes>
  <HiddenSlides>0</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22</vt:i4>
      </vt:variant>
    </vt:vector>
  </HeadingPairs>
  <TitlesOfParts>
    <vt:vector size="51" baseType="lpstr">
      <vt:lpstr>adineue PRO Black</vt:lpstr>
      <vt:lpstr>Calibri Light</vt:lpstr>
      <vt:lpstr>Calibri</vt:lpstr>
      <vt:lpstr>adineue PRO</vt:lpstr>
      <vt:lpstr>Wingdings</vt:lpstr>
      <vt:lpstr>adineue PRO Light</vt:lpstr>
      <vt:lpstr>adineue PRO Cond</vt:lpstr>
      <vt:lpstr>adiText Light Beta</vt:lpstr>
      <vt:lpstr>adineue PRO TT Black</vt:lpstr>
      <vt:lpstr>AdiHaus</vt:lpstr>
      <vt:lpstr>Times New Roman</vt:lpstr>
      <vt:lpstr>Arial</vt:lpstr>
      <vt:lpstr>AdihausDIN</vt:lpstr>
      <vt:lpstr>adineue TEXT Light</vt:lpstr>
      <vt:lpstr>AdihausDIN Medium</vt:lpstr>
      <vt:lpstr>adineue TEXT Black</vt:lpstr>
      <vt:lpstr>Office Theme</vt:lpstr>
      <vt:lpstr>GLOBAL TEMPLATE 2017 (TEAL)</vt:lpstr>
      <vt:lpstr>GLOBAL TEMPLATE 2017 (BOLD PINK)</vt:lpstr>
      <vt:lpstr>1_GLOBAL TEMPLATE 2017 (BOLD PINK)</vt:lpstr>
      <vt:lpstr>GLOBAL TEMPLATE 2017 (CORE RED)</vt:lpstr>
      <vt:lpstr>1_GLOBAL TEMPLATE 2017 (CORE RED)</vt:lpstr>
      <vt:lpstr>2_GLOBAL TEMPLATE 2017 (CORE RED)</vt:lpstr>
      <vt:lpstr>2_GLOBAL TEMPLATE 2017 (BOLD PINK)</vt:lpstr>
      <vt:lpstr>GLOBAL TEMPLATE 2017</vt:lpstr>
      <vt:lpstr>GLOBAL TEMPLATE 2021</vt:lpstr>
      <vt:lpstr>ADIDAS: NEUTRALS</vt:lpstr>
      <vt:lpstr>ADIDAS: COLLEGIATE GOLD</vt:lpstr>
      <vt:lpstr>think-cell Slide</vt:lpstr>
      <vt:lpstr>PowerPoint Presentation</vt:lpstr>
      <vt:lpstr>PowerPoint Presentation</vt:lpstr>
      <vt:lpstr>PowerPoint Presentation</vt:lpstr>
      <vt:lpstr>PowerPoint Presentation</vt:lpstr>
      <vt:lpstr>PowerPoint Presentation</vt:lpstr>
      <vt:lpstr>PowerPoint Presentation</vt:lpstr>
      <vt:lpstr>Right sourcing | OPERATING MODEL TAYLORED FOR ADIDAS</vt:lpstr>
      <vt:lpstr>PowerPoint Presentation</vt:lpstr>
      <vt:lpstr>PowerPoint Presentation</vt:lpstr>
      <vt:lpstr>PowerPoint Presentation</vt:lpstr>
      <vt:lpstr>PowerPoint Presentation</vt:lpstr>
      <vt:lpstr>10X | GROWTH MINDSET</vt:lpstr>
      <vt:lpstr>PowerPoint Presentation</vt:lpstr>
      <vt:lpstr>Consumer experience on our biggest shop has to be as reliable as our products</vt:lpstr>
      <vt:lpstr>10x mindset  is needed to run  a 9 billion shop at this  mind boggling scale</vt:lpstr>
      <vt:lpstr>Our journey from a reliable to a stable and resilient consumer experience</vt:lpstr>
      <vt:lpstr>PowerPoint Presentation</vt:lpstr>
      <vt:lpstr>Adidas Web and Mobile</vt:lpstr>
      <vt:lpstr>Challenges</vt:lpstr>
      <vt:lpstr>Release fitnes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seni, Shaba</dc:creator>
  <cp:lastModifiedBy>Alex Broderick-Forster</cp:lastModifiedBy>
  <cp:revision>391</cp:revision>
  <dcterms:created xsi:type="dcterms:W3CDTF">2018-10-08T04:26:03Z</dcterms:created>
  <dcterms:modified xsi:type="dcterms:W3CDTF">2021-10-06T14:2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4A977DEED6C646A1689800DB9B5791</vt:lpwstr>
  </property>
</Properties>
</file>